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OV" ContentType="video/quicktime"/>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xml" ContentType="application/vnd.openxmlformats-officedocument.presentationml.tags+xml"/>
  <Override PartName="/ppt/notesSlides/notesSlide25.xml" ContentType="application/vnd.openxmlformats-officedocument.presentationml.notesSlide+xml"/>
  <Override PartName="/ppt/tags/tag4.xml" ContentType="application/vnd.openxmlformats-officedocument.presentationml.tags+xml"/>
  <Override PartName="/ppt/notesSlides/notesSlide26.xml" ContentType="application/vnd.openxmlformats-officedocument.presentationml.notesSlide+xml"/>
  <Override PartName="/ppt/tags/tag5.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6.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9"/>
    <p:sldMasterId id="2147483674" r:id="rId10"/>
    <p:sldMasterId id="2147483687" r:id="rId11"/>
    <p:sldMasterId id="2147483700" r:id="rId12"/>
    <p:sldMasterId id="2147483713" r:id="rId13"/>
  </p:sldMasterIdLst>
  <p:notesMasterIdLst>
    <p:notesMasterId r:id="rId69"/>
  </p:notesMasterIdLst>
  <p:sldIdLst>
    <p:sldId id="256" r:id="rId14"/>
    <p:sldId id="270" r:id="rId15"/>
    <p:sldId id="260" r:id="rId16"/>
    <p:sldId id="268" r:id="rId17"/>
    <p:sldId id="2134803567" r:id="rId18"/>
    <p:sldId id="258" r:id="rId19"/>
    <p:sldId id="2134803539" r:id="rId20"/>
    <p:sldId id="2134803576" r:id="rId21"/>
    <p:sldId id="2134803560" r:id="rId22"/>
    <p:sldId id="2134803564" r:id="rId23"/>
    <p:sldId id="2134803561" r:id="rId24"/>
    <p:sldId id="2134803554" r:id="rId25"/>
    <p:sldId id="2134803563" r:id="rId26"/>
    <p:sldId id="264" r:id="rId27"/>
    <p:sldId id="2134803545" r:id="rId28"/>
    <p:sldId id="273" r:id="rId29"/>
    <p:sldId id="2134803577" r:id="rId30"/>
    <p:sldId id="2134803578" r:id="rId31"/>
    <p:sldId id="2134803579" r:id="rId32"/>
    <p:sldId id="2134803581" r:id="rId33"/>
    <p:sldId id="2134803582" r:id="rId34"/>
    <p:sldId id="2134803590" r:id="rId35"/>
    <p:sldId id="2134803585" r:id="rId36"/>
    <p:sldId id="2134803589" r:id="rId37"/>
    <p:sldId id="2134803586" r:id="rId38"/>
    <p:sldId id="2134803588" r:id="rId39"/>
    <p:sldId id="2134803587" r:id="rId40"/>
    <p:sldId id="2134803583" r:id="rId41"/>
    <p:sldId id="2134803584" r:id="rId42"/>
    <p:sldId id="2134803580" r:id="rId43"/>
    <p:sldId id="266" r:id="rId44"/>
    <p:sldId id="1573" r:id="rId45"/>
    <p:sldId id="2134803555" r:id="rId46"/>
    <p:sldId id="2134803565" r:id="rId47"/>
    <p:sldId id="2134803553" r:id="rId48"/>
    <p:sldId id="2134803547" r:id="rId49"/>
    <p:sldId id="2134803548" r:id="rId50"/>
    <p:sldId id="2134803551" r:id="rId51"/>
    <p:sldId id="265" r:id="rId52"/>
    <p:sldId id="2134803566" r:id="rId53"/>
    <p:sldId id="2134803552" r:id="rId54"/>
    <p:sldId id="2134803570" r:id="rId55"/>
    <p:sldId id="2134803571" r:id="rId56"/>
    <p:sldId id="272" r:id="rId57"/>
    <p:sldId id="2134803543" r:id="rId58"/>
    <p:sldId id="2134803546" r:id="rId59"/>
    <p:sldId id="267" r:id="rId60"/>
    <p:sldId id="337" r:id="rId61"/>
    <p:sldId id="2134803542" r:id="rId62"/>
    <p:sldId id="2134803540" r:id="rId63"/>
    <p:sldId id="2134803544" r:id="rId64"/>
    <p:sldId id="2134803572" r:id="rId65"/>
    <p:sldId id="2134803573" r:id="rId66"/>
    <p:sldId id="2134803574" r:id="rId67"/>
    <p:sldId id="2134803575" r:id="rId68"/>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F9384D3-6C6B-417C-9684-9CEF5CF8FC43}">
          <p14:sldIdLst>
            <p14:sldId id="256"/>
            <p14:sldId id="270"/>
            <p14:sldId id="260"/>
            <p14:sldId id="268"/>
            <p14:sldId id="2134803567"/>
            <p14:sldId id="258"/>
            <p14:sldId id="2134803539"/>
            <p14:sldId id="2134803576"/>
            <p14:sldId id="2134803560"/>
            <p14:sldId id="2134803564"/>
            <p14:sldId id="2134803561"/>
            <p14:sldId id="2134803554"/>
            <p14:sldId id="2134803563"/>
            <p14:sldId id="264"/>
            <p14:sldId id="2134803545"/>
            <p14:sldId id="273"/>
            <p14:sldId id="2134803577"/>
            <p14:sldId id="2134803578"/>
            <p14:sldId id="2134803579"/>
            <p14:sldId id="2134803581"/>
            <p14:sldId id="2134803582"/>
            <p14:sldId id="2134803590"/>
            <p14:sldId id="2134803585"/>
            <p14:sldId id="2134803589"/>
            <p14:sldId id="2134803586"/>
            <p14:sldId id="2134803588"/>
            <p14:sldId id="2134803587"/>
            <p14:sldId id="2134803583"/>
            <p14:sldId id="2134803584"/>
            <p14:sldId id="2134803580"/>
            <p14:sldId id="266"/>
            <p14:sldId id="1573"/>
            <p14:sldId id="2134803555"/>
            <p14:sldId id="2134803565"/>
            <p14:sldId id="2134803553"/>
            <p14:sldId id="2134803547"/>
            <p14:sldId id="2134803548"/>
            <p14:sldId id="2134803551"/>
            <p14:sldId id="265"/>
            <p14:sldId id="2134803566"/>
            <p14:sldId id="2134803552"/>
            <p14:sldId id="2134803570"/>
            <p14:sldId id="2134803571"/>
            <p14:sldId id="272"/>
          </p14:sldIdLst>
        </p14:section>
        <p14:section name="Not used" id="{34343A64-BAFD-4172-979F-3A260E07FA23}">
          <p14:sldIdLst>
            <p14:sldId id="2134803543"/>
            <p14:sldId id="2134803546"/>
            <p14:sldId id="267"/>
            <p14:sldId id="337"/>
            <p14:sldId id="2134803542"/>
            <p14:sldId id="2134803540"/>
            <p14:sldId id="2134803544"/>
            <p14:sldId id="2134803572"/>
            <p14:sldId id="2134803573"/>
            <p14:sldId id="2134803574"/>
            <p14:sldId id="213480357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3D94E7-442D-460C-9F4C-18558C0A0590}" v="121" dt="2022-05-23T11:17:41.16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4985" autoAdjust="0"/>
  </p:normalViewPr>
  <p:slideViewPr>
    <p:cSldViewPr snapToGrid="0">
      <p:cViewPr varScale="1">
        <p:scale>
          <a:sx n="86" d="100"/>
          <a:sy n="86" d="100"/>
        </p:scale>
        <p:origin x="1503"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3.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microsoft.com/office/2016/11/relationships/changesInfo" Target="changesInfos/changesInfo1.xml"/><Relationship Id="rId5" Type="http://schemas.openxmlformats.org/officeDocument/2006/relationships/customXml" Target="../customXml/item5.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notesMaster" Target="notesMasters/notesMaster1.xml"/><Relationship Id="rId8" Type="http://schemas.openxmlformats.org/officeDocument/2006/relationships/customXml" Target="../customXml/item8.xml"/><Relationship Id="rId51" Type="http://schemas.openxmlformats.org/officeDocument/2006/relationships/slide" Target="slides/slide38.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4.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2.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1.xml"/><Relationship Id="rId13" Type="http://schemas.openxmlformats.org/officeDocument/2006/relationships/slideMaster" Target="slideMasters/slideMaster5.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 Type="http://schemas.openxmlformats.org/officeDocument/2006/relationships/customXml" Target="../customXml/item7.xml"/><Relationship Id="rId7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idin Jamshidi" userId="S::aidja644@student.liu.se::0bd9857c-abf3-4535-9f73-77a22501c1f8" providerId="AD" clId="Web-{7716E379-9613-EB13-7571-BCF4D61D0BC5}"/>
    <pc:docChg chg="modSld">
      <pc:chgData name="Aidin Jamshidi" userId="S::aidja644@student.liu.se::0bd9857c-abf3-4535-9f73-77a22501c1f8" providerId="AD" clId="Web-{7716E379-9613-EB13-7571-BCF4D61D0BC5}" dt="2022-04-09T14:48:19.549" v="5"/>
      <pc:docMkLst>
        <pc:docMk/>
      </pc:docMkLst>
      <pc:sldChg chg="addAnim delAnim modAnim">
        <pc:chgData name="Aidin Jamshidi" userId="S::aidja644@student.liu.se::0bd9857c-abf3-4535-9f73-77a22501c1f8" providerId="AD" clId="Web-{7716E379-9613-EB13-7571-BCF4D61D0BC5}" dt="2022-04-09T14:19:38.872" v="3"/>
        <pc:sldMkLst>
          <pc:docMk/>
          <pc:sldMk cId="3958965365" sldId="2134803539"/>
        </pc:sldMkLst>
      </pc:sldChg>
      <pc:sldChg chg="addSp delSp">
        <pc:chgData name="Aidin Jamshidi" userId="S::aidja644@student.liu.se::0bd9857c-abf3-4535-9f73-77a22501c1f8" providerId="AD" clId="Web-{7716E379-9613-EB13-7571-BCF4D61D0BC5}" dt="2022-04-09T14:48:19.549" v="5"/>
        <pc:sldMkLst>
          <pc:docMk/>
          <pc:sldMk cId="2773746863" sldId="2134803565"/>
        </pc:sldMkLst>
        <pc:picChg chg="add del">
          <ac:chgData name="Aidin Jamshidi" userId="S::aidja644@student.liu.se::0bd9857c-abf3-4535-9f73-77a22501c1f8" providerId="AD" clId="Web-{7716E379-9613-EB13-7571-BCF4D61D0BC5}" dt="2022-04-09T14:48:19.549" v="5"/>
          <ac:picMkLst>
            <pc:docMk/>
            <pc:sldMk cId="2773746863" sldId="2134803565"/>
            <ac:picMk id="16" creationId="{94FF4CEA-7B9D-B76F-6B28-AF63A4144E02}"/>
          </ac:picMkLst>
        </pc:picChg>
      </pc:sldChg>
    </pc:docChg>
  </pc:docChgLst>
  <pc:docChgLst>
    <pc:chgData name="Martin Castro Bildhjerd" userId="S::marca851@student.liu.se::b9cbb72a-55c2-47d3-bc4f-c4510dce58f1" providerId="AD" clId="Web-{FF0FBA0B-3059-011D-8474-41D8BAF6A7E4}"/>
    <pc:docChg chg="modSld">
      <pc:chgData name="Martin Castro Bildhjerd" userId="S::marca851@student.liu.se::b9cbb72a-55c2-47d3-bc4f-c4510dce58f1" providerId="AD" clId="Web-{FF0FBA0B-3059-011D-8474-41D8BAF6A7E4}" dt="2022-03-30T08:08:40.621" v="23" actId="20577"/>
      <pc:docMkLst>
        <pc:docMk/>
      </pc:docMkLst>
      <pc:sldChg chg="delSp modSp">
        <pc:chgData name="Martin Castro Bildhjerd" userId="S::marca851@student.liu.se::b9cbb72a-55c2-47d3-bc4f-c4510dce58f1" providerId="AD" clId="Web-{FF0FBA0B-3059-011D-8474-41D8BAF6A7E4}" dt="2022-03-30T08:04:41.068" v="1"/>
        <pc:sldMkLst>
          <pc:docMk/>
          <pc:sldMk cId="531401409" sldId="2134803551"/>
        </pc:sldMkLst>
        <pc:spChg chg="del mod">
          <ac:chgData name="Martin Castro Bildhjerd" userId="S::marca851@student.liu.se::b9cbb72a-55c2-47d3-bc4f-c4510dce58f1" providerId="AD" clId="Web-{FF0FBA0B-3059-011D-8474-41D8BAF6A7E4}" dt="2022-03-30T08:04:41.068" v="1"/>
          <ac:spMkLst>
            <pc:docMk/>
            <pc:sldMk cId="531401409" sldId="2134803551"/>
            <ac:spMk id="6" creationId="{D601A8B1-4B6B-46D9-B71E-7BFA0E8E4A15}"/>
          </ac:spMkLst>
        </pc:spChg>
      </pc:sldChg>
      <pc:sldChg chg="modSp">
        <pc:chgData name="Martin Castro Bildhjerd" userId="S::marca851@student.liu.se::b9cbb72a-55c2-47d3-bc4f-c4510dce58f1" providerId="AD" clId="Web-{FF0FBA0B-3059-011D-8474-41D8BAF6A7E4}" dt="2022-03-30T08:08:40.621" v="23" actId="20577"/>
        <pc:sldMkLst>
          <pc:docMk/>
          <pc:sldMk cId="1706841322" sldId="2134803552"/>
        </pc:sldMkLst>
        <pc:spChg chg="mod">
          <ac:chgData name="Martin Castro Bildhjerd" userId="S::marca851@student.liu.se::b9cbb72a-55c2-47d3-bc4f-c4510dce58f1" providerId="AD" clId="Web-{FF0FBA0B-3059-011D-8474-41D8BAF6A7E4}" dt="2022-03-30T08:08:40.621" v="23" actId="20577"/>
          <ac:spMkLst>
            <pc:docMk/>
            <pc:sldMk cId="1706841322" sldId="2134803552"/>
            <ac:spMk id="10" creationId="{A390D919-707F-41BF-A570-908716377120}"/>
          </ac:spMkLst>
        </pc:spChg>
      </pc:sldChg>
    </pc:docChg>
  </pc:docChgLst>
  <pc:docChgLst>
    <pc:chgData name="Aidin Jamshidi" userId="S::aidja644@student.liu.se::0bd9857c-abf3-4535-9f73-77a22501c1f8" providerId="AD" clId="Web-{5E0FCACF-B700-4AFE-91F1-1137987B9E74}"/>
    <pc:docChg chg="modSld">
      <pc:chgData name="Aidin Jamshidi" userId="S::aidja644@student.liu.se::0bd9857c-abf3-4535-9f73-77a22501c1f8" providerId="AD" clId="Web-{5E0FCACF-B700-4AFE-91F1-1137987B9E74}" dt="2022-03-30T09:38:26.206" v="85" actId="14100"/>
      <pc:docMkLst>
        <pc:docMk/>
      </pc:docMkLst>
      <pc:sldChg chg="addSp delSp modSp">
        <pc:chgData name="Aidin Jamshidi" userId="S::aidja644@student.liu.se::0bd9857c-abf3-4535-9f73-77a22501c1f8" providerId="AD" clId="Web-{5E0FCACF-B700-4AFE-91F1-1137987B9E74}" dt="2022-03-30T09:38:26.206" v="85" actId="14100"/>
        <pc:sldMkLst>
          <pc:docMk/>
          <pc:sldMk cId="1867343795" sldId="2134803548"/>
        </pc:sldMkLst>
        <pc:spChg chg="del mod">
          <ac:chgData name="Aidin Jamshidi" userId="S::aidja644@student.liu.se::0bd9857c-abf3-4535-9f73-77a22501c1f8" providerId="AD" clId="Web-{5E0FCACF-B700-4AFE-91F1-1137987B9E74}" dt="2022-03-30T09:37:49.032" v="81"/>
          <ac:spMkLst>
            <pc:docMk/>
            <pc:sldMk cId="1867343795" sldId="2134803548"/>
            <ac:spMk id="210" creationId="{32EC6535-9D65-49DD-B010-30EE504BDFE7}"/>
          </ac:spMkLst>
        </pc:spChg>
        <pc:spChg chg="mod">
          <ac:chgData name="Aidin Jamshidi" userId="S::aidja644@student.liu.se::0bd9857c-abf3-4535-9f73-77a22501c1f8" providerId="AD" clId="Web-{5E0FCACF-B700-4AFE-91F1-1137987B9E74}" dt="2022-03-30T08:47:03.205" v="78" actId="20577"/>
          <ac:spMkLst>
            <pc:docMk/>
            <pc:sldMk cId="1867343795" sldId="2134803548"/>
            <ac:spMk id="398" creationId="{0B2DA253-2B6E-4C8A-9F57-C5AFC7D3A056}"/>
          </ac:spMkLst>
        </pc:spChg>
        <pc:picChg chg="add mod">
          <ac:chgData name="Aidin Jamshidi" userId="S::aidja644@student.liu.se::0bd9857c-abf3-4535-9f73-77a22501c1f8" providerId="AD" clId="Web-{5E0FCACF-B700-4AFE-91F1-1137987B9E74}" dt="2022-03-30T09:38:26.206" v="85" actId="14100"/>
          <ac:picMkLst>
            <pc:docMk/>
            <pc:sldMk cId="1867343795" sldId="2134803548"/>
            <ac:picMk id="2" creationId="{2AAE79C2-98A1-1B31-2102-278A31E7A3FD}"/>
          </ac:picMkLst>
        </pc:picChg>
        <pc:picChg chg="del">
          <ac:chgData name="Aidin Jamshidi" userId="S::aidja644@student.liu.se::0bd9857c-abf3-4535-9f73-77a22501c1f8" providerId="AD" clId="Web-{5E0FCACF-B700-4AFE-91F1-1137987B9E74}" dt="2022-03-30T09:37:50.970" v="82"/>
          <ac:picMkLst>
            <pc:docMk/>
            <pc:sldMk cId="1867343795" sldId="2134803548"/>
            <ac:picMk id="209" creationId="{1DD945BE-B317-45F6-B257-8876F2A024AF}"/>
          </ac:picMkLst>
        </pc:picChg>
      </pc:sldChg>
    </pc:docChg>
  </pc:docChgLst>
  <pc:docChgLst>
    <pc:chgData name="Martin Castro Bildhjerd" userId="S::marca851@student.liu.se::b9cbb72a-55c2-47d3-bc4f-c4510dce58f1" providerId="AD" clId="Web-{DC1CE7BD-07F7-5FA3-3B79-5C126BDC9AC7}"/>
    <pc:docChg chg="addSld delSld modSld sldOrd">
      <pc:chgData name="Martin Castro Bildhjerd" userId="S::marca851@student.liu.se::b9cbb72a-55c2-47d3-bc4f-c4510dce58f1" providerId="AD" clId="Web-{DC1CE7BD-07F7-5FA3-3B79-5C126BDC9AC7}" dt="2022-03-27T11:59:44.411" v="91" actId="1076"/>
      <pc:docMkLst>
        <pc:docMk/>
      </pc:docMkLst>
      <pc:sldChg chg="modSp">
        <pc:chgData name="Martin Castro Bildhjerd" userId="S::marca851@student.liu.se::b9cbb72a-55c2-47d3-bc4f-c4510dce58f1" providerId="AD" clId="Web-{DC1CE7BD-07F7-5FA3-3B79-5C126BDC9AC7}" dt="2022-03-27T11:53:41.481" v="17" actId="20577"/>
        <pc:sldMkLst>
          <pc:docMk/>
          <pc:sldMk cId="0" sldId="259"/>
        </pc:sldMkLst>
        <pc:spChg chg="mod">
          <ac:chgData name="Martin Castro Bildhjerd" userId="S::marca851@student.liu.se::b9cbb72a-55c2-47d3-bc4f-c4510dce58f1" providerId="AD" clId="Web-{DC1CE7BD-07F7-5FA3-3B79-5C126BDC9AC7}" dt="2022-03-27T11:53:41.481" v="17" actId="20577"/>
          <ac:spMkLst>
            <pc:docMk/>
            <pc:sldMk cId="0" sldId="259"/>
            <ac:spMk id="518" creationId="{00000000-0000-0000-0000-000000000000}"/>
          </ac:spMkLst>
        </pc:spChg>
      </pc:sldChg>
      <pc:sldChg chg="modSp ord">
        <pc:chgData name="Martin Castro Bildhjerd" userId="S::marca851@student.liu.se::b9cbb72a-55c2-47d3-bc4f-c4510dce58f1" providerId="AD" clId="Web-{DC1CE7BD-07F7-5FA3-3B79-5C126BDC9AC7}" dt="2022-03-27T11:58:03.580" v="39" actId="20577"/>
        <pc:sldMkLst>
          <pc:docMk/>
          <pc:sldMk cId="0" sldId="260"/>
        </pc:sldMkLst>
        <pc:spChg chg="mod">
          <ac:chgData name="Martin Castro Bildhjerd" userId="S::marca851@student.liu.se::b9cbb72a-55c2-47d3-bc4f-c4510dce58f1" providerId="AD" clId="Web-{DC1CE7BD-07F7-5FA3-3B79-5C126BDC9AC7}" dt="2022-03-27T11:58:03.580" v="39" actId="20577"/>
          <ac:spMkLst>
            <pc:docMk/>
            <pc:sldMk cId="0" sldId="260"/>
            <ac:spMk id="523" creationId="{00000000-0000-0000-0000-000000000000}"/>
          </ac:spMkLst>
        </pc:spChg>
      </pc:sldChg>
      <pc:sldChg chg="ord">
        <pc:chgData name="Martin Castro Bildhjerd" userId="S::marca851@student.liu.se::b9cbb72a-55c2-47d3-bc4f-c4510dce58f1" providerId="AD" clId="Web-{DC1CE7BD-07F7-5FA3-3B79-5C126BDC9AC7}" dt="2022-03-27T10:30:17.571" v="0"/>
        <pc:sldMkLst>
          <pc:docMk/>
          <pc:sldMk cId="0" sldId="263"/>
        </pc:sldMkLst>
      </pc:sldChg>
      <pc:sldChg chg="modSp add">
        <pc:chgData name="Martin Castro Bildhjerd" userId="S::marca851@student.liu.se::b9cbb72a-55c2-47d3-bc4f-c4510dce58f1" providerId="AD" clId="Web-{DC1CE7BD-07F7-5FA3-3B79-5C126BDC9AC7}" dt="2022-03-27T10:31:34.807" v="12" actId="20577"/>
        <pc:sldMkLst>
          <pc:docMk/>
          <pc:sldMk cId="2429919112" sldId="270"/>
        </pc:sldMkLst>
        <pc:spChg chg="mod">
          <ac:chgData name="Martin Castro Bildhjerd" userId="S::marca851@student.liu.se::b9cbb72a-55c2-47d3-bc4f-c4510dce58f1" providerId="AD" clId="Web-{DC1CE7BD-07F7-5FA3-3B79-5C126BDC9AC7}" dt="2022-03-27T10:31:34.807" v="12" actId="20577"/>
          <ac:spMkLst>
            <pc:docMk/>
            <pc:sldMk cId="2429919112" sldId="270"/>
            <ac:spMk id="1700" creationId="{00000000-0000-0000-0000-000000000000}"/>
          </ac:spMkLst>
        </pc:spChg>
      </pc:sldChg>
      <pc:sldChg chg="addSp delSp modSp new mod modClrScheme chgLayout">
        <pc:chgData name="Martin Castro Bildhjerd" userId="S::marca851@student.liu.se::b9cbb72a-55c2-47d3-bc4f-c4510dce58f1" providerId="AD" clId="Web-{DC1CE7BD-07F7-5FA3-3B79-5C126BDC9AC7}" dt="2022-03-27T11:59:44.411" v="91" actId="1076"/>
        <pc:sldMkLst>
          <pc:docMk/>
          <pc:sldMk cId="288900221" sldId="271"/>
        </pc:sldMkLst>
        <pc:spChg chg="del">
          <ac:chgData name="Martin Castro Bildhjerd" userId="S::marca851@student.liu.se::b9cbb72a-55c2-47d3-bc4f-c4510dce58f1" providerId="AD" clId="Web-{DC1CE7BD-07F7-5FA3-3B79-5C126BDC9AC7}" dt="2022-03-27T11:58:19.518" v="42"/>
          <ac:spMkLst>
            <pc:docMk/>
            <pc:sldMk cId="288900221" sldId="271"/>
            <ac:spMk id="2" creationId="{23998B6C-5413-1315-53E6-AC2BCD12C7EE}"/>
          </ac:spMkLst>
        </pc:spChg>
        <pc:spChg chg="del">
          <ac:chgData name="Martin Castro Bildhjerd" userId="S::marca851@student.liu.se::b9cbb72a-55c2-47d3-bc4f-c4510dce58f1" providerId="AD" clId="Web-{DC1CE7BD-07F7-5FA3-3B79-5C126BDC9AC7}" dt="2022-03-27T11:58:19.518" v="42"/>
          <ac:spMkLst>
            <pc:docMk/>
            <pc:sldMk cId="288900221" sldId="271"/>
            <ac:spMk id="3" creationId="{8A8AF63A-A5B8-4685-2C3C-DA9C354C61A4}"/>
          </ac:spMkLst>
        </pc:spChg>
        <pc:spChg chg="add mod">
          <ac:chgData name="Martin Castro Bildhjerd" userId="S::marca851@student.liu.se::b9cbb72a-55c2-47d3-bc4f-c4510dce58f1" providerId="AD" clId="Web-{DC1CE7BD-07F7-5FA3-3B79-5C126BDC9AC7}" dt="2022-03-27T11:58:35.034" v="48" actId="20577"/>
          <ac:spMkLst>
            <pc:docMk/>
            <pc:sldMk cId="288900221" sldId="271"/>
            <ac:spMk id="4" creationId="{FF17C3FB-B16E-B697-1585-E75C7B7824AD}"/>
          </ac:spMkLst>
        </pc:spChg>
        <pc:spChg chg="add del">
          <ac:chgData name="Martin Castro Bildhjerd" userId="S::marca851@student.liu.se::b9cbb72a-55c2-47d3-bc4f-c4510dce58f1" providerId="AD" clId="Web-{DC1CE7BD-07F7-5FA3-3B79-5C126BDC9AC7}" dt="2022-03-27T11:58:39.394" v="50"/>
          <ac:spMkLst>
            <pc:docMk/>
            <pc:sldMk cId="288900221" sldId="271"/>
            <ac:spMk id="5" creationId="{EE2D7840-1337-D10B-13C2-CB943DEB92DE}"/>
          </ac:spMkLst>
        </pc:spChg>
        <pc:spChg chg="add mod">
          <ac:chgData name="Martin Castro Bildhjerd" userId="S::marca851@student.liu.se::b9cbb72a-55c2-47d3-bc4f-c4510dce58f1" providerId="AD" clId="Web-{DC1CE7BD-07F7-5FA3-3B79-5C126BDC9AC7}" dt="2022-03-27T11:58:55.910" v="57" actId="1076"/>
          <ac:spMkLst>
            <pc:docMk/>
            <pc:sldMk cId="288900221" sldId="271"/>
            <ac:spMk id="6" creationId="{B78CFF65-4B9B-3F1B-CB07-E8A8D8D30642}"/>
          </ac:spMkLst>
        </pc:spChg>
        <pc:spChg chg="add mod">
          <ac:chgData name="Martin Castro Bildhjerd" userId="S::marca851@student.liu.se::b9cbb72a-55c2-47d3-bc4f-c4510dce58f1" providerId="AD" clId="Web-{DC1CE7BD-07F7-5FA3-3B79-5C126BDC9AC7}" dt="2022-03-27T11:59:44.411" v="91" actId="1076"/>
          <ac:spMkLst>
            <pc:docMk/>
            <pc:sldMk cId="288900221" sldId="271"/>
            <ac:spMk id="7" creationId="{7CA29FD7-2C20-FEFB-61CD-283E328D01A6}"/>
          </ac:spMkLst>
        </pc:spChg>
      </pc:sldChg>
      <pc:sldChg chg="addSp delSp new del mod setBg modClrScheme chgLayout">
        <pc:chgData name="Martin Castro Bildhjerd" userId="S::marca851@student.liu.se::b9cbb72a-55c2-47d3-bc4f-c4510dce58f1" providerId="AD" clId="Web-{DC1CE7BD-07F7-5FA3-3B79-5C126BDC9AC7}" dt="2022-03-27T11:55:13.405" v="30"/>
        <pc:sldMkLst>
          <pc:docMk/>
          <pc:sldMk cId="518367189" sldId="271"/>
        </pc:sldMkLst>
        <pc:spChg chg="del">
          <ac:chgData name="Martin Castro Bildhjerd" userId="S::marca851@student.liu.se::b9cbb72a-55c2-47d3-bc4f-c4510dce58f1" providerId="AD" clId="Web-{DC1CE7BD-07F7-5FA3-3B79-5C126BDC9AC7}" dt="2022-03-27T11:54:25.685" v="20"/>
          <ac:spMkLst>
            <pc:docMk/>
            <pc:sldMk cId="518367189" sldId="271"/>
            <ac:spMk id="2" creationId="{170192B7-1E69-E26C-4042-7A6779277D84}"/>
          </ac:spMkLst>
        </pc:spChg>
        <pc:spChg chg="del">
          <ac:chgData name="Martin Castro Bildhjerd" userId="S::marca851@student.liu.se::b9cbb72a-55c2-47d3-bc4f-c4510dce58f1" providerId="AD" clId="Web-{DC1CE7BD-07F7-5FA3-3B79-5C126BDC9AC7}" dt="2022-03-27T11:54:25.685" v="20"/>
          <ac:spMkLst>
            <pc:docMk/>
            <pc:sldMk cId="518367189" sldId="271"/>
            <ac:spMk id="3" creationId="{20944132-D682-FB76-F89A-48B3D15B8EE3}"/>
          </ac:spMkLst>
        </pc:spChg>
        <pc:spChg chg="add del">
          <ac:chgData name="Martin Castro Bildhjerd" userId="S::marca851@student.liu.se::b9cbb72a-55c2-47d3-bc4f-c4510dce58f1" providerId="AD" clId="Web-{DC1CE7BD-07F7-5FA3-3B79-5C126BDC9AC7}" dt="2022-03-27T11:54:47.389" v="23"/>
          <ac:spMkLst>
            <pc:docMk/>
            <pc:sldMk cId="518367189" sldId="271"/>
            <ac:spMk id="4" creationId="{94F4E440-2611-78EB-BFFE-9F6A1CA2B1CF}"/>
          </ac:spMkLst>
        </pc:spChg>
      </pc:sldChg>
      <pc:sldChg chg="addSp add del replId">
        <pc:chgData name="Martin Castro Bildhjerd" userId="S::marca851@student.liu.se::b9cbb72a-55c2-47d3-bc4f-c4510dce58f1" providerId="AD" clId="Web-{DC1CE7BD-07F7-5FA3-3B79-5C126BDC9AC7}" dt="2022-03-27T11:55:11.420" v="29"/>
        <pc:sldMkLst>
          <pc:docMk/>
          <pc:sldMk cId="200338033" sldId="272"/>
        </pc:sldMkLst>
        <pc:spChg chg="add">
          <ac:chgData name="Martin Castro Bildhjerd" userId="S::marca851@student.liu.se::b9cbb72a-55c2-47d3-bc4f-c4510dce58f1" providerId="AD" clId="Web-{DC1CE7BD-07F7-5FA3-3B79-5C126BDC9AC7}" dt="2022-03-27T11:55:01.233" v="25"/>
          <ac:spMkLst>
            <pc:docMk/>
            <pc:sldMk cId="200338033" sldId="272"/>
            <ac:spMk id="2" creationId="{71516AEC-F418-2638-E6A4-AD0F1BABDC2D}"/>
          </ac:spMkLst>
        </pc:spChg>
        <pc:spChg chg="add">
          <ac:chgData name="Martin Castro Bildhjerd" userId="S::marca851@student.liu.se::b9cbb72a-55c2-47d3-bc4f-c4510dce58f1" providerId="AD" clId="Web-{DC1CE7BD-07F7-5FA3-3B79-5C126BDC9AC7}" dt="2022-03-27T11:55:03.967" v="26"/>
          <ac:spMkLst>
            <pc:docMk/>
            <pc:sldMk cId="200338033" sldId="272"/>
            <ac:spMk id="3" creationId="{D607CE79-C181-B785-E8BE-46B82FDABD3D}"/>
          </ac:spMkLst>
        </pc:spChg>
        <pc:spChg chg="add">
          <ac:chgData name="Martin Castro Bildhjerd" userId="S::marca851@student.liu.se::b9cbb72a-55c2-47d3-bc4f-c4510dce58f1" providerId="AD" clId="Web-{DC1CE7BD-07F7-5FA3-3B79-5C126BDC9AC7}" dt="2022-03-27T11:55:04.842" v="27"/>
          <ac:spMkLst>
            <pc:docMk/>
            <pc:sldMk cId="200338033" sldId="272"/>
            <ac:spMk id="4" creationId="{F8ADE08F-089D-73F8-7152-38BBCAB6C0BD}"/>
          </ac:spMkLst>
        </pc:spChg>
        <pc:spChg chg="add">
          <ac:chgData name="Martin Castro Bildhjerd" userId="S::marca851@student.liu.se::b9cbb72a-55c2-47d3-bc4f-c4510dce58f1" providerId="AD" clId="Web-{DC1CE7BD-07F7-5FA3-3B79-5C126BDC9AC7}" dt="2022-03-27T11:55:07.749" v="28"/>
          <ac:spMkLst>
            <pc:docMk/>
            <pc:sldMk cId="200338033" sldId="272"/>
            <ac:spMk id="5" creationId="{B99D6BF2-6A7C-B006-9463-DB9A700E4CC4}"/>
          </ac:spMkLst>
        </pc:spChg>
      </pc:sldChg>
    </pc:docChg>
  </pc:docChgLst>
  <pc:docChgLst>
    <pc:chgData name="Emil Pihl" userId="S::emipi270@student.liu.se::ca5f082a-1ab2-4eb2-a6d9-33a60d508bb2" providerId="AD" clId="Web-{3B5E1D20-33ED-C795-E02D-73C15BD92562}"/>
    <pc:docChg chg="modSld">
      <pc:chgData name="Emil Pihl" userId="S::emipi270@student.liu.se::ca5f082a-1ab2-4eb2-a6d9-33a60d508bb2" providerId="AD" clId="Web-{3B5E1D20-33ED-C795-E02D-73C15BD92562}" dt="2022-03-29T19:48:24.014" v="211" actId="20577"/>
      <pc:docMkLst>
        <pc:docMk/>
      </pc:docMkLst>
      <pc:sldChg chg="modSp">
        <pc:chgData name="Emil Pihl" userId="S::emipi270@student.liu.se::ca5f082a-1ab2-4eb2-a6d9-33a60d508bb2" providerId="AD" clId="Web-{3B5E1D20-33ED-C795-E02D-73C15BD92562}" dt="2022-03-29T19:48:24.014" v="211" actId="20577"/>
        <pc:sldMkLst>
          <pc:docMk/>
          <pc:sldMk cId="355669928" sldId="2134803547"/>
        </pc:sldMkLst>
        <pc:spChg chg="mod">
          <ac:chgData name="Emil Pihl" userId="S::emipi270@student.liu.se::ca5f082a-1ab2-4eb2-a6d9-33a60d508bb2" providerId="AD" clId="Web-{3B5E1D20-33ED-C795-E02D-73C15BD92562}" dt="2022-03-29T19:48:24.014" v="211" actId="20577"/>
          <ac:spMkLst>
            <pc:docMk/>
            <pc:sldMk cId="355669928" sldId="2134803547"/>
            <ac:spMk id="205" creationId="{94241CA3-2DBF-4167-8697-4666BB0545F0}"/>
          </ac:spMkLst>
        </pc:spChg>
      </pc:sldChg>
      <pc:sldChg chg="modNotes">
        <pc:chgData name="Emil Pihl" userId="S::emipi270@student.liu.se::ca5f082a-1ab2-4eb2-a6d9-33a60d508bb2" providerId="AD" clId="Web-{3B5E1D20-33ED-C795-E02D-73C15BD92562}" dt="2022-03-29T19:20:41.711" v="199"/>
        <pc:sldMkLst>
          <pc:docMk/>
          <pc:sldMk cId="531401409" sldId="2134803551"/>
        </pc:sldMkLst>
      </pc:sldChg>
      <pc:sldChg chg="modSp">
        <pc:chgData name="Emil Pihl" userId="S::emipi270@student.liu.se::ca5f082a-1ab2-4eb2-a6d9-33a60d508bb2" providerId="AD" clId="Web-{3B5E1D20-33ED-C795-E02D-73C15BD92562}" dt="2022-03-29T19:20:08.162" v="192" actId="20577"/>
        <pc:sldMkLst>
          <pc:docMk/>
          <pc:sldMk cId="1706841322" sldId="2134803552"/>
        </pc:sldMkLst>
        <pc:spChg chg="mod">
          <ac:chgData name="Emil Pihl" userId="S::emipi270@student.liu.se::ca5f082a-1ab2-4eb2-a6d9-33a60d508bb2" providerId="AD" clId="Web-{3B5E1D20-33ED-C795-E02D-73C15BD92562}" dt="2022-03-29T19:17:04.163" v="65" actId="20577"/>
          <ac:spMkLst>
            <pc:docMk/>
            <pc:sldMk cId="1706841322" sldId="2134803552"/>
            <ac:spMk id="9" creationId="{499140DB-6BC3-4EDD-92D3-1911C8E3BD65}"/>
          </ac:spMkLst>
        </pc:spChg>
        <pc:spChg chg="mod">
          <ac:chgData name="Emil Pihl" userId="S::emipi270@student.liu.se::ca5f082a-1ab2-4eb2-a6d9-33a60d508bb2" providerId="AD" clId="Web-{3B5E1D20-33ED-C795-E02D-73C15BD92562}" dt="2022-03-29T19:20:08.162" v="192" actId="20577"/>
          <ac:spMkLst>
            <pc:docMk/>
            <pc:sldMk cId="1706841322" sldId="2134803552"/>
            <ac:spMk id="10" creationId="{A390D919-707F-41BF-A570-908716377120}"/>
          </ac:spMkLst>
        </pc:spChg>
      </pc:sldChg>
    </pc:docChg>
  </pc:docChgLst>
  <pc:docChgLst>
    <pc:chgData name="Kebba Jeng" userId="S::kebje541@student.liu.se::fe4cc296-ba7d-48a2-8799-89b58d218255" providerId="AD" clId="Web-{86FFC68F-01FE-6613-BF55-44812A4E8515}"/>
    <pc:docChg chg="modSld">
      <pc:chgData name="Kebba Jeng" userId="S::kebje541@student.liu.se::fe4cc296-ba7d-48a2-8799-89b58d218255" providerId="AD" clId="Web-{86FFC68F-01FE-6613-BF55-44812A4E8515}" dt="2022-04-21T08:19:56.870" v="7" actId="1076"/>
      <pc:docMkLst>
        <pc:docMk/>
      </pc:docMkLst>
      <pc:sldChg chg="modSp">
        <pc:chgData name="Kebba Jeng" userId="S::kebje541@student.liu.se::fe4cc296-ba7d-48a2-8799-89b58d218255" providerId="AD" clId="Web-{86FFC68F-01FE-6613-BF55-44812A4E8515}" dt="2022-04-21T08:19:56.870" v="7" actId="1076"/>
        <pc:sldMkLst>
          <pc:docMk/>
          <pc:sldMk cId="0" sldId="265"/>
        </pc:sldMkLst>
        <pc:spChg chg="mod">
          <ac:chgData name="Kebba Jeng" userId="S::kebje541@student.liu.se::fe4cc296-ba7d-48a2-8799-89b58d218255" providerId="AD" clId="Web-{86FFC68F-01FE-6613-BF55-44812A4E8515}" dt="2022-04-21T08:19:50.182" v="6" actId="1076"/>
          <ac:spMkLst>
            <pc:docMk/>
            <pc:sldMk cId="0" sldId="265"/>
            <ac:spMk id="4" creationId="{9B26D3DB-23F3-433D-9AEE-8587786AB9DF}"/>
          </ac:spMkLst>
        </pc:spChg>
        <pc:grpChg chg="mod">
          <ac:chgData name="Kebba Jeng" userId="S::kebje541@student.liu.se::fe4cc296-ba7d-48a2-8799-89b58d218255" providerId="AD" clId="Web-{86FFC68F-01FE-6613-BF55-44812A4E8515}" dt="2022-04-21T08:19:56.870" v="7" actId="1076"/>
          <ac:grpSpMkLst>
            <pc:docMk/>
            <pc:sldMk cId="0" sldId="265"/>
            <ac:grpSpMk id="5" creationId="{4D71530D-0C54-4528-8B60-CA2DB9F73E9B}"/>
          </ac:grpSpMkLst>
        </pc:grpChg>
      </pc:sldChg>
      <pc:sldChg chg="modSp">
        <pc:chgData name="Kebba Jeng" userId="S::kebje541@student.liu.se::fe4cc296-ba7d-48a2-8799-89b58d218255" providerId="AD" clId="Web-{86FFC68F-01FE-6613-BF55-44812A4E8515}" dt="2022-04-21T07:57:43.196" v="1" actId="1076"/>
        <pc:sldMkLst>
          <pc:docMk/>
          <pc:sldMk cId="3661165130" sldId="2134803555"/>
        </pc:sldMkLst>
        <pc:picChg chg="mod">
          <ac:chgData name="Kebba Jeng" userId="S::kebje541@student.liu.se::fe4cc296-ba7d-48a2-8799-89b58d218255" providerId="AD" clId="Web-{86FFC68F-01FE-6613-BF55-44812A4E8515}" dt="2022-04-21T07:57:43.196" v="1" actId="1076"/>
          <ac:picMkLst>
            <pc:docMk/>
            <pc:sldMk cId="3661165130" sldId="2134803555"/>
            <ac:picMk id="6" creationId="{55D2E903-C86F-4B2B-B08B-EE1B128BE929}"/>
          </ac:picMkLst>
        </pc:picChg>
      </pc:sldChg>
    </pc:docChg>
  </pc:docChgLst>
  <pc:docChgLst>
    <pc:chgData name="Kebba Jeng" userId="fe4cc296-ba7d-48a2-8799-89b58d218255" providerId="ADAL" clId="{388EFDEE-447E-42B4-98EF-30C01AB2E8CD}"/>
    <pc:docChg chg="undo redo custSel addSld delSld modSld sldOrd addMainMaster delMainMaster addSection modSection">
      <pc:chgData name="Kebba Jeng" userId="fe4cc296-ba7d-48a2-8799-89b58d218255" providerId="ADAL" clId="{388EFDEE-447E-42B4-98EF-30C01AB2E8CD}" dt="2022-03-30T09:45:32.477" v="6304" actId="121"/>
      <pc:docMkLst>
        <pc:docMk/>
      </pc:docMkLst>
      <pc:sldChg chg="addSp modSp mod">
        <pc:chgData name="Kebba Jeng" userId="fe4cc296-ba7d-48a2-8799-89b58d218255" providerId="ADAL" clId="{388EFDEE-447E-42B4-98EF-30C01AB2E8CD}" dt="2022-03-29T05:55:15.444" v="4959" actId="20577"/>
        <pc:sldMkLst>
          <pc:docMk/>
          <pc:sldMk cId="0" sldId="256"/>
        </pc:sldMkLst>
        <pc:spChg chg="add mod">
          <ac:chgData name="Kebba Jeng" userId="fe4cc296-ba7d-48a2-8799-89b58d218255" providerId="ADAL" clId="{388EFDEE-447E-42B4-98EF-30C01AB2E8CD}" dt="2022-03-28T06:37:08.448" v="34" actId="2085"/>
          <ac:spMkLst>
            <pc:docMk/>
            <pc:sldMk cId="0" sldId="256"/>
            <ac:spMk id="2" creationId="{3E53AA6F-DFD3-4B32-9694-58238019969E}"/>
          </ac:spMkLst>
        </pc:spChg>
        <pc:spChg chg="mod">
          <ac:chgData name="Kebba Jeng" userId="fe4cc296-ba7d-48a2-8799-89b58d218255" providerId="ADAL" clId="{388EFDEE-447E-42B4-98EF-30C01AB2E8CD}" dt="2022-03-29T05:55:15.444" v="4959" actId="20577"/>
          <ac:spMkLst>
            <pc:docMk/>
            <pc:sldMk cId="0" sldId="256"/>
            <ac:spMk id="504" creationId="{00000000-0000-0000-0000-000000000000}"/>
          </ac:spMkLst>
        </pc:spChg>
        <pc:spChg chg="mod">
          <ac:chgData name="Kebba Jeng" userId="fe4cc296-ba7d-48a2-8799-89b58d218255" providerId="ADAL" clId="{388EFDEE-447E-42B4-98EF-30C01AB2E8CD}" dt="2022-03-29T05:55:00.209" v="4957" actId="14100"/>
          <ac:spMkLst>
            <pc:docMk/>
            <pc:sldMk cId="0" sldId="256"/>
            <ac:spMk id="505" creationId="{00000000-0000-0000-0000-000000000000}"/>
          </ac:spMkLst>
        </pc:spChg>
      </pc:sldChg>
      <pc:sldChg chg="addSp delSp modSp mod modNotesTx">
        <pc:chgData name="Kebba Jeng" userId="fe4cc296-ba7d-48a2-8799-89b58d218255" providerId="ADAL" clId="{388EFDEE-447E-42B4-98EF-30C01AB2E8CD}" dt="2022-03-29T18:49:53.579" v="5892" actId="20577"/>
        <pc:sldMkLst>
          <pc:docMk/>
          <pc:sldMk cId="0" sldId="257"/>
        </pc:sldMkLst>
        <pc:spChg chg="add mod">
          <ac:chgData name="Kebba Jeng" userId="fe4cc296-ba7d-48a2-8799-89b58d218255" providerId="ADAL" clId="{388EFDEE-447E-42B4-98EF-30C01AB2E8CD}" dt="2022-03-28T06:37:13.427" v="35"/>
          <ac:spMkLst>
            <pc:docMk/>
            <pc:sldMk cId="0" sldId="257"/>
            <ac:spMk id="8" creationId="{0B7852D0-D848-4E5C-9C10-5093BE03521A}"/>
          </ac:spMkLst>
        </pc:spChg>
        <pc:spChg chg="add del mod">
          <ac:chgData name="Kebba Jeng" userId="fe4cc296-ba7d-48a2-8799-89b58d218255" providerId="ADAL" clId="{388EFDEE-447E-42B4-98EF-30C01AB2E8CD}" dt="2022-03-29T18:49:38.075" v="5862" actId="478"/>
          <ac:spMkLst>
            <pc:docMk/>
            <pc:sldMk cId="0" sldId="257"/>
            <ac:spMk id="9" creationId="{35239210-F148-4227-A890-4E053A818D24}"/>
          </ac:spMkLst>
        </pc:spChg>
        <pc:spChg chg="mod">
          <ac:chgData name="Kebba Jeng" userId="fe4cc296-ba7d-48a2-8799-89b58d218255" providerId="ADAL" clId="{388EFDEE-447E-42B4-98EF-30C01AB2E8CD}" dt="2022-03-28T20:26:44.457" v="4890" actId="20577"/>
          <ac:spMkLst>
            <pc:docMk/>
            <pc:sldMk cId="0" sldId="257"/>
            <ac:spMk id="510" creationId="{00000000-0000-0000-0000-000000000000}"/>
          </ac:spMkLst>
        </pc:spChg>
      </pc:sldChg>
      <pc:sldChg chg="addSp modSp mod modClrScheme chgLayout">
        <pc:chgData name="Kebba Jeng" userId="fe4cc296-ba7d-48a2-8799-89b58d218255" providerId="ADAL" clId="{388EFDEE-447E-42B4-98EF-30C01AB2E8CD}" dt="2022-03-28T19:24:23.130" v="3982" actId="700"/>
        <pc:sldMkLst>
          <pc:docMk/>
          <pc:sldMk cId="0" sldId="258"/>
        </pc:sldMkLst>
        <pc:spChg chg="add mod">
          <ac:chgData name="Kebba Jeng" userId="fe4cc296-ba7d-48a2-8799-89b58d218255" providerId="ADAL" clId="{388EFDEE-447E-42B4-98EF-30C01AB2E8CD}" dt="2022-03-28T06:37:21.750" v="37" actId="207"/>
          <ac:spMkLst>
            <pc:docMk/>
            <pc:sldMk cId="0" sldId="258"/>
            <ac:spMk id="4" creationId="{160F4235-0FEB-4653-BBF4-F67850535673}"/>
          </ac:spMkLst>
        </pc:spChg>
        <pc:spChg chg="mod">
          <ac:chgData name="Kebba Jeng" userId="fe4cc296-ba7d-48a2-8799-89b58d218255" providerId="ADAL" clId="{388EFDEE-447E-42B4-98EF-30C01AB2E8CD}" dt="2022-03-28T19:21:30.685" v="3941" actId="20577"/>
          <ac:spMkLst>
            <pc:docMk/>
            <pc:sldMk cId="0" sldId="258"/>
            <ac:spMk id="515" creationId="{00000000-0000-0000-0000-000000000000}"/>
          </ac:spMkLst>
        </pc:spChg>
      </pc:sldChg>
      <pc:sldChg chg="addSp delSp modSp mod modNotesTx">
        <pc:chgData name="Kebba Jeng" userId="fe4cc296-ba7d-48a2-8799-89b58d218255" providerId="ADAL" clId="{388EFDEE-447E-42B4-98EF-30C01AB2E8CD}" dt="2022-03-29T18:56:33.746" v="5947" actId="20577"/>
        <pc:sldMkLst>
          <pc:docMk/>
          <pc:sldMk cId="0" sldId="259"/>
        </pc:sldMkLst>
        <pc:spChg chg="add del">
          <ac:chgData name="Kebba Jeng" userId="fe4cc296-ba7d-48a2-8799-89b58d218255" providerId="ADAL" clId="{388EFDEE-447E-42B4-98EF-30C01AB2E8CD}" dt="2022-03-29T18:54:00.590" v="5894" actId="22"/>
          <ac:spMkLst>
            <pc:docMk/>
            <pc:sldMk cId="0" sldId="259"/>
            <ac:spMk id="7" creationId="{79612CC5-D428-47DA-90DF-AB8878A09CE2}"/>
          </ac:spMkLst>
        </pc:spChg>
        <pc:spChg chg="add mod">
          <ac:chgData name="Kebba Jeng" userId="fe4cc296-ba7d-48a2-8799-89b58d218255" providerId="ADAL" clId="{388EFDEE-447E-42B4-98EF-30C01AB2E8CD}" dt="2022-03-29T18:54:59.491" v="5909" actId="1076"/>
          <ac:spMkLst>
            <pc:docMk/>
            <pc:sldMk cId="0" sldId="259"/>
            <ac:spMk id="9" creationId="{0C187A7F-8492-478F-B004-CB6923D01368}"/>
          </ac:spMkLst>
        </pc:spChg>
        <pc:spChg chg="mod">
          <ac:chgData name="Kebba Jeng" userId="fe4cc296-ba7d-48a2-8799-89b58d218255" providerId="ADAL" clId="{388EFDEE-447E-42B4-98EF-30C01AB2E8CD}" dt="2022-03-28T19:25:16.433" v="4020" actId="255"/>
          <ac:spMkLst>
            <pc:docMk/>
            <pc:sldMk cId="0" sldId="259"/>
            <ac:spMk id="518" creationId="{00000000-0000-0000-0000-000000000000}"/>
          </ac:spMkLst>
        </pc:spChg>
        <pc:spChg chg="mod">
          <ac:chgData name="Kebba Jeng" userId="fe4cc296-ba7d-48a2-8799-89b58d218255" providerId="ADAL" clId="{388EFDEE-447E-42B4-98EF-30C01AB2E8CD}" dt="2022-03-28T20:26:12.104" v="4887" actId="1076"/>
          <ac:spMkLst>
            <pc:docMk/>
            <pc:sldMk cId="0" sldId="259"/>
            <ac:spMk id="520" creationId="{00000000-0000-0000-0000-000000000000}"/>
          </ac:spMkLst>
        </pc:spChg>
        <pc:picChg chg="add mod">
          <ac:chgData name="Kebba Jeng" userId="fe4cc296-ba7d-48a2-8799-89b58d218255" providerId="ADAL" clId="{388EFDEE-447E-42B4-98EF-30C01AB2E8CD}" dt="2022-03-28T20:26:03.631" v="4885" actId="167"/>
          <ac:picMkLst>
            <pc:docMk/>
            <pc:sldMk cId="0" sldId="259"/>
            <ac:picMk id="6" creationId="{AA201B2E-F85E-40C2-9644-6067C127083A}"/>
          </ac:picMkLst>
        </pc:picChg>
        <pc:picChg chg="del">
          <ac:chgData name="Kebba Jeng" userId="fe4cc296-ba7d-48a2-8799-89b58d218255" providerId="ADAL" clId="{388EFDEE-447E-42B4-98EF-30C01AB2E8CD}" dt="2022-03-28T20:26:00.538" v="4883" actId="478"/>
          <ac:picMkLst>
            <pc:docMk/>
            <pc:sldMk cId="0" sldId="259"/>
            <ac:picMk id="519" creationId="{00000000-0000-0000-0000-000000000000}"/>
          </ac:picMkLst>
        </pc:picChg>
      </pc:sldChg>
      <pc:sldChg chg="addSp modSp mod ord modNotesTx">
        <pc:chgData name="Kebba Jeng" userId="fe4cc296-ba7d-48a2-8799-89b58d218255" providerId="ADAL" clId="{388EFDEE-447E-42B4-98EF-30C01AB2E8CD}" dt="2022-03-29T19:02:28.396" v="6029" actId="20577"/>
        <pc:sldMkLst>
          <pc:docMk/>
          <pc:sldMk cId="0" sldId="260"/>
        </pc:sldMkLst>
        <pc:spChg chg="add mod">
          <ac:chgData name="Kebba Jeng" userId="fe4cc296-ba7d-48a2-8799-89b58d218255" providerId="ADAL" clId="{388EFDEE-447E-42B4-98EF-30C01AB2E8CD}" dt="2022-03-28T06:37:36.223" v="40"/>
          <ac:spMkLst>
            <pc:docMk/>
            <pc:sldMk cId="0" sldId="260"/>
            <ac:spMk id="5" creationId="{36DC26EF-5395-4A13-BC87-A99007C71B41}"/>
          </ac:spMkLst>
        </pc:spChg>
        <pc:spChg chg="mod">
          <ac:chgData name="Kebba Jeng" userId="fe4cc296-ba7d-48a2-8799-89b58d218255" providerId="ADAL" clId="{388EFDEE-447E-42B4-98EF-30C01AB2E8CD}" dt="2022-03-28T17:42:50.563" v="1760" actId="20577"/>
          <ac:spMkLst>
            <pc:docMk/>
            <pc:sldMk cId="0" sldId="260"/>
            <ac:spMk id="523" creationId="{00000000-0000-0000-0000-000000000000}"/>
          </ac:spMkLst>
        </pc:spChg>
        <pc:picChg chg="add mod">
          <ac:chgData name="Kebba Jeng" userId="fe4cc296-ba7d-48a2-8799-89b58d218255" providerId="ADAL" clId="{388EFDEE-447E-42B4-98EF-30C01AB2E8CD}" dt="2022-03-28T18:35:09.192" v="3005" actId="1076"/>
          <ac:picMkLst>
            <pc:docMk/>
            <pc:sldMk cId="0" sldId="260"/>
            <ac:picMk id="6" creationId="{548DCB64-C9C2-4428-981A-5CEF2F9FBE93}"/>
          </ac:picMkLst>
        </pc:picChg>
        <pc:picChg chg="mod modCrop">
          <ac:chgData name="Kebba Jeng" userId="fe4cc296-ba7d-48a2-8799-89b58d218255" providerId="ADAL" clId="{388EFDEE-447E-42B4-98EF-30C01AB2E8CD}" dt="2022-03-28T18:34:50.436" v="3001" actId="1076"/>
          <ac:picMkLst>
            <pc:docMk/>
            <pc:sldMk cId="0" sldId="260"/>
            <ac:picMk id="522" creationId="{00000000-0000-0000-0000-000000000000}"/>
          </ac:picMkLst>
        </pc:picChg>
      </pc:sldChg>
      <pc:sldChg chg="addSp delSp modSp mod ord modNotesTx">
        <pc:chgData name="Kebba Jeng" userId="fe4cc296-ba7d-48a2-8799-89b58d218255" providerId="ADAL" clId="{388EFDEE-447E-42B4-98EF-30C01AB2E8CD}" dt="2022-03-29T19:03:59.666" v="6065" actId="20577"/>
        <pc:sldMkLst>
          <pc:docMk/>
          <pc:sldMk cId="0" sldId="261"/>
        </pc:sldMkLst>
        <pc:spChg chg="add mod">
          <ac:chgData name="Kebba Jeng" userId="fe4cc296-ba7d-48a2-8799-89b58d218255" providerId="ADAL" clId="{388EFDEE-447E-42B4-98EF-30C01AB2E8CD}" dt="2022-03-28T18:29:37.749" v="2964" actId="20577"/>
          <ac:spMkLst>
            <pc:docMk/>
            <pc:sldMk cId="0" sldId="261"/>
            <ac:spMk id="2" creationId="{CD937EA4-3F52-4E64-992E-36C9D2E6779F}"/>
          </ac:spMkLst>
        </pc:spChg>
        <pc:spChg chg="add mod">
          <ac:chgData name="Kebba Jeng" userId="fe4cc296-ba7d-48a2-8799-89b58d218255" providerId="ADAL" clId="{388EFDEE-447E-42B4-98EF-30C01AB2E8CD}" dt="2022-03-28T17:52:08.935" v="2228" actId="121"/>
          <ac:spMkLst>
            <pc:docMk/>
            <pc:sldMk cId="0" sldId="261"/>
            <ac:spMk id="3" creationId="{9B78DEC8-96DA-4CBB-B8BE-C2FDAFC73852}"/>
          </ac:spMkLst>
        </pc:spChg>
        <pc:spChg chg="add mod">
          <ac:chgData name="Kebba Jeng" userId="fe4cc296-ba7d-48a2-8799-89b58d218255" providerId="ADAL" clId="{388EFDEE-447E-42B4-98EF-30C01AB2E8CD}" dt="2022-03-28T18:06:24.351" v="2615" actId="207"/>
          <ac:spMkLst>
            <pc:docMk/>
            <pc:sldMk cId="0" sldId="261"/>
            <ac:spMk id="8" creationId="{74647358-158C-46FD-9C13-7E35AC243095}"/>
          </ac:spMkLst>
        </pc:spChg>
        <pc:spChg chg="add mod">
          <ac:chgData name="Kebba Jeng" userId="fe4cc296-ba7d-48a2-8799-89b58d218255" providerId="ADAL" clId="{388EFDEE-447E-42B4-98EF-30C01AB2E8CD}" dt="2022-03-28T18:06:01.337" v="2611" actId="1076"/>
          <ac:spMkLst>
            <pc:docMk/>
            <pc:sldMk cId="0" sldId="261"/>
            <ac:spMk id="9" creationId="{C9B83C28-3B84-4DEC-B622-917B61297A29}"/>
          </ac:spMkLst>
        </pc:spChg>
        <pc:spChg chg="add del">
          <ac:chgData name="Kebba Jeng" userId="fe4cc296-ba7d-48a2-8799-89b58d218255" providerId="ADAL" clId="{388EFDEE-447E-42B4-98EF-30C01AB2E8CD}" dt="2022-03-28T17:56:37.554" v="2260" actId="21"/>
          <ac:spMkLst>
            <pc:docMk/>
            <pc:sldMk cId="0" sldId="261"/>
            <ac:spMk id="524"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25"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26"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27"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28"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29"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30"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31"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32"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33"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34"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35"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36"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37"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38"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39"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40"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41"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42"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43"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44"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45"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46"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47"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48"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49"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50"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51"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52"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53"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54"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55"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56"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57"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58"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59"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60"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61"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62"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63"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64"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65"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66"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67"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68"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69"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70"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71"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72"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73"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74"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75"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76"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77"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78"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79"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80"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81"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82"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83"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84"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85"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86"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87"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88"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89"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90"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91"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92"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93"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94"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95"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96"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97"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98"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599"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00"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01"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02"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03"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04"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05"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06"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07"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08"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09"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10"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11"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12"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13"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14"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15"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16"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17"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18"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19"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20"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21"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22"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23"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24"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25"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26"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27"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28"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29"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30"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31"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32"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33"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34"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35"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36"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37"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38"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39"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40"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41"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42"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43"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44"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45"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46"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47"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48"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49"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50"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51"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52"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53"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54"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55"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56"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57"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58"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59"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60"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61"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62"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63"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64"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65"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66"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67"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68"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69"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70"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71"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72"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73"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74"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75"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76"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77"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78"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79"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80"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81"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82"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83"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84"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85"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86"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87"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88"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89"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90"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91"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92"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93"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94"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95"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96"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97"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98"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699"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700"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701"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702"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703"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704"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705"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706"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707"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708"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709"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710"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711"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712"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713"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714"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715"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716"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717" creationId="{00000000-0000-0000-0000-000000000000}"/>
          </ac:spMkLst>
        </pc:spChg>
        <pc:spChg chg="add del">
          <ac:chgData name="Kebba Jeng" userId="fe4cc296-ba7d-48a2-8799-89b58d218255" providerId="ADAL" clId="{388EFDEE-447E-42B4-98EF-30C01AB2E8CD}" dt="2022-03-28T17:56:37.554" v="2260" actId="21"/>
          <ac:spMkLst>
            <pc:docMk/>
            <pc:sldMk cId="0" sldId="261"/>
            <ac:spMk id="718" creationId="{00000000-0000-0000-0000-000000000000}"/>
          </ac:spMkLst>
        </pc:spChg>
        <pc:spChg chg="del">
          <ac:chgData name="Kebba Jeng" userId="fe4cc296-ba7d-48a2-8799-89b58d218255" providerId="ADAL" clId="{388EFDEE-447E-42B4-98EF-30C01AB2E8CD}" dt="2022-03-28T17:56:57.090" v="2266" actId="21"/>
          <ac:spMkLst>
            <pc:docMk/>
            <pc:sldMk cId="0" sldId="261"/>
            <ac:spMk id="720" creationId="{00000000-0000-0000-0000-000000000000}"/>
          </ac:spMkLst>
        </pc:spChg>
        <pc:spChg chg="del">
          <ac:chgData name="Kebba Jeng" userId="fe4cc296-ba7d-48a2-8799-89b58d218255" providerId="ADAL" clId="{388EFDEE-447E-42B4-98EF-30C01AB2E8CD}" dt="2022-03-28T17:56:57.090" v="2266" actId="21"/>
          <ac:spMkLst>
            <pc:docMk/>
            <pc:sldMk cId="0" sldId="261"/>
            <ac:spMk id="721" creationId="{00000000-0000-0000-0000-000000000000}"/>
          </ac:spMkLst>
        </pc:spChg>
        <pc:spChg chg="del">
          <ac:chgData name="Kebba Jeng" userId="fe4cc296-ba7d-48a2-8799-89b58d218255" providerId="ADAL" clId="{388EFDEE-447E-42B4-98EF-30C01AB2E8CD}" dt="2022-03-28T17:56:57.090" v="2266" actId="21"/>
          <ac:spMkLst>
            <pc:docMk/>
            <pc:sldMk cId="0" sldId="261"/>
            <ac:spMk id="722" creationId="{00000000-0000-0000-0000-000000000000}"/>
          </ac:spMkLst>
        </pc:spChg>
        <pc:spChg chg="del">
          <ac:chgData name="Kebba Jeng" userId="fe4cc296-ba7d-48a2-8799-89b58d218255" providerId="ADAL" clId="{388EFDEE-447E-42B4-98EF-30C01AB2E8CD}" dt="2022-03-28T17:56:57.090" v="2266" actId="21"/>
          <ac:spMkLst>
            <pc:docMk/>
            <pc:sldMk cId="0" sldId="261"/>
            <ac:spMk id="723" creationId="{00000000-0000-0000-0000-000000000000}"/>
          </ac:spMkLst>
        </pc:spChg>
        <pc:spChg chg="del">
          <ac:chgData name="Kebba Jeng" userId="fe4cc296-ba7d-48a2-8799-89b58d218255" providerId="ADAL" clId="{388EFDEE-447E-42B4-98EF-30C01AB2E8CD}" dt="2022-03-28T17:56:57.090" v="2266" actId="21"/>
          <ac:spMkLst>
            <pc:docMk/>
            <pc:sldMk cId="0" sldId="261"/>
            <ac:spMk id="724" creationId="{00000000-0000-0000-0000-000000000000}"/>
          </ac:spMkLst>
        </pc:spChg>
        <pc:spChg chg="del">
          <ac:chgData name="Kebba Jeng" userId="fe4cc296-ba7d-48a2-8799-89b58d218255" providerId="ADAL" clId="{388EFDEE-447E-42B4-98EF-30C01AB2E8CD}" dt="2022-03-28T17:56:57.090" v="2266" actId="21"/>
          <ac:spMkLst>
            <pc:docMk/>
            <pc:sldMk cId="0" sldId="261"/>
            <ac:spMk id="725" creationId="{00000000-0000-0000-0000-000000000000}"/>
          </ac:spMkLst>
        </pc:spChg>
        <pc:spChg chg="del">
          <ac:chgData name="Kebba Jeng" userId="fe4cc296-ba7d-48a2-8799-89b58d218255" providerId="ADAL" clId="{388EFDEE-447E-42B4-98EF-30C01AB2E8CD}" dt="2022-03-28T17:56:57.090" v="2266" actId="21"/>
          <ac:spMkLst>
            <pc:docMk/>
            <pc:sldMk cId="0" sldId="261"/>
            <ac:spMk id="726" creationId="{00000000-0000-0000-0000-000000000000}"/>
          </ac:spMkLst>
        </pc:spChg>
        <pc:spChg chg="del">
          <ac:chgData name="Kebba Jeng" userId="fe4cc296-ba7d-48a2-8799-89b58d218255" providerId="ADAL" clId="{388EFDEE-447E-42B4-98EF-30C01AB2E8CD}" dt="2022-03-28T17:56:57.090" v="2266" actId="21"/>
          <ac:spMkLst>
            <pc:docMk/>
            <pc:sldMk cId="0" sldId="261"/>
            <ac:spMk id="727" creationId="{00000000-0000-0000-0000-000000000000}"/>
          </ac:spMkLst>
        </pc:spChg>
        <pc:spChg chg="del">
          <ac:chgData name="Kebba Jeng" userId="fe4cc296-ba7d-48a2-8799-89b58d218255" providerId="ADAL" clId="{388EFDEE-447E-42B4-98EF-30C01AB2E8CD}" dt="2022-03-28T17:56:57.090" v="2266" actId="21"/>
          <ac:spMkLst>
            <pc:docMk/>
            <pc:sldMk cId="0" sldId="261"/>
            <ac:spMk id="728" creationId="{00000000-0000-0000-0000-000000000000}"/>
          </ac:spMkLst>
        </pc:spChg>
        <pc:spChg chg="del">
          <ac:chgData name="Kebba Jeng" userId="fe4cc296-ba7d-48a2-8799-89b58d218255" providerId="ADAL" clId="{388EFDEE-447E-42B4-98EF-30C01AB2E8CD}" dt="2022-03-28T17:56:57.090" v="2266" actId="21"/>
          <ac:spMkLst>
            <pc:docMk/>
            <pc:sldMk cId="0" sldId="261"/>
            <ac:spMk id="729" creationId="{00000000-0000-0000-0000-000000000000}"/>
          </ac:spMkLst>
        </pc:spChg>
        <pc:spChg chg="del">
          <ac:chgData name="Kebba Jeng" userId="fe4cc296-ba7d-48a2-8799-89b58d218255" providerId="ADAL" clId="{388EFDEE-447E-42B4-98EF-30C01AB2E8CD}" dt="2022-03-28T17:56:57.090" v="2266" actId="21"/>
          <ac:spMkLst>
            <pc:docMk/>
            <pc:sldMk cId="0" sldId="261"/>
            <ac:spMk id="730" creationId="{00000000-0000-0000-0000-000000000000}"/>
          </ac:spMkLst>
        </pc:spChg>
        <pc:spChg chg="del">
          <ac:chgData name="Kebba Jeng" userId="fe4cc296-ba7d-48a2-8799-89b58d218255" providerId="ADAL" clId="{388EFDEE-447E-42B4-98EF-30C01AB2E8CD}" dt="2022-03-28T17:56:57.090" v="2266" actId="21"/>
          <ac:spMkLst>
            <pc:docMk/>
            <pc:sldMk cId="0" sldId="261"/>
            <ac:spMk id="731" creationId="{00000000-0000-0000-0000-000000000000}"/>
          </ac:spMkLst>
        </pc:spChg>
        <pc:spChg chg="del">
          <ac:chgData name="Kebba Jeng" userId="fe4cc296-ba7d-48a2-8799-89b58d218255" providerId="ADAL" clId="{388EFDEE-447E-42B4-98EF-30C01AB2E8CD}" dt="2022-03-28T17:56:57.090" v="2266" actId="21"/>
          <ac:spMkLst>
            <pc:docMk/>
            <pc:sldMk cId="0" sldId="261"/>
            <ac:spMk id="732" creationId="{00000000-0000-0000-0000-000000000000}"/>
          </ac:spMkLst>
        </pc:spChg>
        <pc:spChg chg="del">
          <ac:chgData name="Kebba Jeng" userId="fe4cc296-ba7d-48a2-8799-89b58d218255" providerId="ADAL" clId="{388EFDEE-447E-42B4-98EF-30C01AB2E8CD}" dt="2022-03-28T17:56:57.090" v="2266" actId="21"/>
          <ac:spMkLst>
            <pc:docMk/>
            <pc:sldMk cId="0" sldId="261"/>
            <ac:spMk id="733" creationId="{00000000-0000-0000-0000-000000000000}"/>
          </ac:spMkLst>
        </pc:spChg>
        <pc:spChg chg="del">
          <ac:chgData name="Kebba Jeng" userId="fe4cc296-ba7d-48a2-8799-89b58d218255" providerId="ADAL" clId="{388EFDEE-447E-42B4-98EF-30C01AB2E8CD}" dt="2022-03-28T17:56:57.090" v="2266" actId="21"/>
          <ac:spMkLst>
            <pc:docMk/>
            <pc:sldMk cId="0" sldId="261"/>
            <ac:spMk id="734" creationId="{00000000-0000-0000-0000-000000000000}"/>
          </ac:spMkLst>
        </pc:spChg>
        <pc:spChg chg="del">
          <ac:chgData name="Kebba Jeng" userId="fe4cc296-ba7d-48a2-8799-89b58d218255" providerId="ADAL" clId="{388EFDEE-447E-42B4-98EF-30C01AB2E8CD}" dt="2022-03-28T17:56:57.090" v="2266" actId="21"/>
          <ac:spMkLst>
            <pc:docMk/>
            <pc:sldMk cId="0" sldId="261"/>
            <ac:spMk id="735" creationId="{00000000-0000-0000-0000-000000000000}"/>
          </ac:spMkLst>
        </pc:spChg>
        <pc:spChg chg="del">
          <ac:chgData name="Kebba Jeng" userId="fe4cc296-ba7d-48a2-8799-89b58d218255" providerId="ADAL" clId="{388EFDEE-447E-42B4-98EF-30C01AB2E8CD}" dt="2022-03-28T17:56:57.090" v="2266" actId="21"/>
          <ac:spMkLst>
            <pc:docMk/>
            <pc:sldMk cId="0" sldId="261"/>
            <ac:spMk id="736" creationId="{00000000-0000-0000-0000-000000000000}"/>
          </ac:spMkLst>
        </pc:spChg>
        <pc:spChg chg="del">
          <ac:chgData name="Kebba Jeng" userId="fe4cc296-ba7d-48a2-8799-89b58d218255" providerId="ADAL" clId="{388EFDEE-447E-42B4-98EF-30C01AB2E8CD}" dt="2022-03-28T17:56:57.090" v="2266" actId="21"/>
          <ac:spMkLst>
            <pc:docMk/>
            <pc:sldMk cId="0" sldId="261"/>
            <ac:spMk id="737" creationId="{00000000-0000-0000-0000-000000000000}"/>
          </ac:spMkLst>
        </pc:spChg>
        <pc:spChg chg="del">
          <ac:chgData name="Kebba Jeng" userId="fe4cc296-ba7d-48a2-8799-89b58d218255" providerId="ADAL" clId="{388EFDEE-447E-42B4-98EF-30C01AB2E8CD}" dt="2022-03-28T17:56:57.090" v="2266" actId="21"/>
          <ac:spMkLst>
            <pc:docMk/>
            <pc:sldMk cId="0" sldId="261"/>
            <ac:spMk id="738" creationId="{00000000-0000-0000-0000-000000000000}"/>
          </ac:spMkLst>
        </pc:spChg>
        <pc:spChg chg="del">
          <ac:chgData name="Kebba Jeng" userId="fe4cc296-ba7d-48a2-8799-89b58d218255" providerId="ADAL" clId="{388EFDEE-447E-42B4-98EF-30C01AB2E8CD}" dt="2022-03-28T17:56:57.090" v="2266" actId="21"/>
          <ac:spMkLst>
            <pc:docMk/>
            <pc:sldMk cId="0" sldId="261"/>
            <ac:spMk id="739" creationId="{00000000-0000-0000-0000-000000000000}"/>
          </ac:spMkLst>
        </pc:spChg>
        <pc:spChg chg="del">
          <ac:chgData name="Kebba Jeng" userId="fe4cc296-ba7d-48a2-8799-89b58d218255" providerId="ADAL" clId="{388EFDEE-447E-42B4-98EF-30C01AB2E8CD}" dt="2022-03-28T17:56:57.090" v="2266" actId="21"/>
          <ac:spMkLst>
            <pc:docMk/>
            <pc:sldMk cId="0" sldId="261"/>
            <ac:spMk id="740" creationId="{00000000-0000-0000-0000-000000000000}"/>
          </ac:spMkLst>
        </pc:spChg>
        <pc:spChg chg="del">
          <ac:chgData name="Kebba Jeng" userId="fe4cc296-ba7d-48a2-8799-89b58d218255" providerId="ADAL" clId="{388EFDEE-447E-42B4-98EF-30C01AB2E8CD}" dt="2022-03-28T17:56:57.090" v="2266" actId="21"/>
          <ac:spMkLst>
            <pc:docMk/>
            <pc:sldMk cId="0" sldId="261"/>
            <ac:spMk id="741" creationId="{00000000-0000-0000-0000-000000000000}"/>
          </ac:spMkLst>
        </pc:spChg>
        <pc:spChg chg="del">
          <ac:chgData name="Kebba Jeng" userId="fe4cc296-ba7d-48a2-8799-89b58d218255" providerId="ADAL" clId="{388EFDEE-447E-42B4-98EF-30C01AB2E8CD}" dt="2022-03-28T17:56:57.090" v="2266" actId="21"/>
          <ac:spMkLst>
            <pc:docMk/>
            <pc:sldMk cId="0" sldId="261"/>
            <ac:spMk id="742" creationId="{00000000-0000-0000-0000-000000000000}"/>
          </ac:spMkLst>
        </pc:spChg>
        <pc:spChg chg="del">
          <ac:chgData name="Kebba Jeng" userId="fe4cc296-ba7d-48a2-8799-89b58d218255" providerId="ADAL" clId="{388EFDEE-447E-42B4-98EF-30C01AB2E8CD}" dt="2022-03-28T17:56:57.090" v="2266" actId="21"/>
          <ac:spMkLst>
            <pc:docMk/>
            <pc:sldMk cId="0" sldId="261"/>
            <ac:spMk id="743" creationId="{00000000-0000-0000-0000-000000000000}"/>
          </ac:spMkLst>
        </pc:spChg>
        <pc:spChg chg="del">
          <ac:chgData name="Kebba Jeng" userId="fe4cc296-ba7d-48a2-8799-89b58d218255" providerId="ADAL" clId="{388EFDEE-447E-42B4-98EF-30C01AB2E8CD}" dt="2022-03-28T17:56:57.090" v="2266" actId="21"/>
          <ac:spMkLst>
            <pc:docMk/>
            <pc:sldMk cId="0" sldId="261"/>
            <ac:spMk id="744" creationId="{00000000-0000-0000-0000-000000000000}"/>
          </ac:spMkLst>
        </pc:spChg>
        <pc:spChg chg="del">
          <ac:chgData name="Kebba Jeng" userId="fe4cc296-ba7d-48a2-8799-89b58d218255" providerId="ADAL" clId="{388EFDEE-447E-42B4-98EF-30C01AB2E8CD}" dt="2022-03-28T17:56:57.090" v="2266" actId="21"/>
          <ac:spMkLst>
            <pc:docMk/>
            <pc:sldMk cId="0" sldId="261"/>
            <ac:spMk id="745" creationId="{00000000-0000-0000-0000-000000000000}"/>
          </ac:spMkLst>
        </pc:spChg>
        <pc:spChg chg="del">
          <ac:chgData name="Kebba Jeng" userId="fe4cc296-ba7d-48a2-8799-89b58d218255" providerId="ADAL" clId="{388EFDEE-447E-42B4-98EF-30C01AB2E8CD}" dt="2022-03-28T17:56:57.090" v="2266" actId="21"/>
          <ac:spMkLst>
            <pc:docMk/>
            <pc:sldMk cId="0" sldId="261"/>
            <ac:spMk id="746" creationId="{00000000-0000-0000-0000-000000000000}"/>
          </ac:spMkLst>
        </pc:spChg>
        <pc:spChg chg="del">
          <ac:chgData name="Kebba Jeng" userId="fe4cc296-ba7d-48a2-8799-89b58d218255" providerId="ADAL" clId="{388EFDEE-447E-42B4-98EF-30C01AB2E8CD}" dt="2022-03-28T17:56:57.090" v="2266" actId="21"/>
          <ac:spMkLst>
            <pc:docMk/>
            <pc:sldMk cId="0" sldId="261"/>
            <ac:spMk id="747" creationId="{00000000-0000-0000-0000-000000000000}"/>
          </ac:spMkLst>
        </pc:spChg>
        <pc:spChg chg="del">
          <ac:chgData name="Kebba Jeng" userId="fe4cc296-ba7d-48a2-8799-89b58d218255" providerId="ADAL" clId="{388EFDEE-447E-42B4-98EF-30C01AB2E8CD}" dt="2022-03-28T17:56:57.090" v="2266" actId="21"/>
          <ac:spMkLst>
            <pc:docMk/>
            <pc:sldMk cId="0" sldId="261"/>
            <ac:spMk id="748" creationId="{00000000-0000-0000-0000-000000000000}"/>
          </ac:spMkLst>
        </pc:spChg>
        <pc:spChg chg="del">
          <ac:chgData name="Kebba Jeng" userId="fe4cc296-ba7d-48a2-8799-89b58d218255" providerId="ADAL" clId="{388EFDEE-447E-42B4-98EF-30C01AB2E8CD}" dt="2022-03-28T17:56:57.090" v="2266" actId="21"/>
          <ac:spMkLst>
            <pc:docMk/>
            <pc:sldMk cId="0" sldId="261"/>
            <ac:spMk id="749" creationId="{00000000-0000-0000-0000-000000000000}"/>
          </ac:spMkLst>
        </pc:spChg>
        <pc:spChg chg="del">
          <ac:chgData name="Kebba Jeng" userId="fe4cc296-ba7d-48a2-8799-89b58d218255" providerId="ADAL" clId="{388EFDEE-447E-42B4-98EF-30C01AB2E8CD}" dt="2022-03-28T17:56:57.090" v="2266" actId="21"/>
          <ac:spMkLst>
            <pc:docMk/>
            <pc:sldMk cId="0" sldId="261"/>
            <ac:spMk id="750" creationId="{00000000-0000-0000-0000-000000000000}"/>
          </ac:spMkLst>
        </pc:spChg>
        <pc:spChg chg="del">
          <ac:chgData name="Kebba Jeng" userId="fe4cc296-ba7d-48a2-8799-89b58d218255" providerId="ADAL" clId="{388EFDEE-447E-42B4-98EF-30C01AB2E8CD}" dt="2022-03-28T17:56:57.090" v="2266" actId="21"/>
          <ac:spMkLst>
            <pc:docMk/>
            <pc:sldMk cId="0" sldId="261"/>
            <ac:spMk id="751" creationId="{00000000-0000-0000-0000-000000000000}"/>
          </ac:spMkLst>
        </pc:spChg>
        <pc:spChg chg="del">
          <ac:chgData name="Kebba Jeng" userId="fe4cc296-ba7d-48a2-8799-89b58d218255" providerId="ADAL" clId="{388EFDEE-447E-42B4-98EF-30C01AB2E8CD}" dt="2022-03-28T17:56:57.090" v="2266" actId="21"/>
          <ac:spMkLst>
            <pc:docMk/>
            <pc:sldMk cId="0" sldId="261"/>
            <ac:spMk id="752" creationId="{00000000-0000-0000-0000-000000000000}"/>
          </ac:spMkLst>
        </pc:spChg>
        <pc:spChg chg="del">
          <ac:chgData name="Kebba Jeng" userId="fe4cc296-ba7d-48a2-8799-89b58d218255" providerId="ADAL" clId="{388EFDEE-447E-42B4-98EF-30C01AB2E8CD}" dt="2022-03-28T17:56:57.090" v="2266" actId="21"/>
          <ac:spMkLst>
            <pc:docMk/>
            <pc:sldMk cId="0" sldId="261"/>
            <ac:spMk id="753" creationId="{00000000-0000-0000-0000-000000000000}"/>
          </ac:spMkLst>
        </pc:spChg>
        <pc:spChg chg="del">
          <ac:chgData name="Kebba Jeng" userId="fe4cc296-ba7d-48a2-8799-89b58d218255" providerId="ADAL" clId="{388EFDEE-447E-42B4-98EF-30C01AB2E8CD}" dt="2022-03-28T17:56:57.090" v="2266" actId="21"/>
          <ac:spMkLst>
            <pc:docMk/>
            <pc:sldMk cId="0" sldId="261"/>
            <ac:spMk id="754" creationId="{00000000-0000-0000-0000-000000000000}"/>
          </ac:spMkLst>
        </pc:spChg>
        <pc:spChg chg="del">
          <ac:chgData name="Kebba Jeng" userId="fe4cc296-ba7d-48a2-8799-89b58d218255" providerId="ADAL" clId="{388EFDEE-447E-42B4-98EF-30C01AB2E8CD}" dt="2022-03-28T17:56:57.090" v="2266" actId="21"/>
          <ac:spMkLst>
            <pc:docMk/>
            <pc:sldMk cId="0" sldId="261"/>
            <ac:spMk id="755" creationId="{00000000-0000-0000-0000-000000000000}"/>
          </ac:spMkLst>
        </pc:spChg>
        <pc:spChg chg="del">
          <ac:chgData name="Kebba Jeng" userId="fe4cc296-ba7d-48a2-8799-89b58d218255" providerId="ADAL" clId="{388EFDEE-447E-42B4-98EF-30C01AB2E8CD}" dt="2022-03-28T17:56:57.090" v="2266" actId="21"/>
          <ac:spMkLst>
            <pc:docMk/>
            <pc:sldMk cId="0" sldId="261"/>
            <ac:spMk id="756" creationId="{00000000-0000-0000-0000-000000000000}"/>
          </ac:spMkLst>
        </pc:spChg>
        <pc:spChg chg="del">
          <ac:chgData name="Kebba Jeng" userId="fe4cc296-ba7d-48a2-8799-89b58d218255" providerId="ADAL" clId="{388EFDEE-447E-42B4-98EF-30C01AB2E8CD}" dt="2022-03-28T17:56:57.090" v="2266" actId="21"/>
          <ac:spMkLst>
            <pc:docMk/>
            <pc:sldMk cId="0" sldId="261"/>
            <ac:spMk id="757" creationId="{00000000-0000-0000-0000-000000000000}"/>
          </ac:spMkLst>
        </pc:spChg>
        <pc:spChg chg="del">
          <ac:chgData name="Kebba Jeng" userId="fe4cc296-ba7d-48a2-8799-89b58d218255" providerId="ADAL" clId="{388EFDEE-447E-42B4-98EF-30C01AB2E8CD}" dt="2022-03-28T17:56:57.090" v="2266" actId="21"/>
          <ac:spMkLst>
            <pc:docMk/>
            <pc:sldMk cId="0" sldId="261"/>
            <ac:spMk id="758" creationId="{00000000-0000-0000-0000-000000000000}"/>
          </ac:spMkLst>
        </pc:spChg>
        <pc:spChg chg="del">
          <ac:chgData name="Kebba Jeng" userId="fe4cc296-ba7d-48a2-8799-89b58d218255" providerId="ADAL" clId="{388EFDEE-447E-42B4-98EF-30C01AB2E8CD}" dt="2022-03-28T17:56:57.090" v="2266" actId="21"/>
          <ac:spMkLst>
            <pc:docMk/>
            <pc:sldMk cId="0" sldId="261"/>
            <ac:spMk id="759" creationId="{00000000-0000-0000-0000-000000000000}"/>
          </ac:spMkLst>
        </pc:spChg>
        <pc:spChg chg="del">
          <ac:chgData name="Kebba Jeng" userId="fe4cc296-ba7d-48a2-8799-89b58d218255" providerId="ADAL" clId="{388EFDEE-447E-42B4-98EF-30C01AB2E8CD}" dt="2022-03-28T17:56:57.090" v="2266" actId="21"/>
          <ac:spMkLst>
            <pc:docMk/>
            <pc:sldMk cId="0" sldId="261"/>
            <ac:spMk id="760" creationId="{00000000-0000-0000-0000-000000000000}"/>
          </ac:spMkLst>
        </pc:spChg>
        <pc:spChg chg="del">
          <ac:chgData name="Kebba Jeng" userId="fe4cc296-ba7d-48a2-8799-89b58d218255" providerId="ADAL" clId="{388EFDEE-447E-42B4-98EF-30C01AB2E8CD}" dt="2022-03-28T17:56:57.090" v="2266" actId="21"/>
          <ac:spMkLst>
            <pc:docMk/>
            <pc:sldMk cId="0" sldId="261"/>
            <ac:spMk id="761" creationId="{00000000-0000-0000-0000-000000000000}"/>
          </ac:spMkLst>
        </pc:spChg>
        <pc:spChg chg="del">
          <ac:chgData name="Kebba Jeng" userId="fe4cc296-ba7d-48a2-8799-89b58d218255" providerId="ADAL" clId="{388EFDEE-447E-42B4-98EF-30C01AB2E8CD}" dt="2022-03-28T17:56:57.090" v="2266" actId="21"/>
          <ac:spMkLst>
            <pc:docMk/>
            <pc:sldMk cId="0" sldId="261"/>
            <ac:spMk id="762" creationId="{00000000-0000-0000-0000-000000000000}"/>
          </ac:spMkLst>
        </pc:spChg>
        <pc:spChg chg="del">
          <ac:chgData name="Kebba Jeng" userId="fe4cc296-ba7d-48a2-8799-89b58d218255" providerId="ADAL" clId="{388EFDEE-447E-42B4-98EF-30C01AB2E8CD}" dt="2022-03-28T17:56:57.090" v="2266" actId="21"/>
          <ac:spMkLst>
            <pc:docMk/>
            <pc:sldMk cId="0" sldId="261"/>
            <ac:spMk id="763" creationId="{00000000-0000-0000-0000-000000000000}"/>
          </ac:spMkLst>
        </pc:spChg>
        <pc:spChg chg="del">
          <ac:chgData name="Kebba Jeng" userId="fe4cc296-ba7d-48a2-8799-89b58d218255" providerId="ADAL" clId="{388EFDEE-447E-42B4-98EF-30C01AB2E8CD}" dt="2022-03-28T17:56:57.090" v="2266" actId="21"/>
          <ac:spMkLst>
            <pc:docMk/>
            <pc:sldMk cId="0" sldId="261"/>
            <ac:spMk id="764" creationId="{00000000-0000-0000-0000-000000000000}"/>
          </ac:spMkLst>
        </pc:spChg>
        <pc:spChg chg="del">
          <ac:chgData name="Kebba Jeng" userId="fe4cc296-ba7d-48a2-8799-89b58d218255" providerId="ADAL" clId="{388EFDEE-447E-42B4-98EF-30C01AB2E8CD}" dt="2022-03-28T17:56:57.090" v="2266" actId="21"/>
          <ac:spMkLst>
            <pc:docMk/>
            <pc:sldMk cId="0" sldId="261"/>
            <ac:spMk id="765" creationId="{00000000-0000-0000-0000-000000000000}"/>
          </ac:spMkLst>
        </pc:spChg>
        <pc:spChg chg="del">
          <ac:chgData name="Kebba Jeng" userId="fe4cc296-ba7d-48a2-8799-89b58d218255" providerId="ADAL" clId="{388EFDEE-447E-42B4-98EF-30C01AB2E8CD}" dt="2022-03-28T17:56:57.090" v="2266" actId="21"/>
          <ac:spMkLst>
            <pc:docMk/>
            <pc:sldMk cId="0" sldId="261"/>
            <ac:spMk id="766" creationId="{00000000-0000-0000-0000-000000000000}"/>
          </ac:spMkLst>
        </pc:spChg>
        <pc:spChg chg="del">
          <ac:chgData name="Kebba Jeng" userId="fe4cc296-ba7d-48a2-8799-89b58d218255" providerId="ADAL" clId="{388EFDEE-447E-42B4-98EF-30C01AB2E8CD}" dt="2022-03-28T17:56:57.090" v="2266" actId="21"/>
          <ac:spMkLst>
            <pc:docMk/>
            <pc:sldMk cId="0" sldId="261"/>
            <ac:spMk id="767" creationId="{00000000-0000-0000-0000-000000000000}"/>
          </ac:spMkLst>
        </pc:spChg>
        <pc:spChg chg="del">
          <ac:chgData name="Kebba Jeng" userId="fe4cc296-ba7d-48a2-8799-89b58d218255" providerId="ADAL" clId="{388EFDEE-447E-42B4-98EF-30C01AB2E8CD}" dt="2022-03-28T17:56:57.090" v="2266" actId="21"/>
          <ac:spMkLst>
            <pc:docMk/>
            <pc:sldMk cId="0" sldId="261"/>
            <ac:spMk id="768" creationId="{00000000-0000-0000-0000-000000000000}"/>
          </ac:spMkLst>
        </pc:spChg>
        <pc:spChg chg="del">
          <ac:chgData name="Kebba Jeng" userId="fe4cc296-ba7d-48a2-8799-89b58d218255" providerId="ADAL" clId="{388EFDEE-447E-42B4-98EF-30C01AB2E8CD}" dt="2022-03-28T17:56:57.090" v="2266" actId="21"/>
          <ac:spMkLst>
            <pc:docMk/>
            <pc:sldMk cId="0" sldId="261"/>
            <ac:spMk id="769" creationId="{00000000-0000-0000-0000-000000000000}"/>
          </ac:spMkLst>
        </pc:spChg>
        <pc:spChg chg="del">
          <ac:chgData name="Kebba Jeng" userId="fe4cc296-ba7d-48a2-8799-89b58d218255" providerId="ADAL" clId="{388EFDEE-447E-42B4-98EF-30C01AB2E8CD}" dt="2022-03-28T17:56:57.090" v="2266" actId="21"/>
          <ac:spMkLst>
            <pc:docMk/>
            <pc:sldMk cId="0" sldId="261"/>
            <ac:spMk id="770" creationId="{00000000-0000-0000-0000-000000000000}"/>
          </ac:spMkLst>
        </pc:spChg>
        <pc:spChg chg="del">
          <ac:chgData name="Kebba Jeng" userId="fe4cc296-ba7d-48a2-8799-89b58d218255" providerId="ADAL" clId="{388EFDEE-447E-42B4-98EF-30C01AB2E8CD}" dt="2022-03-28T17:56:57.090" v="2266" actId="21"/>
          <ac:spMkLst>
            <pc:docMk/>
            <pc:sldMk cId="0" sldId="261"/>
            <ac:spMk id="771" creationId="{00000000-0000-0000-0000-000000000000}"/>
          </ac:spMkLst>
        </pc:spChg>
        <pc:spChg chg="del">
          <ac:chgData name="Kebba Jeng" userId="fe4cc296-ba7d-48a2-8799-89b58d218255" providerId="ADAL" clId="{388EFDEE-447E-42B4-98EF-30C01AB2E8CD}" dt="2022-03-28T17:56:57.090" v="2266" actId="21"/>
          <ac:spMkLst>
            <pc:docMk/>
            <pc:sldMk cId="0" sldId="261"/>
            <ac:spMk id="772" creationId="{00000000-0000-0000-0000-000000000000}"/>
          </ac:spMkLst>
        </pc:spChg>
        <pc:spChg chg="del">
          <ac:chgData name="Kebba Jeng" userId="fe4cc296-ba7d-48a2-8799-89b58d218255" providerId="ADAL" clId="{388EFDEE-447E-42B4-98EF-30C01AB2E8CD}" dt="2022-03-28T17:56:57.090" v="2266" actId="21"/>
          <ac:spMkLst>
            <pc:docMk/>
            <pc:sldMk cId="0" sldId="261"/>
            <ac:spMk id="773" creationId="{00000000-0000-0000-0000-000000000000}"/>
          </ac:spMkLst>
        </pc:spChg>
        <pc:spChg chg="del">
          <ac:chgData name="Kebba Jeng" userId="fe4cc296-ba7d-48a2-8799-89b58d218255" providerId="ADAL" clId="{388EFDEE-447E-42B4-98EF-30C01AB2E8CD}" dt="2022-03-28T17:56:57.090" v="2266" actId="21"/>
          <ac:spMkLst>
            <pc:docMk/>
            <pc:sldMk cId="0" sldId="261"/>
            <ac:spMk id="774" creationId="{00000000-0000-0000-0000-000000000000}"/>
          </ac:spMkLst>
        </pc:spChg>
        <pc:spChg chg="del">
          <ac:chgData name="Kebba Jeng" userId="fe4cc296-ba7d-48a2-8799-89b58d218255" providerId="ADAL" clId="{388EFDEE-447E-42B4-98EF-30C01AB2E8CD}" dt="2022-03-28T17:56:57.090" v="2266" actId="21"/>
          <ac:spMkLst>
            <pc:docMk/>
            <pc:sldMk cId="0" sldId="261"/>
            <ac:spMk id="775" creationId="{00000000-0000-0000-0000-000000000000}"/>
          </ac:spMkLst>
        </pc:spChg>
        <pc:spChg chg="del">
          <ac:chgData name="Kebba Jeng" userId="fe4cc296-ba7d-48a2-8799-89b58d218255" providerId="ADAL" clId="{388EFDEE-447E-42B4-98EF-30C01AB2E8CD}" dt="2022-03-28T17:56:57.090" v="2266" actId="21"/>
          <ac:spMkLst>
            <pc:docMk/>
            <pc:sldMk cId="0" sldId="261"/>
            <ac:spMk id="776" creationId="{00000000-0000-0000-0000-000000000000}"/>
          </ac:spMkLst>
        </pc:spChg>
        <pc:spChg chg="del">
          <ac:chgData name="Kebba Jeng" userId="fe4cc296-ba7d-48a2-8799-89b58d218255" providerId="ADAL" clId="{388EFDEE-447E-42B4-98EF-30C01AB2E8CD}" dt="2022-03-28T17:56:57.090" v="2266" actId="21"/>
          <ac:spMkLst>
            <pc:docMk/>
            <pc:sldMk cId="0" sldId="261"/>
            <ac:spMk id="777" creationId="{00000000-0000-0000-0000-000000000000}"/>
          </ac:spMkLst>
        </pc:spChg>
        <pc:spChg chg="del">
          <ac:chgData name="Kebba Jeng" userId="fe4cc296-ba7d-48a2-8799-89b58d218255" providerId="ADAL" clId="{388EFDEE-447E-42B4-98EF-30C01AB2E8CD}" dt="2022-03-28T17:56:57.090" v="2266" actId="21"/>
          <ac:spMkLst>
            <pc:docMk/>
            <pc:sldMk cId="0" sldId="261"/>
            <ac:spMk id="778" creationId="{00000000-0000-0000-0000-000000000000}"/>
          </ac:spMkLst>
        </pc:spChg>
        <pc:spChg chg="del">
          <ac:chgData name="Kebba Jeng" userId="fe4cc296-ba7d-48a2-8799-89b58d218255" providerId="ADAL" clId="{388EFDEE-447E-42B4-98EF-30C01AB2E8CD}" dt="2022-03-28T17:56:57.090" v="2266" actId="21"/>
          <ac:spMkLst>
            <pc:docMk/>
            <pc:sldMk cId="0" sldId="261"/>
            <ac:spMk id="779" creationId="{00000000-0000-0000-0000-000000000000}"/>
          </ac:spMkLst>
        </pc:spChg>
        <pc:spChg chg="del">
          <ac:chgData name="Kebba Jeng" userId="fe4cc296-ba7d-48a2-8799-89b58d218255" providerId="ADAL" clId="{388EFDEE-447E-42B4-98EF-30C01AB2E8CD}" dt="2022-03-28T17:56:57.090" v="2266" actId="21"/>
          <ac:spMkLst>
            <pc:docMk/>
            <pc:sldMk cId="0" sldId="261"/>
            <ac:spMk id="780" creationId="{00000000-0000-0000-0000-000000000000}"/>
          </ac:spMkLst>
        </pc:spChg>
        <pc:spChg chg="del">
          <ac:chgData name="Kebba Jeng" userId="fe4cc296-ba7d-48a2-8799-89b58d218255" providerId="ADAL" clId="{388EFDEE-447E-42B4-98EF-30C01AB2E8CD}" dt="2022-03-28T17:56:57.090" v="2266" actId="21"/>
          <ac:spMkLst>
            <pc:docMk/>
            <pc:sldMk cId="0" sldId="261"/>
            <ac:spMk id="781" creationId="{00000000-0000-0000-0000-000000000000}"/>
          </ac:spMkLst>
        </pc:spChg>
        <pc:spChg chg="del">
          <ac:chgData name="Kebba Jeng" userId="fe4cc296-ba7d-48a2-8799-89b58d218255" providerId="ADAL" clId="{388EFDEE-447E-42B4-98EF-30C01AB2E8CD}" dt="2022-03-28T17:56:57.090" v="2266" actId="21"/>
          <ac:spMkLst>
            <pc:docMk/>
            <pc:sldMk cId="0" sldId="261"/>
            <ac:spMk id="782" creationId="{00000000-0000-0000-0000-000000000000}"/>
          </ac:spMkLst>
        </pc:spChg>
        <pc:spChg chg="del">
          <ac:chgData name="Kebba Jeng" userId="fe4cc296-ba7d-48a2-8799-89b58d218255" providerId="ADAL" clId="{388EFDEE-447E-42B4-98EF-30C01AB2E8CD}" dt="2022-03-28T17:56:57.090" v="2266" actId="21"/>
          <ac:spMkLst>
            <pc:docMk/>
            <pc:sldMk cId="0" sldId="261"/>
            <ac:spMk id="783" creationId="{00000000-0000-0000-0000-000000000000}"/>
          </ac:spMkLst>
        </pc:spChg>
        <pc:spChg chg="del">
          <ac:chgData name="Kebba Jeng" userId="fe4cc296-ba7d-48a2-8799-89b58d218255" providerId="ADAL" clId="{388EFDEE-447E-42B4-98EF-30C01AB2E8CD}" dt="2022-03-28T17:56:57.090" v="2266" actId="21"/>
          <ac:spMkLst>
            <pc:docMk/>
            <pc:sldMk cId="0" sldId="261"/>
            <ac:spMk id="784" creationId="{00000000-0000-0000-0000-000000000000}"/>
          </ac:spMkLst>
        </pc:spChg>
        <pc:spChg chg="del">
          <ac:chgData name="Kebba Jeng" userId="fe4cc296-ba7d-48a2-8799-89b58d218255" providerId="ADAL" clId="{388EFDEE-447E-42B4-98EF-30C01AB2E8CD}" dt="2022-03-28T17:56:57.090" v="2266" actId="21"/>
          <ac:spMkLst>
            <pc:docMk/>
            <pc:sldMk cId="0" sldId="261"/>
            <ac:spMk id="785" creationId="{00000000-0000-0000-0000-000000000000}"/>
          </ac:spMkLst>
        </pc:spChg>
        <pc:spChg chg="del">
          <ac:chgData name="Kebba Jeng" userId="fe4cc296-ba7d-48a2-8799-89b58d218255" providerId="ADAL" clId="{388EFDEE-447E-42B4-98EF-30C01AB2E8CD}" dt="2022-03-28T17:56:57.090" v="2266" actId="21"/>
          <ac:spMkLst>
            <pc:docMk/>
            <pc:sldMk cId="0" sldId="261"/>
            <ac:spMk id="786" creationId="{00000000-0000-0000-0000-000000000000}"/>
          </ac:spMkLst>
        </pc:spChg>
        <pc:spChg chg="del">
          <ac:chgData name="Kebba Jeng" userId="fe4cc296-ba7d-48a2-8799-89b58d218255" providerId="ADAL" clId="{388EFDEE-447E-42B4-98EF-30C01AB2E8CD}" dt="2022-03-28T17:56:57.090" v="2266" actId="21"/>
          <ac:spMkLst>
            <pc:docMk/>
            <pc:sldMk cId="0" sldId="261"/>
            <ac:spMk id="787" creationId="{00000000-0000-0000-0000-000000000000}"/>
          </ac:spMkLst>
        </pc:spChg>
        <pc:spChg chg="del">
          <ac:chgData name="Kebba Jeng" userId="fe4cc296-ba7d-48a2-8799-89b58d218255" providerId="ADAL" clId="{388EFDEE-447E-42B4-98EF-30C01AB2E8CD}" dt="2022-03-28T17:56:57.090" v="2266" actId="21"/>
          <ac:spMkLst>
            <pc:docMk/>
            <pc:sldMk cId="0" sldId="261"/>
            <ac:spMk id="788" creationId="{00000000-0000-0000-0000-000000000000}"/>
          </ac:spMkLst>
        </pc:spChg>
        <pc:spChg chg="del">
          <ac:chgData name="Kebba Jeng" userId="fe4cc296-ba7d-48a2-8799-89b58d218255" providerId="ADAL" clId="{388EFDEE-447E-42B4-98EF-30C01AB2E8CD}" dt="2022-03-28T17:56:57.090" v="2266" actId="21"/>
          <ac:spMkLst>
            <pc:docMk/>
            <pc:sldMk cId="0" sldId="261"/>
            <ac:spMk id="789" creationId="{00000000-0000-0000-0000-000000000000}"/>
          </ac:spMkLst>
        </pc:spChg>
        <pc:spChg chg="del">
          <ac:chgData name="Kebba Jeng" userId="fe4cc296-ba7d-48a2-8799-89b58d218255" providerId="ADAL" clId="{388EFDEE-447E-42B4-98EF-30C01AB2E8CD}" dt="2022-03-28T17:56:57.090" v="2266" actId="21"/>
          <ac:spMkLst>
            <pc:docMk/>
            <pc:sldMk cId="0" sldId="261"/>
            <ac:spMk id="790" creationId="{00000000-0000-0000-0000-000000000000}"/>
          </ac:spMkLst>
        </pc:spChg>
        <pc:spChg chg="del">
          <ac:chgData name="Kebba Jeng" userId="fe4cc296-ba7d-48a2-8799-89b58d218255" providerId="ADAL" clId="{388EFDEE-447E-42B4-98EF-30C01AB2E8CD}" dt="2022-03-28T17:56:57.090" v="2266" actId="21"/>
          <ac:spMkLst>
            <pc:docMk/>
            <pc:sldMk cId="0" sldId="261"/>
            <ac:spMk id="791" creationId="{00000000-0000-0000-0000-000000000000}"/>
          </ac:spMkLst>
        </pc:spChg>
        <pc:spChg chg="del">
          <ac:chgData name="Kebba Jeng" userId="fe4cc296-ba7d-48a2-8799-89b58d218255" providerId="ADAL" clId="{388EFDEE-447E-42B4-98EF-30C01AB2E8CD}" dt="2022-03-28T17:56:57.090" v="2266" actId="21"/>
          <ac:spMkLst>
            <pc:docMk/>
            <pc:sldMk cId="0" sldId="261"/>
            <ac:spMk id="792" creationId="{00000000-0000-0000-0000-000000000000}"/>
          </ac:spMkLst>
        </pc:spChg>
        <pc:spChg chg="del">
          <ac:chgData name="Kebba Jeng" userId="fe4cc296-ba7d-48a2-8799-89b58d218255" providerId="ADAL" clId="{388EFDEE-447E-42B4-98EF-30C01AB2E8CD}" dt="2022-03-28T17:56:57.090" v="2266" actId="21"/>
          <ac:spMkLst>
            <pc:docMk/>
            <pc:sldMk cId="0" sldId="261"/>
            <ac:spMk id="793" creationId="{00000000-0000-0000-0000-000000000000}"/>
          </ac:spMkLst>
        </pc:spChg>
        <pc:spChg chg="del">
          <ac:chgData name="Kebba Jeng" userId="fe4cc296-ba7d-48a2-8799-89b58d218255" providerId="ADAL" clId="{388EFDEE-447E-42B4-98EF-30C01AB2E8CD}" dt="2022-03-28T17:56:57.090" v="2266" actId="21"/>
          <ac:spMkLst>
            <pc:docMk/>
            <pc:sldMk cId="0" sldId="261"/>
            <ac:spMk id="794" creationId="{00000000-0000-0000-0000-000000000000}"/>
          </ac:spMkLst>
        </pc:spChg>
        <pc:spChg chg="del">
          <ac:chgData name="Kebba Jeng" userId="fe4cc296-ba7d-48a2-8799-89b58d218255" providerId="ADAL" clId="{388EFDEE-447E-42B4-98EF-30C01AB2E8CD}" dt="2022-03-28T17:56:57.090" v="2266" actId="21"/>
          <ac:spMkLst>
            <pc:docMk/>
            <pc:sldMk cId="0" sldId="261"/>
            <ac:spMk id="795" creationId="{00000000-0000-0000-0000-000000000000}"/>
          </ac:spMkLst>
        </pc:spChg>
        <pc:spChg chg="del">
          <ac:chgData name="Kebba Jeng" userId="fe4cc296-ba7d-48a2-8799-89b58d218255" providerId="ADAL" clId="{388EFDEE-447E-42B4-98EF-30C01AB2E8CD}" dt="2022-03-28T17:56:57.090" v="2266" actId="21"/>
          <ac:spMkLst>
            <pc:docMk/>
            <pc:sldMk cId="0" sldId="261"/>
            <ac:spMk id="796" creationId="{00000000-0000-0000-0000-000000000000}"/>
          </ac:spMkLst>
        </pc:spChg>
        <pc:spChg chg="del">
          <ac:chgData name="Kebba Jeng" userId="fe4cc296-ba7d-48a2-8799-89b58d218255" providerId="ADAL" clId="{388EFDEE-447E-42B4-98EF-30C01AB2E8CD}" dt="2022-03-28T17:56:57.090" v="2266" actId="21"/>
          <ac:spMkLst>
            <pc:docMk/>
            <pc:sldMk cId="0" sldId="261"/>
            <ac:spMk id="797" creationId="{00000000-0000-0000-0000-000000000000}"/>
          </ac:spMkLst>
        </pc:spChg>
        <pc:spChg chg="del">
          <ac:chgData name="Kebba Jeng" userId="fe4cc296-ba7d-48a2-8799-89b58d218255" providerId="ADAL" clId="{388EFDEE-447E-42B4-98EF-30C01AB2E8CD}" dt="2022-03-28T17:56:57.090" v="2266" actId="21"/>
          <ac:spMkLst>
            <pc:docMk/>
            <pc:sldMk cId="0" sldId="261"/>
            <ac:spMk id="798" creationId="{00000000-0000-0000-0000-000000000000}"/>
          </ac:spMkLst>
        </pc:spChg>
        <pc:spChg chg="del">
          <ac:chgData name="Kebba Jeng" userId="fe4cc296-ba7d-48a2-8799-89b58d218255" providerId="ADAL" clId="{388EFDEE-447E-42B4-98EF-30C01AB2E8CD}" dt="2022-03-28T17:56:57.090" v="2266" actId="21"/>
          <ac:spMkLst>
            <pc:docMk/>
            <pc:sldMk cId="0" sldId="261"/>
            <ac:spMk id="799" creationId="{00000000-0000-0000-0000-000000000000}"/>
          </ac:spMkLst>
        </pc:spChg>
        <pc:spChg chg="del">
          <ac:chgData name="Kebba Jeng" userId="fe4cc296-ba7d-48a2-8799-89b58d218255" providerId="ADAL" clId="{388EFDEE-447E-42B4-98EF-30C01AB2E8CD}" dt="2022-03-28T17:56:57.090" v="2266" actId="21"/>
          <ac:spMkLst>
            <pc:docMk/>
            <pc:sldMk cId="0" sldId="261"/>
            <ac:spMk id="800" creationId="{00000000-0000-0000-0000-000000000000}"/>
          </ac:spMkLst>
        </pc:spChg>
        <pc:spChg chg="del">
          <ac:chgData name="Kebba Jeng" userId="fe4cc296-ba7d-48a2-8799-89b58d218255" providerId="ADAL" clId="{388EFDEE-447E-42B4-98EF-30C01AB2E8CD}" dt="2022-03-28T17:56:57.090" v="2266" actId="21"/>
          <ac:spMkLst>
            <pc:docMk/>
            <pc:sldMk cId="0" sldId="261"/>
            <ac:spMk id="801" creationId="{00000000-0000-0000-0000-000000000000}"/>
          </ac:spMkLst>
        </pc:spChg>
        <pc:spChg chg="del">
          <ac:chgData name="Kebba Jeng" userId="fe4cc296-ba7d-48a2-8799-89b58d218255" providerId="ADAL" clId="{388EFDEE-447E-42B4-98EF-30C01AB2E8CD}" dt="2022-03-28T17:56:57.090" v="2266" actId="21"/>
          <ac:spMkLst>
            <pc:docMk/>
            <pc:sldMk cId="0" sldId="261"/>
            <ac:spMk id="802" creationId="{00000000-0000-0000-0000-000000000000}"/>
          </ac:spMkLst>
        </pc:spChg>
        <pc:spChg chg="del">
          <ac:chgData name="Kebba Jeng" userId="fe4cc296-ba7d-48a2-8799-89b58d218255" providerId="ADAL" clId="{388EFDEE-447E-42B4-98EF-30C01AB2E8CD}" dt="2022-03-28T17:56:57.090" v="2266" actId="21"/>
          <ac:spMkLst>
            <pc:docMk/>
            <pc:sldMk cId="0" sldId="261"/>
            <ac:spMk id="803" creationId="{00000000-0000-0000-0000-000000000000}"/>
          </ac:spMkLst>
        </pc:spChg>
        <pc:spChg chg="del">
          <ac:chgData name="Kebba Jeng" userId="fe4cc296-ba7d-48a2-8799-89b58d218255" providerId="ADAL" clId="{388EFDEE-447E-42B4-98EF-30C01AB2E8CD}" dt="2022-03-28T17:56:57.090" v="2266" actId="21"/>
          <ac:spMkLst>
            <pc:docMk/>
            <pc:sldMk cId="0" sldId="261"/>
            <ac:spMk id="804" creationId="{00000000-0000-0000-0000-000000000000}"/>
          </ac:spMkLst>
        </pc:spChg>
        <pc:spChg chg="del">
          <ac:chgData name="Kebba Jeng" userId="fe4cc296-ba7d-48a2-8799-89b58d218255" providerId="ADAL" clId="{388EFDEE-447E-42B4-98EF-30C01AB2E8CD}" dt="2022-03-28T17:56:57.090" v="2266" actId="21"/>
          <ac:spMkLst>
            <pc:docMk/>
            <pc:sldMk cId="0" sldId="261"/>
            <ac:spMk id="805" creationId="{00000000-0000-0000-0000-000000000000}"/>
          </ac:spMkLst>
        </pc:spChg>
        <pc:spChg chg="del">
          <ac:chgData name="Kebba Jeng" userId="fe4cc296-ba7d-48a2-8799-89b58d218255" providerId="ADAL" clId="{388EFDEE-447E-42B4-98EF-30C01AB2E8CD}" dt="2022-03-28T17:56:57.090" v="2266" actId="21"/>
          <ac:spMkLst>
            <pc:docMk/>
            <pc:sldMk cId="0" sldId="261"/>
            <ac:spMk id="806" creationId="{00000000-0000-0000-0000-000000000000}"/>
          </ac:spMkLst>
        </pc:spChg>
        <pc:spChg chg="del">
          <ac:chgData name="Kebba Jeng" userId="fe4cc296-ba7d-48a2-8799-89b58d218255" providerId="ADAL" clId="{388EFDEE-447E-42B4-98EF-30C01AB2E8CD}" dt="2022-03-28T17:56:57.090" v="2266" actId="21"/>
          <ac:spMkLst>
            <pc:docMk/>
            <pc:sldMk cId="0" sldId="261"/>
            <ac:spMk id="807" creationId="{00000000-0000-0000-0000-000000000000}"/>
          </ac:spMkLst>
        </pc:spChg>
        <pc:spChg chg="del">
          <ac:chgData name="Kebba Jeng" userId="fe4cc296-ba7d-48a2-8799-89b58d218255" providerId="ADAL" clId="{388EFDEE-447E-42B4-98EF-30C01AB2E8CD}" dt="2022-03-28T17:56:57.090" v="2266" actId="21"/>
          <ac:spMkLst>
            <pc:docMk/>
            <pc:sldMk cId="0" sldId="261"/>
            <ac:spMk id="808" creationId="{00000000-0000-0000-0000-000000000000}"/>
          </ac:spMkLst>
        </pc:spChg>
        <pc:spChg chg="del">
          <ac:chgData name="Kebba Jeng" userId="fe4cc296-ba7d-48a2-8799-89b58d218255" providerId="ADAL" clId="{388EFDEE-447E-42B4-98EF-30C01AB2E8CD}" dt="2022-03-28T17:56:57.090" v="2266" actId="21"/>
          <ac:spMkLst>
            <pc:docMk/>
            <pc:sldMk cId="0" sldId="261"/>
            <ac:spMk id="809" creationId="{00000000-0000-0000-0000-000000000000}"/>
          </ac:spMkLst>
        </pc:spChg>
        <pc:spChg chg="del">
          <ac:chgData name="Kebba Jeng" userId="fe4cc296-ba7d-48a2-8799-89b58d218255" providerId="ADAL" clId="{388EFDEE-447E-42B4-98EF-30C01AB2E8CD}" dt="2022-03-28T17:56:57.090" v="2266" actId="21"/>
          <ac:spMkLst>
            <pc:docMk/>
            <pc:sldMk cId="0" sldId="261"/>
            <ac:spMk id="810" creationId="{00000000-0000-0000-0000-000000000000}"/>
          </ac:spMkLst>
        </pc:spChg>
        <pc:spChg chg="del">
          <ac:chgData name="Kebba Jeng" userId="fe4cc296-ba7d-48a2-8799-89b58d218255" providerId="ADAL" clId="{388EFDEE-447E-42B4-98EF-30C01AB2E8CD}" dt="2022-03-28T17:56:57.090" v="2266" actId="21"/>
          <ac:spMkLst>
            <pc:docMk/>
            <pc:sldMk cId="0" sldId="261"/>
            <ac:spMk id="811" creationId="{00000000-0000-0000-0000-000000000000}"/>
          </ac:spMkLst>
        </pc:spChg>
        <pc:spChg chg="del">
          <ac:chgData name="Kebba Jeng" userId="fe4cc296-ba7d-48a2-8799-89b58d218255" providerId="ADAL" clId="{388EFDEE-447E-42B4-98EF-30C01AB2E8CD}" dt="2022-03-28T17:56:57.090" v="2266" actId="21"/>
          <ac:spMkLst>
            <pc:docMk/>
            <pc:sldMk cId="0" sldId="261"/>
            <ac:spMk id="812" creationId="{00000000-0000-0000-0000-000000000000}"/>
          </ac:spMkLst>
        </pc:spChg>
        <pc:spChg chg="del">
          <ac:chgData name="Kebba Jeng" userId="fe4cc296-ba7d-48a2-8799-89b58d218255" providerId="ADAL" clId="{388EFDEE-447E-42B4-98EF-30C01AB2E8CD}" dt="2022-03-28T17:56:57.090" v="2266" actId="21"/>
          <ac:spMkLst>
            <pc:docMk/>
            <pc:sldMk cId="0" sldId="261"/>
            <ac:spMk id="813" creationId="{00000000-0000-0000-0000-000000000000}"/>
          </ac:spMkLst>
        </pc:spChg>
        <pc:spChg chg="del">
          <ac:chgData name="Kebba Jeng" userId="fe4cc296-ba7d-48a2-8799-89b58d218255" providerId="ADAL" clId="{388EFDEE-447E-42B4-98EF-30C01AB2E8CD}" dt="2022-03-28T17:56:57.090" v="2266" actId="21"/>
          <ac:spMkLst>
            <pc:docMk/>
            <pc:sldMk cId="0" sldId="261"/>
            <ac:spMk id="814" creationId="{00000000-0000-0000-0000-000000000000}"/>
          </ac:spMkLst>
        </pc:spChg>
        <pc:spChg chg="del">
          <ac:chgData name="Kebba Jeng" userId="fe4cc296-ba7d-48a2-8799-89b58d218255" providerId="ADAL" clId="{388EFDEE-447E-42B4-98EF-30C01AB2E8CD}" dt="2022-03-28T17:56:57.090" v="2266" actId="21"/>
          <ac:spMkLst>
            <pc:docMk/>
            <pc:sldMk cId="0" sldId="261"/>
            <ac:spMk id="815" creationId="{00000000-0000-0000-0000-000000000000}"/>
          </ac:spMkLst>
        </pc:spChg>
        <pc:spChg chg="del">
          <ac:chgData name="Kebba Jeng" userId="fe4cc296-ba7d-48a2-8799-89b58d218255" providerId="ADAL" clId="{388EFDEE-447E-42B4-98EF-30C01AB2E8CD}" dt="2022-03-28T17:56:57.090" v="2266" actId="21"/>
          <ac:spMkLst>
            <pc:docMk/>
            <pc:sldMk cId="0" sldId="261"/>
            <ac:spMk id="816" creationId="{00000000-0000-0000-0000-000000000000}"/>
          </ac:spMkLst>
        </pc:spChg>
        <pc:spChg chg="del">
          <ac:chgData name="Kebba Jeng" userId="fe4cc296-ba7d-48a2-8799-89b58d218255" providerId="ADAL" clId="{388EFDEE-447E-42B4-98EF-30C01AB2E8CD}" dt="2022-03-28T17:56:57.090" v="2266" actId="21"/>
          <ac:spMkLst>
            <pc:docMk/>
            <pc:sldMk cId="0" sldId="261"/>
            <ac:spMk id="817" creationId="{00000000-0000-0000-0000-000000000000}"/>
          </ac:spMkLst>
        </pc:spChg>
        <pc:spChg chg="del">
          <ac:chgData name="Kebba Jeng" userId="fe4cc296-ba7d-48a2-8799-89b58d218255" providerId="ADAL" clId="{388EFDEE-447E-42B4-98EF-30C01AB2E8CD}" dt="2022-03-28T17:56:57.090" v="2266" actId="21"/>
          <ac:spMkLst>
            <pc:docMk/>
            <pc:sldMk cId="0" sldId="261"/>
            <ac:spMk id="818" creationId="{00000000-0000-0000-0000-000000000000}"/>
          </ac:spMkLst>
        </pc:spChg>
        <pc:spChg chg="del">
          <ac:chgData name="Kebba Jeng" userId="fe4cc296-ba7d-48a2-8799-89b58d218255" providerId="ADAL" clId="{388EFDEE-447E-42B4-98EF-30C01AB2E8CD}" dt="2022-03-28T17:56:57.090" v="2266" actId="21"/>
          <ac:spMkLst>
            <pc:docMk/>
            <pc:sldMk cId="0" sldId="261"/>
            <ac:spMk id="819" creationId="{00000000-0000-0000-0000-000000000000}"/>
          </ac:spMkLst>
        </pc:spChg>
        <pc:spChg chg="del">
          <ac:chgData name="Kebba Jeng" userId="fe4cc296-ba7d-48a2-8799-89b58d218255" providerId="ADAL" clId="{388EFDEE-447E-42B4-98EF-30C01AB2E8CD}" dt="2022-03-28T17:56:57.090" v="2266" actId="21"/>
          <ac:spMkLst>
            <pc:docMk/>
            <pc:sldMk cId="0" sldId="261"/>
            <ac:spMk id="820" creationId="{00000000-0000-0000-0000-000000000000}"/>
          </ac:spMkLst>
        </pc:spChg>
        <pc:spChg chg="del">
          <ac:chgData name="Kebba Jeng" userId="fe4cc296-ba7d-48a2-8799-89b58d218255" providerId="ADAL" clId="{388EFDEE-447E-42B4-98EF-30C01AB2E8CD}" dt="2022-03-28T17:56:57.090" v="2266" actId="21"/>
          <ac:spMkLst>
            <pc:docMk/>
            <pc:sldMk cId="0" sldId="261"/>
            <ac:spMk id="821" creationId="{00000000-0000-0000-0000-000000000000}"/>
          </ac:spMkLst>
        </pc:spChg>
        <pc:spChg chg="del">
          <ac:chgData name="Kebba Jeng" userId="fe4cc296-ba7d-48a2-8799-89b58d218255" providerId="ADAL" clId="{388EFDEE-447E-42B4-98EF-30C01AB2E8CD}" dt="2022-03-28T17:56:57.090" v="2266" actId="21"/>
          <ac:spMkLst>
            <pc:docMk/>
            <pc:sldMk cId="0" sldId="261"/>
            <ac:spMk id="822" creationId="{00000000-0000-0000-0000-000000000000}"/>
          </ac:spMkLst>
        </pc:spChg>
        <pc:spChg chg="del">
          <ac:chgData name="Kebba Jeng" userId="fe4cc296-ba7d-48a2-8799-89b58d218255" providerId="ADAL" clId="{388EFDEE-447E-42B4-98EF-30C01AB2E8CD}" dt="2022-03-28T17:56:57.090" v="2266" actId="21"/>
          <ac:spMkLst>
            <pc:docMk/>
            <pc:sldMk cId="0" sldId="261"/>
            <ac:spMk id="823" creationId="{00000000-0000-0000-0000-000000000000}"/>
          </ac:spMkLst>
        </pc:spChg>
        <pc:spChg chg="del">
          <ac:chgData name="Kebba Jeng" userId="fe4cc296-ba7d-48a2-8799-89b58d218255" providerId="ADAL" clId="{388EFDEE-447E-42B4-98EF-30C01AB2E8CD}" dt="2022-03-28T17:56:57.090" v="2266" actId="21"/>
          <ac:spMkLst>
            <pc:docMk/>
            <pc:sldMk cId="0" sldId="261"/>
            <ac:spMk id="824" creationId="{00000000-0000-0000-0000-000000000000}"/>
          </ac:spMkLst>
        </pc:spChg>
        <pc:spChg chg="del">
          <ac:chgData name="Kebba Jeng" userId="fe4cc296-ba7d-48a2-8799-89b58d218255" providerId="ADAL" clId="{388EFDEE-447E-42B4-98EF-30C01AB2E8CD}" dt="2022-03-28T17:56:57.090" v="2266" actId="21"/>
          <ac:spMkLst>
            <pc:docMk/>
            <pc:sldMk cId="0" sldId="261"/>
            <ac:spMk id="825" creationId="{00000000-0000-0000-0000-000000000000}"/>
          </ac:spMkLst>
        </pc:spChg>
        <pc:spChg chg="del">
          <ac:chgData name="Kebba Jeng" userId="fe4cc296-ba7d-48a2-8799-89b58d218255" providerId="ADAL" clId="{388EFDEE-447E-42B4-98EF-30C01AB2E8CD}" dt="2022-03-28T17:56:57.090" v="2266" actId="21"/>
          <ac:spMkLst>
            <pc:docMk/>
            <pc:sldMk cId="0" sldId="261"/>
            <ac:spMk id="826" creationId="{00000000-0000-0000-0000-000000000000}"/>
          </ac:spMkLst>
        </pc:spChg>
        <pc:spChg chg="del">
          <ac:chgData name="Kebba Jeng" userId="fe4cc296-ba7d-48a2-8799-89b58d218255" providerId="ADAL" clId="{388EFDEE-447E-42B4-98EF-30C01AB2E8CD}" dt="2022-03-28T17:56:57.090" v="2266" actId="21"/>
          <ac:spMkLst>
            <pc:docMk/>
            <pc:sldMk cId="0" sldId="261"/>
            <ac:spMk id="827" creationId="{00000000-0000-0000-0000-000000000000}"/>
          </ac:spMkLst>
        </pc:spChg>
        <pc:spChg chg="del">
          <ac:chgData name="Kebba Jeng" userId="fe4cc296-ba7d-48a2-8799-89b58d218255" providerId="ADAL" clId="{388EFDEE-447E-42B4-98EF-30C01AB2E8CD}" dt="2022-03-28T17:56:57.090" v="2266" actId="21"/>
          <ac:spMkLst>
            <pc:docMk/>
            <pc:sldMk cId="0" sldId="261"/>
            <ac:spMk id="828" creationId="{00000000-0000-0000-0000-000000000000}"/>
          </ac:spMkLst>
        </pc:spChg>
        <pc:spChg chg="del">
          <ac:chgData name="Kebba Jeng" userId="fe4cc296-ba7d-48a2-8799-89b58d218255" providerId="ADAL" clId="{388EFDEE-447E-42B4-98EF-30C01AB2E8CD}" dt="2022-03-28T17:56:57.090" v="2266" actId="21"/>
          <ac:spMkLst>
            <pc:docMk/>
            <pc:sldMk cId="0" sldId="261"/>
            <ac:spMk id="829" creationId="{00000000-0000-0000-0000-000000000000}"/>
          </ac:spMkLst>
        </pc:spChg>
        <pc:spChg chg="del">
          <ac:chgData name="Kebba Jeng" userId="fe4cc296-ba7d-48a2-8799-89b58d218255" providerId="ADAL" clId="{388EFDEE-447E-42B4-98EF-30C01AB2E8CD}" dt="2022-03-28T17:56:57.090" v="2266" actId="21"/>
          <ac:spMkLst>
            <pc:docMk/>
            <pc:sldMk cId="0" sldId="261"/>
            <ac:spMk id="830" creationId="{00000000-0000-0000-0000-000000000000}"/>
          </ac:spMkLst>
        </pc:spChg>
        <pc:spChg chg="del">
          <ac:chgData name="Kebba Jeng" userId="fe4cc296-ba7d-48a2-8799-89b58d218255" providerId="ADAL" clId="{388EFDEE-447E-42B4-98EF-30C01AB2E8CD}" dt="2022-03-28T17:56:57.090" v="2266" actId="21"/>
          <ac:spMkLst>
            <pc:docMk/>
            <pc:sldMk cId="0" sldId="261"/>
            <ac:spMk id="831" creationId="{00000000-0000-0000-0000-000000000000}"/>
          </ac:spMkLst>
        </pc:spChg>
        <pc:spChg chg="del">
          <ac:chgData name="Kebba Jeng" userId="fe4cc296-ba7d-48a2-8799-89b58d218255" providerId="ADAL" clId="{388EFDEE-447E-42B4-98EF-30C01AB2E8CD}" dt="2022-03-28T17:56:57.090" v="2266" actId="21"/>
          <ac:spMkLst>
            <pc:docMk/>
            <pc:sldMk cId="0" sldId="261"/>
            <ac:spMk id="832" creationId="{00000000-0000-0000-0000-000000000000}"/>
          </ac:spMkLst>
        </pc:spChg>
        <pc:spChg chg="del">
          <ac:chgData name="Kebba Jeng" userId="fe4cc296-ba7d-48a2-8799-89b58d218255" providerId="ADAL" clId="{388EFDEE-447E-42B4-98EF-30C01AB2E8CD}" dt="2022-03-28T17:56:57.090" v="2266" actId="21"/>
          <ac:spMkLst>
            <pc:docMk/>
            <pc:sldMk cId="0" sldId="261"/>
            <ac:spMk id="833" creationId="{00000000-0000-0000-0000-000000000000}"/>
          </ac:spMkLst>
        </pc:spChg>
        <pc:spChg chg="del">
          <ac:chgData name="Kebba Jeng" userId="fe4cc296-ba7d-48a2-8799-89b58d218255" providerId="ADAL" clId="{388EFDEE-447E-42B4-98EF-30C01AB2E8CD}" dt="2022-03-28T17:56:57.090" v="2266" actId="21"/>
          <ac:spMkLst>
            <pc:docMk/>
            <pc:sldMk cId="0" sldId="261"/>
            <ac:spMk id="834" creationId="{00000000-0000-0000-0000-000000000000}"/>
          </ac:spMkLst>
        </pc:spChg>
        <pc:spChg chg="del">
          <ac:chgData name="Kebba Jeng" userId="fe4cc296-ba7d-48a2-8799-89b58d218255" providerId="ADAL" clId="{388EFDEE-447E-42B4-98EF-30C01AB2E8CD}" dt="2022-03-28T17:56:57.090" v="2266" actId="21"/>
          <ac:spMkLst>
            <pc:docMk/>
            <pc:sldMk cId="0" sldId="261"/>
            <ac:spMk id="835" creationId="{00000000-0000-0000-0000-000000000000}"/>
          </ac:spMkLst>
        </pc:spChg>
        <pc:spChg chg="del">
          <ac:chgData name="Kebba Jeng" userId="fe4cc296-ba7d-48a2-8799-89b58d218255" providerId="ADAL" clId="{388EFDEE-447E-42B4-98EF-30C01AB2E8CD}" dt="2022-03-28T17:56:57.090" v="2266" actId="21"/>
          <ac:spMkLst>
            <pc:docMk/>
            <pc:sldMk cId="0" sldId="261"/>
            <ac:spMk id="836" creationId="{00000000-0000-0000-0000-000000000000}"/>
          </ac:spMkLst>
        </pc:spChg>
        <pc:spChg chg="del">
          <ac:chgData name="Kebba Jeng" userId="fe4cc296-ba7d-48a2-8799-89b58d218255" providerId="ADAL" clId="{388EFDEE-447E-42B4-98EF-30C01AB2E8CD}" dt="2022-03-28T17:56:57.090" v="2266" actId="21"/>
          <ac:spMkLst>
            <pc:docMk/>
            <pc:sldMk cId="0" sldId="261"/>
            <ac:spMk id="837" creationId="{00000000-0000-0000-0000-000000000000}"/>
          </ac:spMkLst>
        </pc:spChg>
        <pc:spChg chg="del">
          <ac:chgData name="Kebba Jeng" userId="fe4cc296-ba7d-48a2-8799-89b58d218255" providerId="ADAL" clId="{388EFDEE-447E-42B4-98EF-30C01AB2E8CD}" dt="2022-03-28T17:56:57.090" v="2266" actId="21"/>
          <ac:spMkLst>
            <pc:docMk/>
            <pc:sldMk cId="0" sldId="261"/>
            <ac:spMk id="838" creationId="{00000000-0000-0000-0000-000000000000}"/>
          </ac:spMkLst>
        </pc:spChg>
        <pc:spChg chg="del">
          <ac:chgData name="Kebba Jeng" userId="fe4cc296-ba7d-48a2-8799-89b58d218255" providerId="ADAL" clId="{388EFDEE-447E-42B4-98EF-30C01AB2E8CD}" dt="2022-03-28T17:56:57.090" v="2266" actId="21"/>
          <ac:spMkLst>
            <pc:docMk/>
            <pc:sldMk cId="0" sldId="261"/>
            <ac:spMk id="839" creationId="{00000000-0000-0000-0000-000000000000}"/>
          </ac:spMkLst>
        </pc:spChg>
        <pc:spChg chg="del">
          <ac:chgData name="Kebba Jeng" userId="fe4cc296-ba7d-48a2-8799-89b58d218255" providerId="ADAL" clId="{388EFDEE-447E-42B4-98EF-30C01AB2E8CD}" dt="2022-03-28T17:56:57.090" v="2266" actId="21"/>
          <ac:spMkLst>
            <pc:docMk/>
            <pc:sldMk cId="0" sldId="261"/>
            <ac:spMk id="840" creationId="{00000000-0000-0000-0000-000000000000}"/>
          </ac:spMkLst>
        </pc:spChg>
        <pc:spChg chg="del">
          <ac:chgData name="Kebba Jeng" userId="fe4cc296-ba7d-48a2-8799-89b58d218255" providerId="ADAL" clId="{388EFDEE-447E-42B4-98EF-30C01AB2E8CD}" dt="2022-03-28T17:56:57.090" v="2266" actId="21"/>
          <ac:spMkLst>
            <pc:docMk/>
            <pc:sldMk cId="0" sldId="261"/>
            <ac:spMk id="841" creationId="{00000000-0000-0000-0000-000000000000}"/>
          </ac:spMkLst>
        </pc:spChg>
        <pc:spChg chg="del">
          <ac:chgData name="Kebba Jeng" userId="fe4cc296-ba7d-48a2-8799-89b58d218255" providerId="ADAL" clId="{388EFDEE-447E-42B4-98EF-30C01AB2E8CD}" dt="2022-03-28T17:56:57.090" v="2266" actId="21"/>
          <ac:spMkLst>
            <pc:docMk/>
            <pc:sldMk cId="0" sldId="261"/>
            <ac:spMk id="842" creationId="{00000000-0000-0000-0000-000000000000}"/>
          </ac:spMkLst>
        </pc:spChg>
        <pc:spChg chg="del">
          <ac:chgData name="Kebba Jeng" userId="fe4cc296-ba7d-48a2-8799-89b58d218255" providerId="ADAL" clId="{388EFDEE-447E-42B4-98EF-30C01AB2E8CD}" dt="2022-03-28T17:56:57.090" v="2266" actId="21"/>
          <ac:spMkLst>
            <pc:docMk/>
            <pc:sldMk cId="0" sldId="261"/>
            <ac:spMk id="843" creationId="{00000000-0000-0000-0000-000000000000}"/>
          </ac:spMkLst>
        </pc:spChg>
        <pc:spChg chg="del">
          <ac:chgData name="Kebba Jeng" userId="fe4cc296-ba7d-48a2-8799-89b58d218255" providerId="ADAL" clId="{388EFDEE-447E-42B4-98EF-30C01AB2E8CD}" dt="2022-03-28T17:56:57.090" v="2266" actId="21"/>
          <ac:spMkLst>
            <pc:docMk/>
            <pc:sldMk cId="0" sldId="261"/>
            <ac:spMk id="844" creationId="{00000000-0000-0000-0000-000000000000}"/>
          </ac:spMkLst>
        </pc:spChg>
        <pc:spChg chg="del">
          <ac:chgData name="Kebba Jeng" userId="fe4cc296-ba7d-48a2-8799-89b58d218255" providerId="ADAL" clId="{388EFDEE-447E-42B4-98EF-30C01AB2E8CD}" dt="2022-03-28T17:56:57.090" v="2266" actId="21"/>
          <ac:spMkLst>
            <pc:docMk/>
            <pc:sldMk cId="0" sldId="261"/>
            <ac:spMk id="845" creationId="{00000000-0000-0000-0000-000000000000}"/>
          </ac:spMkLst>
        </pc:spChg>
        <pc:spChg chg="del">
          <ac:chgData name="Kebba Jeng" userId="fe4cc296-ba7d-48a2-8799-89b58d218255" providerId="ADAL" clId="{388EFDEE-447E-42B4-98EF-30C01AB2E8CD}" dt="2022-03-28T17:56:57.090" v="2266" actId="21"/>
          <ac:spMkLst>
            <pc:docMk/>
            <pc:sldMk cId="0" sldId="261"/>
            <ac:spMk id="846" creationId="{00000000-0000-0000-0000-000000000000}"/>
          </ac:spMkLst>
        </pc:spChg>
        <pc:spChg chg="del">
          <ac:chgData name="Kebba Jeng" userId="fe4cc296-ba7d-48a2-8799-89b58d218255" providerId="ADAL" clId="{388EFDEE-447E-42B4-98EF-30C01AB2E8CD}" dt="2022-03-28T17:56:57.090" v="2266" actId="21"/>
          <ac:spMkLst>
            <pc:docMk/>
            <pc:sldMk cId="0" sldId="261"/>
            <ac:spMk id="847" creationId="{00000000-0000-0000-0000-000000000000}"/>
          </ac:spMkLst>
        </pc:spChg>
        <pc:spChg chg="del">
          <ac:chgData name="Kebba Jeng" userId="fe4cc296-ba7d-48a2-8799-89b58d218255" providerId="ADAL" clId="{388EFDEE-447E-42B4-98EF-30C01AB2E8CD}" dt="2022-03-28T17:56:57.090" v="2266" actId="21"/>
          <ac:spMkLst>
            <pc:docMk/>
            <pc:sldMk cId="0" sldId="261"/>
            <ac:spMk id="848" creationId="{00000000-0000-0000-0000-000000000000}"/>
          </ac:spMkLst>
        </pc:spChg>
        <pc:spChg chg="del">
          <ac:chgData name="Kebba Jeng" userId="fe4cc296-ba7d-48a2-8799-89b58d218255" providerId="ADAL" clId="{388EFDEE-447E-42B4-98EF-30C01AB2E8CD}" dt="2022-03-28T17:56:57.090" v="2266" actId="21"/>
          <ac:spMkLst>
            <pc:docMk/>
            <pc:sldMk cId="0" sldId="261"/>
            <ac:spMk id="849" creationId="{00000000-0000-0000-0000-000000000000}"/>
          </ac:spMkLst>
        </pc:spChg>
        <pc:spChg chg="del">
          <ac:chgData name="Kebba Jeng" userId="fe4cc296-ba7d-48a2-8799-89b58d218255" providerId="ADAL" clId="{388EFDEE-447E-42B4-98EF-30C01AB2E8CD}" dt="2022-03-28T17:56:57.090" v="2266" actId="21"/>
          <ac:spMkLst>
            <pc:docMk/>
            <pc:sldMk cId="0" sldId="261"/>
            <ac:spMk id="850" creationId="{00000000-0000-0000-0000-000000000000}"/>
          </ac:spMkLst>
        </pc:spChg>
        <pc:spChg chg="del">
          <ac:chgData name="Kebba Jeng" userId="fe4cc296-ba7d-48a2-8799-89b58d218255" providerId="ADAL" clId="{388EFDEE-447E-42B4-98EF-30C01AB2E8CD}" dt="2022-03-28T17:56:57.090" v="2266" actId="21"/>
          <ac:spMkLst>
            <pc:docMk/>
            <pc:sldMk cId="0" sldId="261"/>
            <ac:spMk id="851" creationId="{00000000-0000-0000-0000-000000000000}"/>
          </ac:spMkLst>
        </pc:spChg>
        <pc:spChg chg="del">
          <ac:chgData name="Kebba Jeng" userId="fe4cc296-ba7d-48a2-8799-89b58d218255" providerId="ADAL" clId="{388EFDEE-447E-42B4-98EF-30C01AB2E8CD}" dt="2022-03-28T17:56:57.090" v="2266" actId="21"/>
          <ac:spMkLst>
            <pc:docMk/>
            <pc:sldMk cId="0" sldId="261"/>
            <ac:spMk id="852" creationId="{00000000-0000-0000-0000-000000000000}"/>
          </ac:spMkLst>
        </pc:spChg>
        <pc:spChg chg="del">
          <ac:chgData name="Kebba Jeng" userId="fe4cc296-ba7d-48a2-8799-89b58d218255" providerId="ADAL" clId="{388EFDEE-447E-42B4-98EF-30C01AB2E8CD}" dt="2022-03-28T17:56:57.090" v="2266" actId="21"/>
          <ac:spMkLst>
            <pc:docMk/>
            <pc:sldMk cId="0" sldId="261"/>
            <ac:spMk id="853" creationId="{00000000-0000-0000-0000-000000000000}"/>
          </ac:spMkLst>
        </pc:spChg>
        <pc:spChg chg="del">
          <ac:chgData name="Kebba Jeng" userId="fe4cc296-ba7d-48a2-8799-89b58d218255" providerId="ADAL" clId="{388EFDEE-447E-42B4-98EF-30C01AB2E8CD}" dt="2022-03-28T17:56:57.090" v="2266" actId="21"/>
          <ac:spMkLst>
            <pc:docMk/>
            <pc:sldMk cId="0" sldId="261"/>
            <ac:spMk id="854" creationId="{00000000-0000-0000-0000-000000000000}"/>
          </ac:spMkLst>
        </pc:spChg>
        <pc:spChg chg="del">
          <ac:chgData name="Kebba Jeng" userId="fe4cc296-ba7d-48a2-8799-89b58d218255" providerId="ADAL" clId="{388EFDEE-447E-42B4-98EF-30C01AB2E8CD}" dt="2022-03-28T17:56:57.090" v="2266" actId="21"/>
          <ac:spMkLst>
            <pc:docMk/>
            <pc:sldMk cId="0" sldId="261"/>
            <ac:spMk id="855" creationId="{00000000-0000-0000-0000-000000000000}"/>
          </ac:spMkLst>
        </pc:spChg>
        <pc:spChg chg="del">
          <ac:chgData name="Kebba Jeng" userId="fe4cc296-ba7d-48a2-8799-89b58d218255" providerId="ADAL" clId="{388EFDEE-447E-42B4-98EF-30C01AB2E8CD}" dt="2022-03-28T17:56:57.090" v="2266" actId="21"/>
          <ac:spMkLst>
            <pc:docMk/>
            <pc:sldMk cId="0" sldId="261"/>
            <ac:spMk id="856" creationId="{00000000-0000-0000-0000-000000000000}"/>
          </ac:spMkLst>
        </pc:spChg>
        <pc:spChg chg="del">
          <ac:chgData name="Kebba Jeng" userId="fe4cc296-ba7d-48a2-8799-89b58d218255" providerId="ADAL" clId="{388EFDEE-447E-42B4-98EF-30C01AB2E8CD}" dt="2022-03-28T17:56:57.090" v="2266" actId="21"/>
          <ac:spMkLst>
            <pc:docMk/>
            <pc:sldMk cId="0" sldId="261"/>
            <ac:spMk id="857" creationId="{00000000-0000-0000-0000-000000000000}"/>
          </ac:spMkLst>
        </pc:spChg>
        <pc:spChg chg="del">
          <ac:chgData name="Kebba Jeng" userId="fe4cc296-ba7d-48a2-8799-89b58d218255" providerId="ADAL" clId="{388EFDEE-447E-42B4-98EF-30C01AB2E8CD}" dt="2022-03-28T17:56:57.090" v="2266" actId="21"/>
          <ac:spMkLst>
            <pc:docMk/>
            <pc:sldMk cId="0" sldId="261"/>
            <ac:spMk id="858" creationId="{00000000-0000-0000-0000-000000000000}"/>
          </ac:spMkLst>
        </pc:spChg>
        <pc:spChg chg="del">
          <ac:chgData name="Kebba Jeng" userId="fe4cc296-ba7d-48a2-8799-89b58d218255" providerId="ADAL" clId="{388EFDEE-447E-42B4-98EF-30C01AB2E8CD}" dt="2022-03-28T17:56:57.090" v="2266" actId="21"/>
          <ac:spMkLst>
            <pc:docMk/>
            <pc:sldMk cId="0" sldId="261"/>
            <ac:spMk id="859" creationId="{00000000-0000-0000-0000-000000000000}"/>
          </ac:spMkLst>
        </pc:spChg>
        <pc:spChg chg="del">
          <ac:chgData name="Kebba Jeng" userId="fe4cc296-ba7d-48a2-8799-89b58d218255" providerId="ADAL" clId="{388EFDEE-447E-42B4-98EF-30C01AB2E8CD}" dt="2022-03-28T17:56:57.090" v="2266" actId="21"/>
          <ac:spMkLst>
            <pc:docMk/>
            <pc:sldMk cId="0" sldId="261"/>
            <ac:spMk id="860" creationId="{00000000-0000-0000-0000-000000000000}"/>
          </ac:spMkLst>
        </pc:spChg>
        <pc:spChg chg="del">
          <ac:chgData name="Kebba Jeng" userId="fe4cc296-ba7d-48a2-8799-89b58d218255" providerId="ADAL" clId="{388EFDEE-447E-42B4-98EF-30C01AB2E8CD}" dt="2022-03-28T17:56:57.090" v="2266" actId="21"/>
          <ac:spMkLst>
            <pc:docMk/>
            <pc:sldMk cId="0" sldId="261"/>
            <ac:spMk id="861" creationId="{00000000-0000-0000-0000-000000000000}"/>
          </ac:spMkLst>
        </pc:spChg>
        <pc:spChg chg="del">
          <ac:chgData name="Kebba Jeng" userId="fe4cc296-ba7d-48a2-8799-89b58d218255" providerId="ADAL" clId="{388EFDEE-447E-42B4-98EF-30C01AB2E8CD}" dt="2022-03-28T17:56:57.090" v="2266" actId="21"/>
          <ac:spMkLst>
            <pc:docMk/>
            <pc:sldMk cId="0" sldId="261"/>
            <ac:spMk id="862" creationId="{00000000-0000-0000-0000-000000000000}"/>
          </ac:spMkLst>
        </pc:spChg>
        <pc:spChg chg="del">
          <ac:chgData name="Kebba Jeng" userId="fe4cc296-ba7d-48a2-8799-89b58d218255" providerId="ADAL" clId="{388EFDEE-447E-42B4-98EF-30C01AB2E8CD}" dt="2022-03-28T17:56:57.090" v="2266" actId="21"/>
          <ac:spMkLst>
            <pc:docMk/>
            <pc:sldMk cId="0" sldId="261"/>
            <ac:spMk id="863" creationId="{00000000-0000-0000-0000-000000000000}"/>
          </ac:spMkLst>
        </pc:spChg>
        <pc:spChg chg="del">
          <ac:chgData name="Kebba Jeng" userId="fe4cc296-ba7d-48a2-8799-89b58d218255" providerId="ADAL" clId="{388EFDEE-447E-42B4-98EF-30C01AB2E8CD}" dt="2022-03-28T17:56:57.090" v="2266" actId="21"/>
          <ac:spMkLst>
            <pc:docMk/>
            <pc:sldMk cId="0" sldId="261"/>
            <ac:spMk id="864" creationId="{00000000-0000-0000-0000-000000000000}"/>
          </ac:spMkLst>
        </pc:spChg>
        <pc:spChg chg="del">
          <ac:chgData name="Kebba Jeng" userId="fe4cc296-ba7d-48a2-8799-89b58d218255" providerId="ADAL" clId="{388EFDEE-447E-42B4-98EF-30C01AB2E8CD}" dt="2022-03-28T17:56:57.090" v="2266" actId="21"/>
          <ac:spMkLst>
            <pc:docMk/>
            <pc:sldMk cId="0" sldId="261"/>
            <ac:spMk id="865" creationId="{00000000-0000-0000-0000-000000000000}"/>
          </ac:spMkLst>
        </pc:spChg>
        <pc:spChg chg="del">
          <ac:chgData name="Kebba Jeng" userId="fe4cc296-ba7d-48a2-8799-89b58d218255" providerId="ADAL" clId="{388EFDEE-447E-42B4-98EF-30C01AB2E8CD}" dt="2022-03-28T17:56:57.090" v="2266" actId="21"/>
          <ac:spMkLst>
            <pc:docMk/>
            <pc:sldMk cId="0" sldId="261"/>
            <ac:spMk id="866" creationId="{00000000-0000-0000-0000-000000000000}"/>
          </ac:spMkLst>
        </pc:spChg>
        <pc:spChg chg="del">
          <ac:chgData name="Kebba Jeng" userId="fe4cc296-ba7d-48a2-8799-89b58d218255" providerId="ADAL" clId="{388EFDEE-447E-42B4-98EF-30C01AB2E8CD}" dt="2022-03-28T17:56:57.090" v="2266" actId="21"/>
          <ac:spMkLst>
            <pc:docMk/>
            <pc:sldMk cId="0" sldId="261"/>
            <ac:spMk id="867" creationId="{00000000-0000-0000-0000-000000000000}"/>
          </ac:spMkLst>
        </pc:spChg>
        <pc:spChg chg="del">
          <ac:chgData name="Kebba Jeng" userId="fe4cc296-ba7d-48a2-8799-89b58d218255" providerId="ADAL" clId="{388EFDEE-447E-42B4-98EF-30C01AB2E8CD}" dt="2022-03-28T17:56:57.090" v="2266" actId="21"/>
          <ac:spMkLst>
            <pc:docMk/>
            <pc:sldMk cId="0" sldId="261"/>
            <ac:spMk id="868" creationId="{00000000-0000-0000-0000-000000000000}"/>
          </ac:spMkLst>
        </pc:spChg>
        <pc:spChg chg="del">
          <ac:chgData name="Kebba Jeng" userId="fe4cc296-ba7d-48a2-8799-89b58d218255" providerId="ADAL" clId="{388EFDEE-447E-42B4-98EF-30C01AB2E8CD}" dt="2022-03-28T17:56:57.090" v="2266" actId="21"/>
          <ac:spMkLst>
            <pc:docMk/>
            <pc:sldMk cId="0" sldId="261"/>
            <ac:spMk id="869" creationId="{00000000-0000-0000-0000-000000000000}"/>
          </ac:spMkLst>
        </pc:spChg>
        <pc:spChg chg="del">
          <ac:chgData name="Kebba Jeng" userId="fe4cc296-ba7d-48a2-8799-89b58d218255" providerId="ADAL" clId="{388EFDEE-447E-42B4-98EF-30C01AB2E8CD}" dt="2022-03-28T17:56:57.090" v="2266" actId="21"/>
          <ac:spMkLst>
            <pc:docMk/>
            <pc:sldMk cId="0" sldId="261"/>
            <ac:spMk id="870" creationId="{00000000-0000-0000-0000-000000000000}"/>
          </ac:spMkLst>
        </pc:spChg>
        <pc:spChg chg="del">
          <ac:chgData name="Kebba Jeng" userId="fe4cc296-ba7d-48a2-8799-89b58d218255" providerId="ADAL" clId="{388EFDEE-447E-42B4-98EF-30C01AB2E8CD}" dt="2022-03-28T17:56:57.090" v="2266" actId="21"/>
          <ac:spMkLst>
            <pc:docMk/>
            <pc:sldMk cId="0" sldId="261"/>
            <ac:spMk id="871" creationId="{00000000-0000-0000-0000-000000000000}"/>
          </ac:spMkLst>
        </pc:spChg>
        <pc:spChg chg="del">
          <ac:chgData name="Kebba Jeng" userId="fe4cc296-ba7d-48a2-8799-89b58d218255" providerId="ADAL" clId="{388EFDEE-447E-42B4-98EF-30C01AB2E8CD}" dt="2022-03-28T17:56:57.090" v="2266" actId="21"/>
          <ac:spMkLst>
            <pc:docMk/>
            <pc:sldMk cId="0" sldId="261"/>
            <ac:spMk id="872" creationId="{00000000-0000-0000-0000-000000000000}"/>
          </ac:spMkLst>
        </pc:spChg>
        <pc:spChg chg="del">
          <ac:chgData name="Kebba Jeng" userId="fe4cc296-ba7d-48a2-8799-89b58d218255" providerId="ADAL" clId="{388EFDEE-447E-42B4-98EF-30C01AB2E8CD}" dt="2022-03-28T17:56:57.090" v="2266" actId="21"/>
          <ac:spMkLst>
            <pc:docMk/>
            <pc:sldMk cId="0" sldId="261"/>
            <ac:spMk id="873" creationId="{00000000-0000-0000-0000-000000000000}"/>
          </ac:spMkLst>
        </pc:spChg>
        <pc:spChg chg="del">
          <ac:chgData name="Kebba Jeng" userId="fe4cc296-ba7d-48a2-8799-89b58d218255" providerId="ADAL" clId="{388EFDEE-447E-42B4-98EF-30C01AB2E8CD}" dt="2022-03-28T17:56:57.090" v="2266" actId="21"/>
          <ac:spMkLst>
            <pc:docMk/>
            <pc:sldMk cId="0" sldId="261"/>
            <ac:spMk id="874" creationId="{00000000-0000-0000-0000-000000000000}"/>
          </ac:spMkLst>
        </pc:spChg>
        <pc:spChg chg="del">
          <ac:chgData name="Kebba Jeng" userId="fe4cc296-ba7d-48a2-8799-89b58d218255" providerId="ADAL" clId="{388EFDEE-447E-42B4-98EF-30C01AB2E8CD}" dt="2022-03-28T17:56:57.090" v="2266" actId="21"/>
          <ac:spMkLst>
            <pc:docMk/>
            <pc:sldMk cId="0" sldId="261"/>
            <ac:spMk id="875" creationId="{00000000-0000-0000-0000-000000000000}"/>
          </ac:spMkLst>
        </pc:spChg>
        <pc:spChg chg="del">
          <ac:chgData name="Kebba Jeng" userId="fe4cc296-ba7d-48a2-8799-89b58d218255" providerId="ADAL" clId="{388EFDEE-447E-42B4-98EF-30C01AB2E8CD}" dt="2022-03-28T17:56:57.090" v="2266" actId="21"/>
          <ac:spMkLst>
            <pc:docMk/>
            <pc:sldMk cId="0" sldId="261"/>
            <ac:spMk id="876" creationId="{00000000-0000-0000-0000-000000000000}"/>
          </ac:spMkLst>
        </pc:spChg>
        <pc:spChg chg="del">
          <ac:chgData name="Kebba Jeng" userId="fe4cc296-ba7d-48a2-8799-89b58d218255" providerId="ADAL" clId="{388EFDEE-447E-42B4-98EF-30C01AB2E8CD}" dt="2022-03-28T17:56:57.090" v="2266" actId="21"/>
          <ac:spMkLst>
            <pc:docMk/>
            <pc:sldMk cId="0" sldId="261"/>
            <ac:spMk id="877" creationId="{00000000-0000-0000-0000-000000000000}"/>
          </ac:spMkLst>
        </pc:spChg>
        <pc:spChg chg="del">
          <ac:chgData name="Kebba Jeng" userId="fe4cc296-ba7d-48a2-8799-89b58d218255" providerId="ADAL" clId="{388EFDEE-447E-42B4-98EF-30C01AB2E8CD}" dt="2022-03-28T17:56:57.090" v="2266" actId="21"/>
          <ac:spMkLst>
            <pc:docMk/>
            <pc:sldMk cId="0" sldId="261"/>
            <ac:spMk id="878" creationId="{00000000-0000-0000-0000-000000000000}"/>
          </ac:spMkLst>
        </pc:spChg>
        <pc:spChg chg="del">
          <ac:chgData name="Kebba Jeng" userId="fe4cc296-ba7d-48a2-8799-89b58d218255" providerId="ADAL" clId="{388EFDEE-447E-42B4-98EF-30C01AB2E8CD}" dt="2022-03-28T17:56:57.090" v="2266" actId="21"/>
          <ac:spMkLst>
            <pc:docMk/>
            <pc:sldMk cId="0" sldId="261"/>
            <ac:spMk id="879" creationId="{00000000-0000-0000-0000-000000000000}"/>
          </ac:spMkLst>
        </pc:spChg>
        <pc:spChg chg="del">
          <ac:chgData name="Kebba Jeng" userId="fe4cc296-ba7d-48a2-8799-89b58d218255" providerId="ADAL" clId="{388EFDEE-447E-42B4-98EF-30C01AB2E8CD}" dt="2022-03-28T17:56:57.090" v="2266" actId="21"/>
          <ac:spMkLst>
            <pc:docMk/>
            <pc:sldMk cId="0" sldId="261"/>
            <ac:spMk id="880" creationId="{00000000-0000-0000-0000-000000000000}"/>
          </ac:spMkLst>
        </pc:spChg>
        <pc:spChg chg="del">
          <ac:chgData name="Kebba Jeng" userId="fe4cc296-ba7d-48a2-8799-89b58d218255" providerId="ADAL" clId="{388EFDEE-447E-42B4-98EF-30C01AB2E8CD}" dt="2022-03-28T17:56:57.090" v="2266" actId="21"/>
          <ac:spMkLst>
            <pc:docMk/>
            <pc:sldMk cId="0" sldId="261"/>
            <ac:spMk id="881" creationId="{00000000-0000-0000-0000-000000000000}"/>
          </ac:spMkLst>
        </pc:spChg>
        <pc:spChg chg="del">
          <ac:chgData name="Kebba Jeng" userId="fe4cc296-ba7d-48a2-8799-89b58d218255" providerId="ADAL" clId="{388EFDEE-447E-42B4-98EF-30C01AB2E8CD}" dt="2022-03-28T17:56:57.090" v="2266" actId="21"/>
          <ac:spMkLst>
            <pc:docMk/>
            <pc:sldMk cId="0" sldId="261"/>
            <ac:spMk id="882" creationId="{00000000-0000-0000-0000-000000000000}"/>
          </ac:spMkLst>
        </pc:spChg>
        <pc:spChg chg="del">
          <ac:chgData name="Kebba Jeng" userId="fe4cc296-ba7d-48a2-8799-89b58d218255" providerId="ADAL" clId="{388EFDEE-447E-42B4-98EF-30C01AB2E8CD}" dt="2022-03-28T17:56:57.090" v="2266" actId="21"/>
          <ac:spMkLst>
            <pc:docMk/>
            <pc:sldMk cId="0" sldId="261"/>
            <ac:spMk id="883" creationId="{00000000-0000-0000-0000-000000000000}"/>
          </ac:spMkLst>
        </pc:spChg>
        <pc:spChg chg="del">
          <ac:chgData name="Kebba Jeng" userId="fe4cc296-ba7d-48a2-8799-89b58d218255" providerId="ADAL" clId="{388EFDEE-447E-42B4-98EF-30C01AB2E8CD}" dt="2022-03-28T17:56:57.090" v="2266" actId="21"/>
          <ac:spMkLst>
            <pc:docMk/>
            <pc:sldMk cId="0" sldId="261"/>
            <ac:spMk id="884" creationId="{00000000-0000-0000-0000-000000000000}"/>
          </ac:spMkLst>
        </pc:spChg>
        <pc:spChg chg="del">
          <ac:chgData name="Kebba Jeng" userId="fe4cc296-ba7d-48a2-8799-89b58d218255" providerId="ADAL" clId="{388EFDEE-447E-42B4-98EF-30C01AB2E8CD}" dt="2022-03-28T17:56:57.090" v="2266" actId="21"/>
          <ac:spMkLst>
            <pc:docMk/>
            <pc:sldMk cId="0" sldId="261"/>
            <ac:spMk id="885" creationId="{00000000-0000-0000-0000-000000000000}"/>
          </ac:spMkLst>
        </pc:spChg>
        <pc:spChg chg="del">
          <ac:chgData name="Kebba Jeng" userId="fe4cc296-ba7d-48a2-8799-89b58d218255" providerId="ADAL" clId="{388EFDEE-447E-42B4-98EF-30C01AB2E8CD}" dt="2022-03-28T17:56:57.090" v="2266" actId="21"/>
          <ac:spMkLst>
            <pc:docMk/>
            <pc:sldMk cId="0" sldId="261"/>
            <ac:spMk id="886" creationId="{00000000-0000-0000-0000-000000000000}"/>
          </ac:spMkLst>
        </pc:spChg>
        <pc:spChg chg="del">
          <ac:chgData name="Kebba Jeng" userId="fe4cc296-ba7d-48a2-8799-89b58d218255" providerId="ADAL" clId="{388EFDEE-447E-42B4-98EF-30C01AB2E8CD}" dt="2022-03-28T17:56:57.090" v="2266" actId="21"/>
          <ac:spMkLst>
            <pc:docMk/>
            <pc:sldMk cId="0" sldId="261"/>
            <ac:spMk id="887" creationId="{00000000-0000-0000-0000-000000000000}"/>
          </ac:spMkLst>
        </pc:spChg>
        <pc:spChg chg="del">
          <ac:chgData name="Kebba Jeng" userId="fe4cc296-ba7d-48a2-8799-89b58d218255" providerId="ADAL" clId="{388EFDEE-447E-42B4-98EF-30C01AB2E8CD}" dt="2022-03-28T17:56:57.090" v="2266" actId="21"/>
          <ac:spMkLst>
            <pc:docMk/>
            <pc:sldMk cId="0" sldId="261"/>
            <ac:spMk id="888" creationId="{00000000-0000-0000-0000-000000000000}"/>
          </ac:spMkLst>
        </pc:spChg>
        <pc:spChg chg="del">
          <ac:chgData name="Kebba Jeng" userId="fe4cc296-ba7d-48a2-8799-89b58d218255" providerId="ADAL" clId="{388EFDEE-447E-42B4-98EF-30C01AB2E8CD}" dt="2022-03-28T17:56:57.090" v="2266" actId="21"/>
          <ac:spMkLst>
            <pc:docMk/>
            <pc:sldMk cId="0" sldId="261"/>
            <ac:spMk id="889" creationId="{00000000-0000-0000-0000-000000000000}"/>
          </ac:spMkLst>
        </pc:spChg>
        <pc:spChg chg="del">
          <ac:chgData name="Kebba Jeng" userId="fe4cc296-ba7d-48a2-8799-89b58d218255" providerId="ADAL" clId="{388EFDEE-447E-42B4-98EF-30C01AB2E8CD}" dt="2022-03-28T17:56:57.090" v="2266" actId="21"/>
          <ac:spMkLst>
            <pc:docMk/>
            <pc:sldMk cId="0" sldId="261"/>
            <ac:spMk id="890" creationId="{00000000-0000-0000-0000-000000000000}"/>
          </ac:spMkLst>
        </pc:spChg>
        <pc:spChg chg="del">
          <ac:chgData name="Kebba Jeng" userId="fe4cc296-ba7d-48a2-8799-89b58d218255" providerId="ADAL" clId="{388EFDEE-447E-42B4-98EF-30C01AB2E8CD}" dt="2022-03-28T17:56:57.090" v="2266" actId="21"/>
          <ac:spMkLst>
            <pc:docMk/>
            <pc:sldMk cId="0" sldId="261"/>
            <ac:spMk id="891" creationId="{00000000-0000-0000-0000-000000000000}"/>
          </ac:spMkLst>
        </pc:spChg>
        <pc:spChg chg="del">
          <ac:chgData name="Kebba Jeng" userId="fe4cc296-ba7d-48a2-8799-89b58d218255" providerId="ADAL" clId="{388EFDEE-447E-42B4-98EF-30C01AB2E8CD}" dt="2022-03-28T17:56:57.090" v="2266" actId="21"/>
          <ac:spMkLst>
            <pc:docMk/>
            <pc:sldMk cId="0" sldId="261"/>
            <ac:spMk id="892" creationId="{00000000-0000-0000-0000-000000000000}"/>
          </ac:spMkLst>
        </pc:spChg>
        <pc:spChg chg="del">
          <ac:chgData name="Kebba Jeng" userId="fe4cc296-ba7d-48a2-8799-89b58d218255" providerId="ADAL" clId="{388EFDEE-447E-42B4-98EF-30C01AB2E8CD}" dt="2022-03-28T17:56:57.090" v="2266" actId="21"/>
          <ac:spMkLst>
            <pc:docMk/>
            <pc:sldMk cId="0" sldId="261"/>
            <ac:spMk id="893" creationId="{00000000-0000-0000-0000-000000000000}"/>
          </ac:spMkLst>
        </pc:spChg>
        <pc:spChg chg="del">
          <ac:chgData name="Kebba Jeng" userId="fe4cc296-ba7d-48a2-8799-89b58d218255" providerId="ADAL" clId="{388EFDEE-447E-42B4-98EF-30C01AB2E8CD}" dt="2022-03-28T17:56:57.090" v="2266" actId="21"/>
          <ac:spMkLst>
            <pc:docMk/>
            <pc:sldMk cId="0" sldId="261"/>
            <ac:spMk id="894" creationId="{00000000-0000-0000-0000-000000000000}"/>
          </ac:spMkLst>
        </pc:spChg>
        <pc:spChg chg="del">
          <ac:chgData name="Kebba Jeng" userId="fe4cc296-ba7d-48a2-8799-89b58d218255" providerId="ADAL" clId="{388EFDEE-447E-42B4-98EF-30C01AB2E8CD}" dt="2022-03-28T17:56:57.090" v="2266" actId="21"/>
          <ac:spMkLst>
            <pc:docMk/>
            <pc:sldMk cId="0" sldId="261"/>
            <ac:spMk id="895" creationId="{00000000-0000-0000-0000-000000000000}"/>
          </ac:spMkLst>
        </pc:spChg>
        <pc:spChg chg="del">
          <ac:chgData name="Kebba Jeng" userId="fe4cc296-ba7d-48a2-8799-89b58d218255" providerId="ADAL" clId="{388EFDEE-447E-42B4-98EF-30C01AB2E8CD}" dt="2022-03-28T17:56:57.090" v="2266" actId="21"/>
          <ac:spMkLst>
            <pc:docMk/>
            <pc:sldMk cId="0" sldId="261"/>
            <ac:spMk id="896" creationId="{00000000-0000-0000-0000-000000000000}"/>
          </ac:spMkLst>
        </pc:spChg>
        <pc:spChg chg="del">
          <ac:chgData name="Kebba Jeng" userId="fe4cc296-ba7d-48a2-8799-89b58d218255" providerId="ADAL" clId="{388EFDEE-447E-42B4-98EF-30C01AB2E8CD}" dt="2022-03-28T17:56:57.090" v="2266" actId="21"/>
          <ac:spMkLst>
            <pc:docMk/>
            <pc:sldMk cId="0" sldId="261"/>
            <ac:spMk id="897" creationId="{00000000-0000-0000-0000-000000000000}"/>
          </ac:spMkLst>
        </pc:spChg>
        <pc:spChg chg="del">
          <ac:chgData name="Kebba Jeng" userId="fe4cc296-ba7d-48a2-8799-89b58d218255" providerId="ADAL" clId="{388EFDEE-447E-42B4-98EF-30C01AB2E8CD}" dt="2022-03-28T17:56:57.090" v="2266" actId="21"/>
          <ac:spMkLst>
            <pc:docMk/>
            <pc:sldMk cId="0" sldId="261"/>
            <ac:spMk id="898" creationId="{00000000-0000-0000-0000-000000000000}"/>
          </ac:spMkLst>
        </pc:spChg>
        <pc:spChg chg="del">
          <ac:chgData name="Kebba Jeng" userId="fe4cc296-ba7d-48a2-8799-89b58d218255" providerId="ADAL" clId="{388EFDEE-447E-42B4-98EF-30C01AB2E8CD}" dt="2022-03-28T17:56:57.090" v="2266" actId="21"/>
          <ac:spMkLst>
            <pc:docMk/>
            <pc:sldMk cId="0" sldId="261"/>
            <ac:spMk id="899" creationId="{00000000-0000-0000-0000-000000000000}"/>
          </ac:spMkLst>
        </pc:spChg>
        <pc:spChg chg="del">
          <ac:chgData name="Kebba Jeng" userId="fe4cc296-ba7d-48a2-8799-89b58d218255" providerId="ADAL" clId="{388EFDEE-447E-42B4-98EF-30C01AB2E8CD}" dt="2022-03-28T17:56:57.090" v="2266" actId="21"/>
          <ac:spMkLst>
            <pc:docMk/>
            <pc:sldMk cId="0" sldId="261"/>
            <ac:spMk id="900" creationId="{00000000-0000-0000-0000-000000000000}"/>
          </ac:spMkLst>
        </pc:spChg>
        <pc:spChg chg="del">
          <ac:chgData name="Kebba Jeng" userId="fe4cc296-ba7d-48a2-8799-89b58d218255" providerId="ADAL" clId="{388EFDEE-447E-42B4-98EF-30C01AB2E8CD}" dt="2022-03-28T17:56:57.090" v="2266" actId="21"/>
          <ac:spMkLst>
            <pc:docMk/>
            <pc:sldMk cId="0" sldId="261"/>
            <ac:spMk id="901" creationId="{00000000-0000-0000-0000-000000000000}"/>
          </ac:spMkLst>
        </pc:spChg>
        <pc:spChg chg="del">
          <ac:chgData name="Kebba Jeng" userId="fe4cc296-ba7d-48a2-8799-89b58d218255" providerId="ADAL" clId="{388EFDEE-447E-42B4-98EF-30C01AB2E8CD}" dt="2022-03-28T17:56:57.090" v="2266" actId="21"/>
          <ac:spMkLst>
            <pc:docMk/>
            <pc:sldMk cId="0" sldId="261"/>
            <ac:spMk id="902" creationId="{00000000-0000-0000-0000-000000000000}"/>
          </ac:spMkLst>
        </pc:spChg>
        <pc:spChg chg="del">
          <ac:chgData name="Kebba Jeng" userId="fe4cc296-ba7d-48a2-8799-89b58d218255" providerId="ADAL" clId="{388EFDEE-447E-42B4-98EF-30C01AB2E8CD}" dt="2022-03-28T17:56:57.090" v="2266" actId="21"/>
          <ac:spMkLst>
            <pc:docMk/>
            <pc:sldMk cId="0" sldId="261"/>
            <ac:spMk id="903" creationId="{00000000-0000-0000-0000-000000000000}"/>
          </ac:spMkLst>
        </pc:spChg>
        <pc:spChg chg="del">
          <ac:chgData name="Kebba Jeng" userId="fe4cc296-ba7d-48a2-8799-89b58d218255" providerId="ADAL" clId="{388EFDEE-447E-42B4-98EF-30C01AB2E8CD}" dt="2022-03-28T17:56:57.090" v="2266" actId="21"/>
          <ac:spMkLst>
            <pc:docMk/>
            <pc:sldMk cId="0" sldId="261"/>
            <ac:spMk id="904" creationId="{00000000-0000-0000-0000-000000000000}"/>
          </ac:spMkLst>
        </pc:spChg>
        <pc:spChg chg="del">
          <ac:chgData name="Kebba Jeng" userId="fe4cc296-ba7d-48a2-8799-89b58d218255" providerId="ADAL" clId="{388EFDEE-447E-42B4-98EF-30C01AB2E8CD}" dt="2022-03-28T17:56:57.090" v="2266" actId="21"/>
          <ac:spMkLst>
            <pc:docMk/>
            <pc:sldMk cId="0" sldId="261"/>
            <ac:spMk id="905" creationId="{00000000-0000-0000-0000-000000000000}"/>
          </ac:spMkLst>
        </pc:spChg>
        <pc:spChg chg="del">
          <ac:chgData name="Kebba Jeng" userId="fe4cc296-ba7d-48a2-8799-89b58d218255" providerId="ADAL" clId="{388EFDEE-447E-42B4-98EF-30C01AB2E8CD}" dt="2022-03-28T17:56:57.090" v="2266" actId="21"/>
          <ac:spMkLst>
            <pc:docMk/>
            <pc:sldMk cId="0" sldId="261"/>
            <ac:spMk id="906" creationId="{00000000-0000-0000-0000-000000000000}"/>
          </ac:spMkLst>
        </pc:spChg>
        <pc:spChg chg="del">
          <ac:chgData name="Kebba Jeng" userId="fe4cc296-ba7d-48a2-8799-89b58d218255" providerId="ADAL" clId="{388EFDEE-447E-42B4-98EF-30C01AB2E8CD}" dt="2022-03-28T17:56:57.090" v="2266" actId="21"/>
          <ac:spMkLst>
            <pc:docMk/>
            <pc:sldMk cId="0" sldId="261"/>
            <ac:spMk id="907" creationId="{00000000-0000-0000-0000-000000000000}"/>
          </ac:spMkLst>
        </pc:spChg>
        <pc:spChg chg="del">
          <ac:chgData name="Kebba Jeng" userId="fe4cc296-ba7d-48a2-8799-89b58d218255" providerId="ADAL" clId="{388EFDEE-447E-42B4-98EF-30C01AB2E8CD}" dt="2022-03-28T17:56:57.090" v="2266" actId="21"/>
          <ac:spMkLst>
            <pc:docMk/>
            <pc:sldMk cId="0" sldId="261"/>
            <ac:spMk id="908" creationId="{00000000-0000-0000-0000-000000000000}"/>
          </ac:spMkLst>
        </pc:spChg>
        <pc:spChg chg="del">
          <ac:chgData name="Kebba Jeng" userId="fe4cc296-ba7d-48a2-8799-89b58d218255" providerId="ADAL" clId="{388EFDEE-447E-42B4-98EF-30C01AB2E8CD}" dt="2022-03-28T17:56:57.090" v="2266" actId="21"/>
          <ac:spMkLst>
            <pc:docMk/>
            <pc:sldMk cId="0" sldId="261"/>
            <ac:spMk id="909" creationId="{00000000-0000-0000-0000-000000000000}"/>
          </ac:spMkLst>
        </pc:spChg>
        <pc:spChg chg="del">
          <ac:chgData name="Kebba Jeng" userId="fe4cc296-ba7d-48a2-8799-89b58d218255" providerId="ADAL" clId="{388EFDEE-447E-42B4-98EF-30C01AB2E8CD}" dt="2022-03-28T17:56:57.090" v="2266" actId="21"/>
          <ac:spMkLst>
            <pc:docMk/>
            <pc:sldMk cId="0" sldId="261"/>
            <ac:spMk id="910" creationId="{00000000-0000-0000-0000-000000000000}"/>
          </ac:spMkLst>
        </pc:spChg>
        <pc:spChg chg="del">
          <ac:chgData name="Kebba Jeng" userId="fe4cc296-ba7d-48a2-8799-89b58d218255" providerId="ADAL" clId="{388EFDEE-447E-42B4-98EF-30C01AB2E8CD}" dt="2022-03-28T17:56:57.090" v="2266" actId="21"/>
          <ac:spMkLst>
            <pc:docMk/>
            <pc:sldMk cId="0" sldId="261"/>
            <ac:spMk id="911" creationId="{00000000-0000-0000-0000-000000000000}"/>
          </ac:spMkLst>
        </pc:spChg>
        <pc:spChg chg="del">
          <ac:chgData name="Kebba Jeng" userId="fe4cc296-ba7d-48a2-8799-89b58d218255" providerId="ADAL" clId="{388EFDEE-447E-42B4-98EF-30C01AB2E8CD}" dt="2022-03-28T17:56:57.090" v="2266" actId="21"/>
          <ac:spMkLst>
            <pc:docMk/>
            <pc:sldMk cId="0" sldId="261"/>
            <ac:spMk id="912" creationId="{00000000-0000-0000-0000-000000000000}"/>
          </ac:spMkLst>
        </pc:spChg>
        <pc:spChg chg="del">
          <ac:chgData name="Kebba Jeng" userId="fe4cc296-ba7d-48a2-8799-89b58d218255" providerId="ADAL" clId="{388EFDEE-447E-42B4-98EF-30C01AB2E8CD}" dt="2022-03-28T17:56:57.090" v="2266" actId="21"/>
          <ac:spMkLst>
            <pc:docMk/>
            <pc:sldMk cId="0" sldId="261"/>
            <ac:spMk id="913" creationId="{00000000-0000-0000-0000-000000000000}"/>
          </ac:spMkLst>
        </pc:spChg>
        <pc:spChg chg="del">
          <ac:chgData name="Kebba Jeng" userId="fe4cc296-ba7d-48a2-8799-89b58d218255" providerId="ADAL" clId="{388EFDEE-447E-42B4-98EF-30C01AB2E8CD}" dt="2022-03-28T17:56:57.090" v="2266" actId="21"/>
          <ac:spMkLst>
            <pc:docMk/>
            <pc:sldMk cId="0" sldId="261"/>
            <ac:spMk id="914" creationId="{00000000-0000-0000-0000-000000000000}"/>
          </ac:spMkLst>
        </pc:spChg>
        <pc:spChg chg="del">
          <ac:chgData name="Kebba Jeng" userId="fe4cc296-ba7d-48a2-8799-89b58d218255" providerId="ADAL" clId="{388EFDEE-447E-42B4-98EF-30C01AB2E8CD}" dt="2022-03-28T17:57:11.326" v="2271" actId="21"/>
          <ac:spMkLst>
            <pc:docMk/>
            <pc:sldMk cId="0" sldId="261"/>
            <ac:spMk id="915" creationId="{00000000-0000-0000-0000-000000000000}"/>
          </ac:spMkLst>
        </pc:spChg>
        <pc:spChg chg="del">
          <ac:chgData name="Kebba Jeng" userId="fe4cc296-ba7d-48a2-8799-89b58d218255" providerId="ADAL" clId="{388EFDEE-447E-42B4-98EF-30C01AB2E8CD}" dt="2022-03-28T17:57:11.326" v="2271" actId="21"/>
          <ac:spMkLst>
            <pc:docMk/>
            <pc:sldMk cId="0" sldId="261"/>
            <ac:spMk id="916" creationId="{00000000-0000-0000-0000-000000000000}"/>
          </ac:spMkLst>
        </pc:spChg>
        <pc:spChg chg="del">
          <ac:chgData name="Kebba Jeng" userId="fe4cc296-ba7d-48a2-8799-89b58d218255" providerId="ADAL" clId="{388EFDEE-447E-42B4-98EF-30C01AB2E8CD}" dt="2022-03-28T17:57:11.326" v="2271" actId="21"/>
          <ac:spMkLst>
            <pc:docMk/>
            <pc:sldMk cId="0" sldId="261"/>
            <ac:spMk id="917" creationId="{00000000-0000-0000-0000-000000000000}"/>
          </ac:spMkLst>
        </pc:spChg>
        <pc:spChg chg="del">
          <ac:chgData name="Kebba Jeng" userId="fe4cc296-ba7d-48a2-8799-89b58d218255" providerId="ADAL" clId="{388EFDEE-447E-42B4-98EF-30C01AB2E8CD}" dt="2022-03-28T17:57:11.326" v="2271" actId="21"/>
          <ac:spMkLst>
            <pc:docMk/>
            <pc:sldMk cId="0" sldId="261"/>
            <ac:spMk id="918" creationId="{00000000-0000-0000-0000-000000000000}"/>
          </ac:spMkLst>
        </pc:spChg>
        <pc:spChg chg="del">
          <ac:chgData name="Kebba Jeng" userId="fe4cc296-ba7d-48a2-8799-89b58d218255" providerId="ADAL" clId="{388EFDEE-447E-42B4-98EF-30C01AB2E8CD}" dt="2022-03-28T17:57:11.326" v="2271" actId="21"/>
          <ac:spMkLst>
            <pc:docMk/>
            <pc:sldMk cId="0" sldId="261"/>
            <ac:spMk id="919" creationId="{00000000-0000-0000-0000-000000000000}"/>
          </ac:spMkLst>
        </pc:spChg>
        <pc:spChg chg="del">
          <ac:chgData name="Kebba Jeng" userId="fe4cc296-ba7d-48a2-8799-89b58d218255" providerId="ADAL" clId="{388EFDEE-447E-42B4-98EF-30C01AB2E8CD}" dt="2022-03-28T17:57:11.326" v="2271" actId="21"/>
          <ac:spMkLst>
            <pc:docMk/>
            <pc:sldMk cId="0" sldId="261"/>
            <ac:spMk id="920" creationId="{00000000-0000-0000-0000-000000000000}"/>
          </ac:spMkLst>
        </pc:spChg>
        <pc:spChg chg="del">
          <ac:chgData name="Kebba Jeng" userId="fe4cc296-ba7d-48a2-8799-89b58d218255" providerId="ADAL" clId="{388EFDEE-447E-42B4-98EF-30C01AB2E8CD}" dt="2022-03-28T17:57:11.326" v="2271" actId="21"/>
          <ac:spMkLst>
            <pc:docMk/>
            <pc:sldMk cId="0" sldId="261"/>
            <ac:spMk id="921" creationId="{00000000-0000-0000-0000-000000000000}"/>
          </ac:spMkLst>
        </pc:spChg>
        <pc:spChg chg="del">
          <ac:chgData name="Kebba Jeng" userId="fe4cc296-ba7d-48a2-8799-89b58d218255" providerId="ADAL" clId="{388EFDEE-447E-42B4-98EF-30C01AB2E8CD}" dt="2022-03-28T17:57:11.326" v="2271" actId="21"/>
          <ac:spMkLst>
            <pc:docMk/>
            <pc:sldMk cId="0" sldId="261"/>
            <ac:spMk id="922" creationId="{00000000-0000-0000-0000-000000000000}"/>
          </ac:spMkLst>
        </pc:spChg>
        <pc:spChg chg="del">
          <ac:chgData name="Kebba Jeng" userId="fe4cc296-ba7d-48a2-8799-89b58d218255" providerId="ADAL" clId="{388EFDEE-447E-42B4-98EF-30C01AB2E8CD}" dt="2022-03-28T17:57:11.326" v="2271" actId="21"/>
          <ac:spMkLst>
            <pc:docMk/>
            <pc:sldMk cId="0" sldId="261"/>
            <ac:spMk id="923" creationId="{00000000-0000-0000-0000-000000000000}"/>
          </ac:spMkLst>
        </pc:spChg>
        <pc:spChg chg="del">
          <ac:chgData name="Kebba Jeng" userId="fe4cc296-ba7d-48a2-8799-89b58d218255" providerId="ADAL" clId="{388EFDEE-447E-42B4-98EF-30C01AB2E8CD}" dt="2022-03-28T17:57:11.326" v="2271" actId="21"/>
          <ac:spMkLst>
            <pc:docMk/>
            <pc:sldMk cId="0" sldId="261"/>
            <ac:spMk id="924" creationId="{00000000-0000-0000-0000-000000000000}"/>
          </ac:spMkLst>
        </pc:spChg>
        <pc:spChg chg="del">
          <ac:chgData name="Kebba Jeng" userId="fe4cc296-ba7d-48a2-8799-89b58d218255" providerId="ADAL" clId="{388EFDEE-447E-42B4-98EF-30C01AB2E8CD}" dt="2022-03-28T17:57:11.326" v="2271" actId="21"/>
          <ac:spMkLst>
            <pc:docMk/>
            <pc:sldMk cId="0" sldId="261"/>
            <ac:spMk id="925" creationId="{00000000-0000-0000-0000-000000000000}"/>
          </ac:spMkLst>
        </pc:spChg>
        <pc:spChg chg="del">
          <ac:chgData name="Kebba Jeng" userId="fe4cc296-ba7d-48a2-8799-89b58d218255" providerId="ADAL" clId="{388EFDEE-447E-42B4-98EF-30C01AB2E8CD}" dt="2022-03-28T17:57:11.326" v="2271" actId="21"/>
          <ac:spMkLst>
            <pc:docMk/>
            <pc:sldMk cId="0" sldId="261"/>
            <ac:spMk id="926" creationId="{00000000-0000-0000-0000-000000000000}"/>
          </ac:spMkLst>
        </pc:spChg>
        <pc:spChg chg="del">
          <ac:chgData name="Kebba Jeng" userId="fe4cc296-ba7d-48a2-8799-89b58d218255" providerId="ADAL" clId="{388EFDEE-447E-42B4-98EF-30C01AB2E8CD}" dt="2022-03-28T17:57:11.326" v="2271" actId="21"/>
          <ac:spMkLst>
            <pc:docMk/>
            <pc:sldMk cId="0" sldId="261"/>
            <ac:spMk id="927" creationId="{00000000-0000-0000-0000-000000000000}"/>
          </ac:spMkLst>
        </pc:spChg>
        <pc:spChg chg="del">
          <ac:chgData name="Kebba Jeng" userId="fe4cc296-ba7d-48a2-8799-89b58d218255" providerId="ADAL" clId="{388EFDEE-447E-42B4-98EF-30C01AB2E8CD}" dt="2022-03-28T17:57:11.326" v="2271" actId="21"/>
          <ac:spMkLst>
            <pc:docMk/>
            <pc:sldMk cId="0" sldId="261"/>
            <ac:spMk id="928" creationId="{00000000-0000-0000-0000-000000000000}"/>
          </ac:spMkLst>
        </pc:spChg>
        <pc:spChg chg="del">
          <ac:chgData name="Kebba Jeng" userId="fe4cc296-ba7d-48a2-8799-89b58d218255" providerId="ADAL" clId="{388EFDEE-447E-42B4-98EF-30C01AB2E8CD}" dt="2022-03-28T17:57:11.326" v="2271" actId="21"/>
          <ac:spMkLst>
            <pc:docMk/>
            <pc:sldMk cId="0" sldId="261"/>
            <ac:spMk id="929" creationId="{00000000-0000-0000-0000-000000000000}"/>
          </ac:spMkLst>
        </pc:spChg>
        <pc:spChg chg="del">
          <ac:chgData name="Kebba Jeng" userId="fe4cc296-ba7d-48a2-8799-89b58d218255" providerId="ADAL" clId="{388EFDEE-447E-42B4-98EF-30C01AB2E8CD}" dt="2022-03-28T17:57:11.326" v="2271" actId="21"/>
          <ac:spMkLst>
            <pc:docMk/>
            <pc:sldMk cId="0" sldId="261"/>
            <ac:spMk id="930" creationId="{00000000-0000-0000-0000-000000000000}"/>
          </ac:spMkLst>
        </pc:spChg>
        <pc:spChg chg="del">
          <ac:chgData name="Kebba Jeng" userId="fe4cc296-ba7d-48a2-8799-89b58d218255" providerId="ADAL" clId="{388EFDEE-447E-42B4-98EF-30C01AB2E8CD}" dt="2022-03-28T17:57:11.326" v="2271" actId="21"/>
          <ac:spMkLst>
            <pc:docMk/>
            <pc:sldMk cId="0" sldId="261"/>
            <ac:spMk id="931" creationId="{00000000-0000-0000-0000-000000000000}"/>
          </ac:spMkLst>
        </pc:spChg>
        <pc:spChg chg="del">
          <ac:chgData name="Kebba Jeng" userId="fe4cc296-ba7d-48a2-8799-89b58d218255" providerId="ADAL" clId="{388EFDEE-447E-42B4-98EF-30C01AB2E8CD}" dt="2022-03-28T17:57:11.326" v="2271" actId="21"/>
          <ac:spMkLst>
            <pc:docMk/>
            <pc:sldMk cId="0" sldId="261"/>
            <ac:spMk id="932" creationId="{00000000-0000-0000-0000-000000000000}"/>
          </ac:spMkLst>
        </pc:spChg>
        <pc:spChg chg="del">
          <ac:chgData name="Kebba Jeng" userId="fe4cc296-ba7d-48a2-8799-89b58d218255" providerId="ADAL" clId="{388EFDEE-447E-42B4-98EF-30C01AB2E8CD}" dt="2022-03-28T17:57:11.326" v="2271" actId="21"/>
          <ac:spMkLst>
            <pc:docMk/>
            <pc:sldMk cId="0" sldId="261"/>
            <ac:spMk id="933" creationId="{00000000-0000-0000-0000-000000000000}"/>
          </ac:spMkLst>
        </pc:spChg>
        <pc:spChg chg="del">
          <ac:chgData name="Kebba Jeng" userId="fe4cc296-ba7d-48a2-8799-89b58d218255" providerId="ADAL" clId="{388EFDEE-447E-42B4-98EF-30C01AB2E8CD}" dt="2022-03-28T17:57:11.326" v="2271" actId="21"/>
          <ac:spMkLst>
            <pc:docMk/>
            <pc:sldMk cId="0" sldId="261"/>
            <ac:spMk id="934" creationId="{00000000-0000-0000-0000-000000000000}"/>
          </ac:spMkLst>
        </pc:spChg>
        <pc:spChg chg="del">
          <ac:chgData name="Kebba Jeng" userId="fe4cc296-ba7d-48a2-8799-89b58d218255" providerId="ADAL" clId="{388EFDEE-447E-42B4-98EF-30C01AB2E8CD}" dt="2022-03-28T17:57:11.326" v="2271" actId="21"/>
          <ac:spMkLst>
            <pc:docMk/>
            <pc:sldMk cId="0" sldId="261"/>
            <ac:spMk id="935" creationId="{00000000-0000-0000-0000-000000000000}"/>
          </ac:spMkLst>
        </pc:spChg>
        <pc:spChg chg="del">
          <ac:chgData name="Kebba Jeng" userId="fe4cc296-ba7d-48a2-8799-89b58d218255" providerId="ADAL" clId="{388EFDEE-447E-42B4-98EF-30C01AB2E8CD}" dt="2022-03-28T17:57:11.326" v="2271" actId="21"/>
          <ac:spMkLst>
            <pc:docMk/>
            <pc:sldMk cId="0" sldId="261"/>
            <ac:spMk id="936" creationId="{00000000-0000-0000-0000-000000000000}"/>
          </ac:spMkLst>
        </pc:spChg>
        <pc:spChg chg="del">
          <ac:chgData name="Kebba Jeng" userId="fe4cc296-ba7d-48a2-8799-89b58d218255" providerId="ADAL" clId="{388EFDEE-447E-42B4-98EF-30C01AB2E8CD}" dt="2022-03-28T17:57:11.326" v="2271" actId="21"/>
          <ac:spMkLst>
            <pc:docMk/>
            <pc:sldMk cId="0" sldId="261"/>
            <ac:spMk id="937" creationId="{00000000-0000-0000-0000-000000000000}"/>
          </ac:spMkLst>
        </pc:spChg>
        <pc:spChg chg="del">
          <ac:chgData name="Kebba Jeng" userId="fe4cc296-ba7d-48a2-8799-89b58d218255" providerId="ADAL" clId="{388EFDEE-447E-42B4-98EF-30C01AB2E8CD}" dt="2022-03-28T17:57:11.326" v="2271" actId="21"/>
          <ac:spMkLst>
            <pc:docMk/>
            <pc:sldMk cId="0" sldId="261"/>
            <ac:spMk id="938" creationId="{00000000-0000-0000-0000-000000000000}"/>
          </ac:spMkLst>
        </pc:spChg>
        <pc:spChg chg="del">
          <ac:chgData name="Kebba Jeng" userId="fe4cc296-ba7d-48a2-8799-89b58d218255" providerId="ADAL" clId="{388EFDEE-447E-42B4-98EF-30C01AB2E8CD}" dt="2022-03-28T17:57:11.326" v="2271" actId="21"/>
          <ac:spMkLst>
            <pc:docMk/>
            <pc:sldMk cId="0" sldId="261"/>
            <ac:spMk id="939" creationId="{00000000-0000-0000-0000-000000000000}"/>
          </ac:spMkLst>
        </pc:spChg>
        <pc:spChg chg="del">
          <ac:chgData name="Kebba Jeng" userId="fe4cc296-ba7d-48a2-8799-89b58d218255" providerId="ADAL" clId="{388EFDEE-447E-42B4-98EF-30C01AB2E8CD}" dt="2022-03-28T17:57:11.326" v="2271" actId="21"/>
          <ac:spMkLst>
            <pc:docMk/>
            <pc:sldMk cId="0" sldId="261"/>
            <ac:spMk id="940" creationId="{00000000-0000-0000-0000-000000000000}"/>
          </ac:spMkLst>
        </pc:spChg>
        <pc:spChg chg="del">
          <ac:chgData name="Kebba Jeng" userId="fe4cc296-ba7d-48a2-8799-89b58d218255" providerId="ADAL" clId="{388EFDEE-447E-42B4-98EF-30C01AB2E8CD}" dt="2022-03-28T17:57:11.326" v="2271" actId="21"/>
          <ac:spMkLst>
            <pc:docMk/>
            <pc:sldMk cId="0" sldId="261"/>
            <ac:spMk id="941" creationId="{00000000-0000-0000-0000-000000000000}"/>
          </ac:spMkLst>
        </pc:spChg>
        <pc:spChg chg="del">
          <ac:chgData name="Kebba Jeng" userId="fe4cc296-ba7d-48a2-8799-89b58d218255" providerId="ADAL" clId="{388EFDEE-447E-42B4-98EF-30C01AB2E8CD}" dt="2022-03-28T17:57:11.326" v="2271" actId="21"/>
          <ac:spMkLst>
            <pc:docMk/>
            <pc:sldMk cId="0" sldId="261"/>
            <ac:spMk id="942" creationId="{00000000-0000-0000-0000-000000000000}"/>
          </ac:spMkLst>
        </pc:spChg>
        <pc:spChg chg="del">
          <ac:chgData name="Kebba Jeng" userId="fe4cc296-ba7d-48a2-8799-89b58d218255" providerId="ADAL" clId="{388EFDEE-447E-42B4-98EF-30C01AB2E8CD}" dt="2022-03-28T17:57:11.326" v="2271" actId="21"/>
          <ac:spMkLst>
            <pc:docMk/>
            <pc:sldMk cId="0" sldId="261"/>
            <ac:spMk id="943" creationId="{00000000-0000-0000-0000-000000000000}"/>
          </ac:spMkLst>
        </pc:spChg>
        <pc:spChg chg="del">
          <ac:chgData name="Kebba Jeng" userId="fe4cc296-ba7d-48a2-8799-89b58d218255" providerId="ADAL" clId="{388EFDEE-447E-42B4-98EF-30C01AB2E8CD}" dt="2022-03-28T17:57:11.326" v="2271" actId="21"/>
          <ac:spMkLst>
            <pc:docMk/>
            <pc:sldMk cId="0" sldId="261"/>
            <ac:spMk id="944" creationId="{00000000-0000-0000-0000-000000000000}"/>
          </ac:spMkLst>
        </pc:spChg>
        <pc:spChg chg="del">
          <ac:chgData name="Kebba Jeng" userId="fe4cc296-ba7d-48a2-8799-89b58d218255" providerId="ADAL" clId="{388EFDEE-447E-42B4-98EF-30C01AB2E8CD}" dt="2022-03-28T17:57:11.326" v="2271" actId="21"/>
          <ac:spMkLst>
            <pc:docMk/>
            <pc:sldMk cId="0" sldId="261"/>
            <ac:spMk id="945" creationId="{00000000-0000-0000-0000-000000000000}"/>
          </ac:spMkLst>
        </pc:spChg>
        <pc:spChg chg="del">
          <ac:chgData name="Kebba Jeng" userId="fe4cc296-ba7d-48a2-8799-89b58d218255" providerId="ADAL" clId="{388EFDEE-447E-42B4-98EF-30C01AB2E8CD}" dt="2022-03-28T17:57:11.326" v="2271" actId="21"/>
          <ac:spMkLst>
            <pc:docMk/>
            <pc:sldMk cId="0" sldId="261"/>
            <ac:spMk id="946" creationId="{00000000-0000-0000-0000-000000000000}"/>
          </ac:spMkLst>
        </pc:spChg>
        <pc:spChg chg="del">
          <ac:chgData name="Kebba Jeng" userId="fe4cc296-ba7d-48a2-8799-89b58d218255" providerId="ADAL" clId="{388EFDEE-447E-42B4-98EF-30C01AB2E8CD}" dt="2022-03-28T17:57:11.326" v="2271" actId="21"/>
          <ac:spMkLst>
            <pc:docMk/>
            <pc:sldMk cId="0" sldId="261"/>
            <ac:spMk id="947" creationId="{00000000-0000-0000-0000-000000000000}"/>
          </ac:spMkLst>
        </pc:spChg>
        <pc:spChg chg="del">
          <ac:chgData name="Kebba Jeng" userId="fe4cc296-ba7d-48a2-8799-89b58d218255" providerId="ADAL" clId="{388EFDEE-447E-42B4-98EF-30C01AB2E8CD}" dt="2022-03-28T17:57:11.326" v="2271" actId="21"/>
          <ac:spMkLst>
            <pc:docMk/>
            <pc:sldMk cId="0" sldId="261"/>
            <ac:spMk id="948" creationId="{00000000-0000-0000-0000-000000000000}"/>
          </ac:spMkLst>
        </pc:spChg>
        <pc:spChg chg="del">
          <ac:chgData name="Kebba Jeng" userId="fe4cc296-ba7d-48a2-8799-89b58d218255" providerId="ADAL" clId="{388EFDEE-447E-42B4-98EF-30C01AB2E8CD}" dt="2022-03-28T17:57:11.326" v="2271" actId="21"/>
          <ac:spMkLst>
            <pc:docMk/>
            <pc:sldMk cId="0" sldId="261"/>
            <ac:spMk id="949" creationId="{00000000-0000-0000-0000-000000000000}"/>
          </ac:spMkLst>
        </pc:spChg>
        <pc:spChg chg="del">
          <ac:chgData name="Kebba Jeng" userId="fe4cc296-ba7d-48a2-8799-89b58d218255" providerId="ADAL" clId="{388EFDEE-447E-42B4-98EF-30C01AB2E8CD}" dt="2022-03-28T17:57:11.326" v="2271" actId="21"/>
          <ac:spMkLst>
            <pc:docMk/>
            <pc:sldMk cId="0" sldId="261"/>
            <ac:spMk id="950" creationId="{00000000-0000-0000-0000-000000000000}"/>
          </ac:spMkLst>
        </pc:spChg>
        <pc:spChg chg="del">
          <ac:chgData name="Kebba Jeng" userId="fe4cc296-ba7d-48a2-8799-89b58d218255" providerId="ADAL" clId="{388EFDEE-447E-42B4-98EF-30C01AB2E8CD}" dt="2022-03-28T17:57:11.326" v="2271" actId="21"/>
          <ac:spMkLst>
            <pc:docMk/>
            <pc:sldMk cId="0" sldId="261"/>
            <ac:spMk id="951" creationId="{00000000-0000-0000-0000-000000000000}"/>
          </ac:spMkLst>
        </pc:spChg>
        <pc:spChg chg="del">
          <ac:chgData name="Kebba Jeng" userId="fe4cc296-ba7d-48a2-8799-89b58d218255" providerId="ADAL" clId="{388EFDEE-447E-42B4-98EF-30C01AB2E8CD}" dt="2022-03-28T17:57:11.326" v="2271" actId="21"/>
          <ac:spMkLst>
            <pc:docMk/>
            <pc:sldMk cId="0" sldId="261"/>
            <ac:spMk id="952" creationId="{00000000-0000-0000-0000-000000000000}"/>
          </ac:spMkLst>
        </pc:spChg>
        <pc:spChg chg="del">
          <ac:chgData name="Kebba Jeng" userId="fe4cc296-ba7d-48a2-8799-89b58d218255" providerId="ADAL" clId="{388EFDEE-447E-42B4-98EF-30C01AB2E8CD}" dt="2022-03-28T17:57:11.326" v="2271" actId="21"/>
          <ac:spMkLst>
            <pc:docMk/>
            <pc:sldMk cId="0" sldId="261"/>
            <ac:spMk id="953" creationId="{00000000-0000-0000-0000-000000000000}"/>
          </ac:spMkLst>
        </pc:spChg>
        <pc:spChg chg="del">
          <ac:chgData name="Kebba Jeng" userId="fe4cc296-ba7d-48a2-8799-89b58d218255" providerId="ADAL" clId="{388EFDEE-447E-42B4-98EF-30C01AB2E8CD}" dt="2022-03-28T17:57:11.326" v="2271" actId="21"/>
          <ac:spMkLst>
            <pc:docMk/>
            <pc:sldMk cId="0" sldId="261"/>
            <ac:spMk id="954" creationId="{00000000-0000-0000-0000-000000000000}"/>
          </ac:spMkLst>
        </pc:spChg>
        <pc:spChg chg="del">
          <ac:chgData name="Kebba Jeng" userId="fe4cc296-ba7d-48a2-8799-89b58d218255" providerId="ADAL" clId="{388EFDEE-447E-42B4-98EF-30C01AB2E8CD}" dt="2022-03-28T17:57:11.326" v="2271" actId="21"/>
          <ac:spMkLst>
            <pc:docMk/>
            <pc:sldMk cId="0" sldId="261"/>
            <ac:spMk id="955" creationId="{00000000-0000-0000-0000-000000000000}"/>
          </ac:spMkLst>
        </pc:spChg>
        <pc:spChg chg="del">
          <ac:chgData name="Kebba Jeng" userId="fe4cc296-ba7d-48a2-8799-89b58d218255" providerId="ADAL" clId="{388EFDEE-447E-42B4-98EF-30C01AB2E8CD}" dt="2022-03-28T17:57:11.326" v="2271" actId="21"/>
          <ac:spMkLst>
            <pc:docMk/>
            <pc:sldMk cId="0" sldId="261"/>
            <ac:spMk id="956" creationId="{00000000-0000-0000-0000-000000000000}"/>
          </ac:spMkLst>
        </pc:spChg>
        <pc:spChg chg="del">
          <ac:chgData name="Kebba Jeng" userId="fe4cc296-ba7d-48a2-8799-89b58d218255" providerId="ADAL" clId="{388EFDEE-447E-42B4-98EF-30C01AB2E8CD}" dt="2022-03-28T17:57:11.326" v="2271" actId="21"/>
          <ac:spMkLst>
            <pc:docMk/>
            <pc:sldMk cId="0" sldId="261"/>
            <ac:spMk id="957" creationId="{00000000-0000-0000-0000-000000000000}"/>
          </ac:spMkLst>
        </pc:spChg>
        <pc:spChg chg="del">
          <ac:chgData name="Kebba Jeng" userId="fe4cc296-ba7d-48a2-8799-89b58d218255" providerId="ADAL" clId="{388EFDEE-447E-42B4-98EF-30C01AB2E8CD}" dt="2022-03-28T17:57:11.326" v="2271" actId="21"/>
          <ac:spMkLst>
            <pc:docMk/>
            <pc:sldMk cId="0" sldId="261"/>
            <ac:spMk id="958" creationId="{00000000-0000-0000-0000-000000000000}"/>
          </ac:spMkLst>
        </pc:spChg>
        <pc:spChg chg="del">
          <ac:chgData name="Kebba Jeng" userId="fe4cc296-ba7d-48a2-8799-89b58d218255" providerId="ADAL" clId="{388EFDEE-447E-42B4-98EF-30C01AB2E8CD}" dt="2022-03-28T17:57:11.326" v="2271" actId="21"/>
          <ac:spMkLst>
            <pc:docMk/>
            <pc:sldMk cId="0" sldId="261"/>
            <ac:spMk id="959" creationId="{00000000-0000-0000-0000-000000000000}"/>
          </ac:spMkLst>
        </pc:spChg>
        <pc:spChg chg="del">
          <ac:chgData name="Kebba Jeng" userId="fe4cc296-ba7d-48a2-8799-89b58d218255" providerId="ADAL" clId="{388EFDEE-447E-42B4-98EF-30C01AB2E8CD}" dt="2022-03-28T17:57:11.326" v="2271" actId="21"/>
          <ac:spMkLst>
            <pc:docMk/>
            <pc:sldMk cId="0" sldId="261"/>
            <ac:spMk id="960" creationId="{00000000-0000-0000-0000-000000000000}"/>
          </ac:spMkLst>
        </pc:spChg>
        <pc:spChg chg="del">
          <ac:chgData name="Kebba Jeng" userId="fe4cc296-ba7d-48a2-8799-89b58d218255" providerId="ADAL" clId="{388EFDEE-447E-42B4-98EF-30C01AB2E8CD}" dt="2022-03-28T17:57:11.326" v="2271" actId="21"/>
          <ac:spMkLst>
            <pc:docMk/>
            <pc:sldMk cId="0" sldId="261"/>
            <ac:spMk id="961" creationId="{00000000-0000-0000-0000-000000000000}"/>
          </ac:spMkLst>
        </pc:spChg>
        <pc:spChg chg="del">
          <ac:chgData name="Kebba Jeng" userId="fe4cc296-ba7d-48a2-8799-89b58d218255" providerId="ADAL" clId="{388EFDEE-447E-42B4-98EF-30C01AB2E8CD}" dt="2022-03-28T17:57:11.326" v="2271" actId="21"/>
          <ac:spMkLst>
            <pc:docMk/>
            <pc:sldMk cId="0" sldId="261"/>
            <ac:spMk id="962" creationId="{00000000-0000-0000-0000-000000000000}"/>
          </ac:spMkLst>
        </pc:spChg>
        <pc:spChg chg="del">
          <ac:chgData name="Kebba Jeng" userId="fe4cc296-ba7d-48a2-8799-89b58d218255" providerId="ADAL" clId="{388EFDEE-447E-42B4-98EF-30C01AB2E8CD}" dt="2022-03-28T17:57:11.326" v="2271" actId="21"/>
          <ac:spMkLst>
            <pc:docMk/>
            <pc:sldMk cId="0" sldId="261"/>
            <ac:spMk id="963" creationId="{00000000-0000-0000-0000-000000000000}"/>
          </ac:spMkLst>
        </pc:spChg>
        <pc:spChg chg="del">
          <ac:chgData name="Kebba Jeng" userId="fe4cc296-ba7d-48a2-8799-89b58d218255" providerId="ADAL" clId="{388EFDEE-447E-42B4-98EF-30C01AB2E8CD}" dt="2022-03-28T17:57:11.326" v="2271" actId="21"/>
          <ac:spMkLst>
            <pc:docMk/>
            <pc:sldMk cId="0" sldId="261"/>
            <ac:spMk id="964" creationId="{00000000-0000-0000-0000-000000000000}"/>
          </ac:spMkLst>
        </pc:spChg>
        <pc:spChg chg="del">
          <ac:chgData name="Kebba Jeng" userId="fe4cc296-ba7d-48a2-8799-89b58d218255" providerId="ADAL" clId="{388EFDEE-447E-42B4-98EF-30C01AB2E8CD}" dt="2022-03-28T17:57:11.326" v="2271" actId="21"/>
          <ac:spMkLst>
            <pc:docMk/>
            <pc:sldMk cId="0" sldId="261"/>
            <ac:spMk id="965" creationId="{00000000-0000-0000-0000-000000000000}"/>
          </ac:spMkLst>
        </pc:spChg>
        <pc:spChg chg="del">
          <ac:chgData name="Kebba Jeng" userId="fe4cc296-ba7d-48a2-8799-89b58d218255" providerId="ADAL" clId="{388EFDEE-447E-42B4-98EF-30C01AB2E8CD}" dt="2022-03-28T17:57:11.326" v="2271" actId="21"/>
          <ac:spMkLst>
            <pc:docMk/>
            <pc:sldMk cId="0" sldId="261"/>
            <ac:spMk id="966" creationId="{00000000-0000-0000-0000-000000000000}"/>
          </ac:spMkLst>
        </pc:spChg>
        <pc:spChg chg="del">
          <ac:chgData name="Kebba Jeng" userId="fe4cc296-ba7d-48a2-8799-89b58d218255" providerId="ADAL" clId="{388EFDEE-447E-42B4-98EF-30C01AB2E8CD}" dt="2022-03-28T17:57:11.326" v="2271" actId="21"/>
          <ac:spMkLst>
            <pc:docMk/>
            <pc:sldMk cId="0" sldId="261"/>
            <ac:spMk id="967" creationId="{00000000-0000-0000-0000-000000000000}"/>
          </ac:spMkLst>
        </pc:spChg>
        <pc:spChg chg="del">
          <ac:chgData name="Kebba Jeng" userId="fe4cc296-ba7d-48a2-8799-89b58d218255" providerId="ADAL" clId="{388EFDEE-447E-42B4-98EF-30C01AB2E8CD}" dt="2022-03-28T17:57:11.326" v="2271" actId="21"/>
          <ac:spMkLst>
            <pc:docMk/>
            <pc:sldMk cId="0" sldId="261"/>
            <ac:spMk id="968" creationId="{00000000-0000-0000-0000-000000000000}"/>
          </ac:spMkLst>
        </pc:spChg>
        <pc:spChg chg="del">
          <ac:chgData name="Kebba Jeng" userId="fe4cc296-ba7d-48a2-8799-89b58d218255" providerId="ADAL" clId="{388EFDEE-447E-42B4-98EF-30C01AB2E8CD}" dt="2022-03-28T17:57:11.326" v="2271" actId="21"/>
          <ac:spMkLst>
            <pc:docMk/>
            <pc:sldMk cId="0" sldId="261"/>
            <ac:spMk id="969" creationId="{00000000-0000-0000-0000-000000000000}"/>
          </ac:spMkLst>
        </pc:spChg>
        <pc:spChg chg="del">
          <ac:chgData name="Kebba Jeng" userId="fe4cc296-ba7d-48a2-8799-89b58d218255" providerId="ADAL" clId="{388EFDEE-447E-42B4-98EF-30C01AB2E8CD}" dt="2022-03-28T17:57:11.326" v="2271" actId="21"/>
          <ac:spMkLst>
            <pc:docMk/>
            <pc:sldMk cId="0" sldId="261"/>
            <ac:spMk id="970" creationId="{00000000-0000-0000-0000-000000000000}"/>
          </ac:spMkLst>
        </pc:spChg>
        <pc:spChg chg="del">
          <ac:chgData name="Kebba Jeng" userId="fe4cc296-ba7d-48a2-8799-89b58d218255" providerId="ADAL" clId="{388EFDEE-447E-42B4-98EF-30C01AB2E8CD}" dt="2022-03-28T17:57:11.326" v="2271" actId="21"/>
          <ac:spMkLst>
            <pc:docMk/>
            <pc:sldMk cId="0" sldId="261"/>
            <ac:spMk id="971" creationId="{00000000-0000-0000-0000-000000000000}"/>
          </ac:spMkLst>
        </pc:spChg>
        <pc:spChg chg="del">
          <ac:chgData name="Kebba Jeng" userId="fe4cc296-ba7d-48a2-8799-89b58d218255" providerId="ADAL" clId="{388EFDEE-447E-42B4-98EF-30C01AB2E8CD}" dt="2022-03-28T17:57:11.326" v="2271" actId="21"/>
          <ac:spMkLst>
            <pc:docMk/>
            <pc:sldMk cId="0" sldId="261"/>
            <ac:spMk id="972" creationId="{00000000-0000-0000-0000-000000000000}"/>
          </ac:spMkLst>
        </pc:spChg>
        <pc:spChg chg="del">
          <ac:chgData name="Kebba Jeng" userId="fe4cc296-ba7d-48a2-8799-89b58d218255" providerId="ADAL" clId="{388EFDEE-447E-42B4-98EF-30C01AB2E8CD}" dt="2022-03-28T17:57:11.326" v="2271" actId="21"/>
          <ac:spMkLst>
            <pc:docMk/>
            <pc:sldMk cId="0" sldId="261"/>
            <ac:spMk id="973" creationId="{00000000-0000-0000-0000-000000000000}"/>
          </ac:spMkLst>
        </pc:spChg>
        <pc:spChg chg="del">
          <ac:chgData name="Kebba Jeng" userId="fe4cc296-ba7d-48a2-8799-89b58d218255" providerId="ADAL" clId="{388EFDEE-447E-42B4-98EF-30C01AB2E8CD}" dt="2022-03-28T17:57:11.326" v="2271" actId="21"/>
          <ac:spMkLst>
            <pc:docMk/>
            <pc:sldMk cId="0" sldId="261"/>
            <ac:spMk id="974" creationId="{00000000-0000-0000-0000-000000000000}"/>
          </ac:spMkLst>
        </pc:spChg>
        <pc:spChg chg="del">
          <ac:chgData name="Kebba Jeng" userId="fe4cc296-ba7d-48a2-8799-89b58d218255" providerId="ADAL" clId="{388EFDEE-447E-42B4-98EF-30C01AB2E8CD}" dt="2022-03-28T17:57:11.326" v="2271" actId="21"/>
          <ac:spMkLst>
            <pc:docMk/>
            <pc:sldMk cId="0" sldId="261"/>
            <ac:spMk id="975" creationId="{00000000-0000-0000-0000-000000000000}"/>
          </ac:spMkLst>
        </pc:spChg>
        <pc:spChg chg="del">
          <ac:chgData name="Kebba Jeng" userId="fe4cc296-ba7d-48a2-8799-89b58d218255" providerId="ADAL" clId="{388EFDEE-447E-42B4-98EF-30C01AB2E8CD}" dt="2022-03-28T17:57:11.326" v="2271" actId="21"/>
          <ac:spMkLst>
            <pc:docMk/>
            <pc:sldMk cId="0" sldId="261"/>
            <ac:spMk id="976" creationId="{00000000-0000-0000-0000-000000000000}"/>
          </ac:spMkLst>
        </pc:spChg>
        <pc:spChg chg="del">
          <ac:chgData name="Kebba Jeng" userId="fe4cc296-ba7d-48a2-8799-89b58d218255" providerId="ADAL" clId="{388EFDEE-447E-42B4-98EF-30C01AB2E8CD}" dt="2022-03-28T17:57:11.326" v="2271" actId="21"/>
          <ac:spMkLst>
            <pc:docMk/>
            <pc:sldMk cId="0" sldId="261"/>
            <ac:spMk id="977" creationId="{00000000-0000-0000-0000-000000000000}"/>
          </ac:spMkLst>
        </pc:spChg>
        <pc:spChg chg="del">
          <ac:chgData name="Kebba Jeng" userId="fe4cc296-ba7d-48a2-8799-89b58d218255" providerId="ADAL" clId="{388EFDEE-447E-42B4-98EF-30C01AB2E8CD}" dt="2022-03-28T17:57:11.326" v="2271" actId="21"/>
          <ac:spMkLst>
            <pc:docMk/>
            <pc:sldMk cId="0" sldId="261"/>
            <ac:spMk id="978" creationId="{00000000-0000-0000-0000-000000000000}"/>
          </ac:spMkLst>
        </pc:spChg>
        <pc:spChg chg="del">
          <ac:chgData name="Kebba Jeng" userId="fe4cc296-ba7d-48a2-8799-89b58d218255" providerId="ADAL" clId="{388EFDEE-447E-42B4-98EF-30C01AB2E8CD}" dt="2022-03-28T17:57:11.326" v="2271" actId="21"/>
          <ac:spMkLst>
            <pc:docMk/>
            <pc:sldMk cId="0" sldId="261"/>
            <ac:spMk id="979" creationId="{00000000-0000-0000-0000-000000000000}"/>
          </ac:spMkLst>
        </pc:spChg>
        <pc:spChg chg="del">
          <ac:chgData name="Kebba Jeng" userId="fe4cc296-ba7d-48a2-8799-89b58d218255" providerId="ADAL" clId="{388EFDEE-447E-42B4-98EF-30C01AB2E8CD}" dt="2022-03-28T17:57:11.326" v="2271" actId="21"/>
          <ac:spMkLst>
            <pc:docMk/>
            <pc:sldMk cId="0" sldId="261"/>
            <ac:spMk id="980" creationId="{00000000-0000-0000-0000-000000000000}"/>
          </ac:spMkLst>
        </pc:spChg>
        <pc:spChg chg="del">
          <ac:chgData name="Kebba Jeng" userId="fe4cc296-ba7d-48a2-8799-89b58d218255" providerId="ADAL" clId="{388EFDEE-447E-42B4-98EF-30C01AB2E8CD}" dt="2022-03-28T17:57:11.326" v="2271" actId="21"/>
          <ac:spMkLst>
            <pc:docMk/>
            <pc:sldMk cId="0" sldId="261"/>
            <ac:spMk id="981" creationId="{00000000-0000-0000-0000-000000000000}"/>
          </ac:spMkLst>
        </pc:spChg>
        <pc:spChg chg="del">
          <ac:chgData name="Kebba Jeng" userId="fe4cc296-ba7d-48a2-8799-89b58d218255" providerId="ADAL" clId="{388EFDEE-447E-42B4-98EF-30C01AB2E8CD}" dt="2022-03-28T17:57:11.326" v="2271" actId="21"/>
          <ac:spMkLst>
            <pc:docMk/>
            <pc:sldMk cId="0" sldId="261"/>
            <ac:spMk id="982" creationId="{00000000-0000-0000-0000-000000000000}"/>
          </ac:spMkLst>
        </pc:spChg>
        <pc:spChg chg="del">
          <ac:chgData name="Kebba Jeng" userId="fe4cc296-ba7d-48a2-8799-89b58d218255" providerId="ADAL" clId="{388EFDEE-447E-42B4-98EF-30C01AB2E8CD}" dt="2022-03-28T17:57:11.326" v="2271" actId="21"/>
          <ac:spMkLst>
            <pc:docMk/>
            <pc:sldMk cId="0" sldId="261"/>
            <ac:spMk id="983" creationId="{00000000-0000-0000-0000-000000000000}"/>
          </ac:spMkLst>
        </pc:spChg>
        <pc:spChg chg="del">
          <ac:chgData name="Kebba Jeng" userId="fe4cc296-ba7d-48a2-8799-89b58d218255" providerId="ADAL" clId="{388EFDEE-447E-42B4-98EF-30C01AB2E8CD}" dt="2022-03-28T17:57:11.326" v="2271" actId="21"/>
          <ac:spMkLst>
            <pc:docMk/>
            <pc:sldMk cId="0" sldId="261"/>
            <ac:spMk id="984" creationId="{00000000-0000-0000-0000-000000000000}"/>
          </ac:spMkLst>
        </pc:spChg>
        <pc:spChg chg="del">
          <ac:chgData name="Kebba Jeng" userId="fe4cc296-ba7d-48a2-8799-89b58d218255" providerId="ADAL" clId="{388EFDEE-447E-42B4-98EF-30C01AB2E8CD}" dt="2022-03-28T17:57:11.326" v="2271" actId="21"/>
          <ac:spMkLst>
            <pc:docMk/>
            <pc:sldMk cId="0" sldId="261"/>
            <ac:spMk id="985" creationId="{00000000-0000-0000-0000-000000000000}"/>
          </ac:spMkLst>
        </pc:spChg>
        <pc:spChg chg="del">
          <ac:chgData name="Kebba Jeng" userId="fe4cc296-ba7d-48a2-8799-89b58d218255" providerId="ADAL" clId="{388EFDEE-447E-42B4-98EF-30C01AB2E8CD}" dt="2022-03-28T17:57:11.326" v="2271" actId="21"/>
          <ac:spMkLst>
            <pc:docMk/>
            <pc:sldMk cId="0" sldId="261"/>
            <ac:spMk id="986" creationId="{00000000-0000-0000-0000-000000000000}"/>
          </ac:spMkLst>
        </pc:spChg>
        <pc:spChg chg="del">
          <ac:chgData name="Kebba Jeng" userId="fe4cc296-ba7d-48a2-8799-89b58d218255" providerId="ADAL" clId="{388EFDEE-447E-42B4-98EF-30C01AB2E8CD}" dt="2022-03-28T17:57:11.326" v="2271" actId="21"/>
          <ac:spMkLst>
            <pc:docMk/>
            <pc:sldMk cId="0" sldId="261"/>
            <ac:spMk id="987" creationId="{00000000-0000-0000-0000-000000000000}"/>
          </ac:spMkLst>
        </pc:spChg>
        <pc:spChg chg="del">
          <ac:chgData name="Kebba Jeng" userId="fe4cc296-ba7d-48a2-8799-89b58d218255" providerId="ADAL" clId="{388EFDEE-447E-42B4-98EF-30C01AB2E8CD}" dt="2022-03-28T17:57:11.326" v="2271" actId="21"/>
          <ac:spMkLst>
            <pc:docMk/>
            <pc:sldMk cId="0" sldId="261"/>
            <ac:spMk id="988" creationId="{00000000-0000-0000-0000-000000000000}"/>
          </ac:spMkLst>
        </pc:spChg>
        <pc:spChg chg="del">
          <ac:chgData name="Kebba Jeng" userId="fe4cc296-ba7d-48a2-8799-89b58d218255" providerId="ADAL" clId="{388EFDEE-447E-42B4-98EF-30C01AB2E8CD}" dt="2022-03-28T17:57:11.326" v="2271" actId="21"/>
          <ac:spMkLst>
            <pc:docMk/>
            <pc:sldMk cId="0" sldId="261"/>
            <ac:spMk id="989" creationId="{00000000-0000-0000-0000-000000000000}"/>
          </ac:spMkLst>
        </pc:spChg>
        <pc:spChg chg="del">
          <ac:chgData name="Kebba Jeng" userId="fe4cc296-ba7d-48a2-8799-89b58d218255" providerId="ADAL" clId="{388EFDEE-447E-42B4-98EF-30C01AB2E8CD}" dt="2022-03-28T17:57:11.326" v="2271" actId="21"/>
          <ac:spMkLst>
            <pc:docMk/>
            <pc:sldMk cId="0" sldId="261"/>
            <ac:spMk id="990" creationId="{00000000-0000-0000-0000-000000000000}"/>
          </ac:spMkLst>
        </pc:spChg>
        <pc:spChg chg="del">
          <ac:chgData name="Kebba Jeng" userId="fe4cc296-ba7d-48a2-8799-89b58d218255" providerId="ADAL" clId="{388EFDEE-447E-42B4-98EF-30C01AB2E8CD}" dt="2022-03-28T17:57:11.326" v="2271" actId="21"/>
          <ac:spMkLst>
            <pc:docMk/>
            <pc:sldMk cId="0" sldId="261"/>
            <ac:spMk id="991" creationId="{00000000-0000-0000-0000-000000000000}"/>
          </ac:spMkLst>
        </pc:spChg>
        <pc:spChg chg="del">
          <ac:chgData name="Kebba Jeng" userId="fe4cc296-ba7d-48a2-8799-89b58d218255" providerId="ADAL" clId="{388EFDEE-447E-42B4-98EF-30C01AB2E8CD}" dt="2022-03-28T17:57:11.326" v="2271" actId="21"/>
          <ac:spMkLst>
            <pc:docMk/>
            <pc:sldMk cId="0" sldId="261"/>
            <ac:spMk id="992" creationId="{00000000-0000-0000-0000-000000000000}"/>
          </ac:spMkLst>
        </pc:spChg>
        <pc:spChg chg="del">
          <ac:chgData name="Kebba Jeng" userId="fe4cc296-ba7d-48a2-8799-89b58d218255" providerId="ADAL" clId="{388EFDEE-447E-42B4-98EF-30C01AB2E8CD}" dt="2022-03-28T17:57:11.326" v="2271" actId="21"/>
          <ac:spMkLst>
            <pc:docMk/>
            <pc:sldMk cId="0" sldId="261"/>
            <ac:spMk id="993" creationId="{00000000-0000-0000-0000-000000000000}"/>
          </ac:spMkLst>
        </pc:spChg>
        <pc:spChg chg="del">
          <ac:chgData name="Kebba Jeng" userId="fe4cc296-ba7d-48a2-8799-89b58d218255" providerId="ADAL" clId="{388EFDEE-447E-42B4-98EF-30C01AB2E8CD}" dt="2022-03-28T17:57:11.326" v="2271" actId="21"/>
          <ac:spMkLst>
            <pc:docMk/>
            <pc:sldMk cId="0" sldId="261"/>
            <ac:spMk id="994" creationId="{00000000-0000-0000-0000-000000000000}"/>
          </ac:spMkLst>
        </pc:spChg>
        <pc:spChg chg="del">
          <ac:chgData name="Kebba Jeng" userId="fe4cc296-ba7d-48a2-8799-89b58d218255" providerId="ADAL" clId="{388EFDEE-447E-42B4-98EF-30C01AB2E8CD}" dt="2022-03-28T17:57:11.326" v="2271" actId="21"/>
          <ac:spMkLst>
            <pc:docMk/>
            <pc:sldMk cId="0" sldId="261"/>
            <ac:spMk id="995" creationId="{00000000-0000-0000-0000-000000000000}"/>
          </ac:spMkLst>
        </pc:spChg>
        <pc:spChg chg="del">
          <ac:chgData name="Kebba Jeng" userId="fe4cc296-ba7d-48a2-8799-89b58d218255" providerId="ADAL" clId="{388EFDEE-447E-42B4-98EF-30C01AB2E8CD}" dt="2022-03-28T17:57:11.326" v="2271" actId="21"/>
          <ac:spMkLst>
            <pc:docMk/>
            <pc:sldMk cId="0" sldId="261"/>
            <ac:spMk id="996" creationId="{00000000-0000-0000-0000-000000000000}"/>
          </ac:spMkLst>
        </pc:spChg>
        <pc:spChg chg="del">
          <ac:chgData name="Kebba Jeng" userId="fe4cc296-ba7d-48a2-8799-89b58d218255" providerId="ADAL" clId="{388EFDEE-447E-42B4-98EF-30C01AB2E8CD}" dt="2022-03-28T17:57:11.326" v="2271" actId="21"/>
          <ac:spMkLst>
            <pc:docMk/>
            <pc:sldMk cId="0" sldId="261"/>
            <ac:spMk id="997" creationId="{00000000-0000-0000-0000-000000000000}"/>
          </ac:spMkLst>
        </pc:spChg>
        <pc:spChg chg="del">
          <ac:chgData name="Kebba Jeng" userId="fe4cc296-ba7d-48a2-8799-89b58d218255" providerId="ADAL" clId="{388EFDEE-447E-42B4-98EF-30C01AB2E8CD}" dt="2022-03-28T17:57:11.326" v="2271" actId="21"/>
          <ac:spMkLst>
            <pc:docMk/>
            <pc:sldMk cId="0" sldId="261"/>
            <ac:spMk id="998" creationId="{00000000-0000-0000-0000-000000000000}"/>
          </ac:spMkLst>
        </pc:spChg>
        <pc:spChg chg="del">
          <ac:chgData name="Kebba Jeng" userId="fe4cc296-ba7d-48a2-8799-89b58d218255" providerId="ADAL" clId="{388EFDEE-447E-42B4-98EF-30C01AB2E8CD}" dt="2022-03-28T17:57:11.326" v="2271" actId="21"/>
          <ac:spMkLst>
            <pc:docMk/>
            <pc:sldMk cId="0" sldId="261"/>
            <ac:spMk id="999" creationId="{00000000-0000-0000-0000-000000000000}"/>
          </ac:spMkLst>
        </pc:spChg>
        <pc:spChg chg="del">
          <ac:chgData name="Kebba Jeng" userId="fe4cc296-ba7d-48a2-8799-89b58d218255" providerId="ADAL" clId="{388EFDEE-447E-42B4-98EF-30C01AB2E8CD}" dt="2022-03-28T17:57:11.326" v="2271" actId="21"/>
          <ac:spMkLst>
            <pc:docMk/>
            <pc:sldMk cId="0" sldId="261"/>
            <ac:spMk id="1000" creationId="{00000000-0000-0000-0000-000000000000}"/>
          </ac:spMkLst>
        </pc:spChg>
        <pc:spChg chg="del">
          <ac:chgData name="Kebba Jeng" userId="fe4cc296-ba7d-48a2-8799-89b58d218255" providerId="ADAL" clId="{388EFDEE-447E-42B4-98EF-30C01AB2E8CD}" dt="2022-03-28T17:57:11.326" v="2271" actId="21"/>
          <ac:spMkLst>
            <pc:docMk/>
            <pc:sldMk cId="0" sldId="261"/>
            <ac:spMk id="1001" creationId="{00000000-0000-0000-0000-000000000000}"/>
          </ac:spMkLst>
        </pc:spChg>
        <pc:spChg chg="del">
          <ac:chgData name="Kebba Jeng" userId="fe4cc296-ba7d-48a2-8799-89b58d218255" providerId="ADAL" clId="{388EFDEE-447E-42B4-98EF-30C01AB2E8CD}" dt="2022-03-28T17:57:11.326" v="2271" actId="21"/>
          <ac:spMkLst>
            <pc:docMk/>
            <pc:sldMk cId="0" sldId="261"/>
            <ac:spMk id="1002" creationId="{00000000-0000-0000-0000-000000000000}"/>
          </ac:spMkLst>
        </pc:spChg>
        <pc:spChg chg="del">
          <ac:chgData name="Kebba Jeng" userId="fe4cc296-ba7d-48a2-8799-89b58d218255" providerId="ADAL" clId="{388EFDEE-447E-42B4-98EF-30C01AB2E8CD}" dt="2022-03-28T17:57:11.326" v="2271" actId="21"/>
          <ac:spMkLst>
            <pc:docMk/>
            <pc:sldMk cId="0" sldId="261"/>
            <ac:spMk id="1003" creationId="{00000000-0000-0000-0000-000000000000}"/>
          </ac:spMkLst>
        </pc:spChg>
        <pc:spChg chg="del">
          <ac:chgData name="Kebba Jeng" userId="fe4cc296-ba7d-48a2-8799-89b58d218255" providerId="ADAL" clId="{388EFDEE-447E-42B4-98EF-30C01AB2E8CD}" dt="2022-03-28T17:57:11.326" v="2271" actId="21"/>
          <ac:spMkLst>
            <pc:docMk/>
            <pc:sldMk cId="0" sldId="261"/>
            <ac:spMk id="1004" creationId="{00000000-0000-0000-0000-000000000000}"/>
          </ac:spMkLst>
        </pc:spChg>
        <pc:spChg chg="del">
          <ac:chgData name="Kebba Jeng" userId="fe4cc296-ba7d-48a2-8799-89b58d218255" providerId="ADAL" clId="{388EFDEE-447E-42B4-98EF-30C01AB2E8CD}" dt="2022-03-28T17:57:11.326" v="2271" actId="21"/>
          <ac:spMkLst>
            <pc:docMk/>
            <pc:sldMk cId="0" sldId="261"/>
            <ac:spMk id="1005" creationId="{00000000-0000-0000-0000-000000000000}"/>
          </ac:spMkLst>
        </pc:spChg>
        <pc:spChg chg="del">
          <ac:chgData name="Kebba Jeng" userId="fe4cc296-ba7d-48a2-8799-89b58d218255" providerId="ADAL" clId="{388EFDEE-447E-42B4-98EF-30C01AB2E8CD}" dt="2022-03-28T17:57:11.326" v="2271" actId="21"/>
          <ac:spMkLst>
            <pc:docMk/>
            <pc:sldMk cId="0" sldId="261"/>
            <ac:spMk id="1006" creationId="{00000000-0000-0000-0000-000000000000}"/>
          </ac:spMkLst>
        </pc:spChg>
        <pc:spChg chg="del">
          <ac:chgData name="Kebba Jeng" userId="fe4cc296-ba7d-48a2-8799-89b58d218255" providerId="ADAL" clId="{388EFDEE-447E-42B4-98EF-30C01AB2E8CD}" dt="2022-03-28T17:57:11.326" v="2271" actId="21"/>
          <ac:spMkLst>
            <pc:docMk/>
            <pc:sldMk cId="0" sldId="261"/>
            <ac:spMk id="1007" creationId="{00000000-0000-0000-0000-000000000000}"/>
          </ac:spMkLst>
        </pc:spChg>
        <pc:spChg chg="del">
          <ac:chgData name="Kebba Jeng" userId="fe4cc296-ba7d-48a2-8799-89b58d218255" providerId="ADAL" clId="{388EFDEE-447E-42B4-98EF-30C01AB2E8CD}" dt="2022-03-28T17:57:11.326" v="2271" actId="21"/>
          <ac:spMkLst>
            <pc:docMk/>
            <pc:sldMk cId="0" sldId="261"/>
            <ac:spMk id="1008" creationId="{00000000-0000-0000-0000-000000000000}"/>
          </ac:spMkLst>
        </pc:spChg>
        <pc:spChg chg="del">
          <ac:chgData name="Kebba Jeng" userId="fe4cc296-ba7d-48a2-8799-89b58d218255" providerId="ADAL" clId="{388EFDEE-447E-42B4-98EF-30C01AB2E8CD}" dt="2022-03-28T17:57:11.326" v="2271" actId="21"/>
          <ac:spMkLst>
            <pc:docMk/>
            <pc:sldMk cId="0" sldId="261"/>
            <ac:spMk id="1009" creationId="{00000000-0000-0000-0000-000000000000}"/>
          </ac:spMkLst>
        </pc:spChg>
        <pc:spChg chg="del">
          <ac:chgData name="Kebba Jeng" userId="fe4cc296-ba7d-48a2-8799-89b58d218255" providerId="ADAL" clId="{388EFDEE-447E-42B4-98EF-30C01AB2E8CD}" dt="2022-03-28T17:57:11.326" v="2271" actId="21"/>
          <ac:spMkLst>
            <pc:docMk/>
            <pc:sldMk cId="0" sldId="261"/>
            <ac:spMk id="1010" creationId="{00000000-0000-0000-0000-000000000000}"/>
          </ac:spMkLst>
        </pc:spChg>
        <pc:spChg chg="del">
          <ac:chgData name="Kebba Jeng" userId="fe4cc296-ba7d-48a2-8799-89b58d218255" providerId="ADAL" clId="{388EFDEE-447E-42B4-98EF-30C01AB2E8CD}" dt="2022-03-28T17:57:11.326" v="2271" actId="21"/>
          <ac:spMkLst>
            <pc:docMk/>
            <pc:sldMk cId="0" sldId="261"/>
            <ac:spMk id="1011" creationId="{00000000-0000-0000-0000-000000000000}"/>
          </ac:spMkLst>
        </pc:spChg>
        <pc:spChg chg="del">
          <ac:chgData name="Kebba Jeng" userId="fe4cc296-ba7d-48a2-8799-89b58d218255" providerId="ADAL" clId="{388EFDEE-447E-42B4-98EF-30C01AB2E8CD}" dt="2022-03-28T17:57:11.326" v="2271" actId="21"/>
          <ac:spMkLst>
            <pc:docMk/>
            <pc:sldMk cId="0" sldId="261"/>
            <ac:spMk id="1012" creationId="{00000000-0000-0000-0000-000000000000}"/>
          </ac:spMkLst>
        </pc:spChg>
        <pc:spChg chg="del">
          <ac:chgData name="Kebba Jeng" userId="fe4cc296-ba7d-48a2-8799-89b58d218255" providerId="ADAL" clId="{388EFDEE-447E-42B4-98EF-30C01AB2E8CD}" dt="2022-03-28T17:57:11.326" v="2271" actId="21"/>
          <ac:spMkLst>
            <pc:docMk/>
            <pc:sldMk cId="0" sldId="261"/>
            <ac:spMk id="1013" creationId="{00000000-0000-0000-0000-000000000000}"/>
          </ac:spMkLst>
        </pc:spChg>
        <pc:spChg chg="del">
          <ac:chgData name="Kebba Jeng" userId="fe4cc296-ba7d-48a2-8799-89b58d218255" providerId="ADAL" clId="{388EFDEE-447E-42B4-98EF-30C01AB2E8CD}" dt="2022-03-28T17:57:11.326" v="2271" actId="21"/>
          <ac:spMkLst>
            <pc:docMk/>
            <pc:sldMk cId="0" sldId="261"/>
            <ac:spMk id="1014" creationId="{00000000-0000-0000-0000-000000000000}"/>
          </ac:spMkLst>
        </pc:spChg>
        <pc:spChg chg="del">
          <ac:chgData name="Kebba Jeng" userId="fe4cc296-ba7d-48a2-8799-89b58d218255" providerId="ADAL" clId="{388EFDEE-447E-42B4-98EF-30C01AB2E8CD}" dt="2022-03-28T17:57:11.326" v="2271" actId="21"/>
          <ac:spMkLst>
            <pc:docMk/>
            <pc:sldMk cId="0" sldId="261"/>
            <ac:spMk id="1015" creationId="{00000000-0000-0000-0000-000000000000}"/>
          </ac:spMkLst>
        </pc:spChg>
        <pc:spChg chg="del">
          <ac:chgData name="Kebba Jeng" userId="fe4cc296-ba7d-48a2-8799-89b58d218255" providerId="ADAL" clId="{388EFDEE-447E-42B4-98EF-30C01AB2E8CD}" dt="2022-03-28T17:57:11.326" v="2271" actId="21"/>
          <ac:spMkLst>
            <pc:docMk/>
            <pc:sldMk cId="0" sldId="261"/>
            <ac:spMk id="1016" creationId="{00000000-0000-0000-0000-000000000000}"/>
          </ac:spMkLst>
        </pc:spChg>
        <pc:spChg chg="del">
          <ac:chgData name="Kebba Jeng" userId="fe4cc296-ba7d-48a2-8799-89b58d218255" providerId="ADAL" clId="{388EFDEE-447E-42B4-98EF-30C01AB2E8CD}" dt="2022-03-28T17:57:11.326" v="2271" actId="21"/>
          <ac:spMkLst>
            <pc:docMk/>
            <pc:sldMk cId="0" sldId="261"/>
            <ac:spMk id="1017" creationId="{00000000-0000-0000-0000-000000000000}"/>
          </ac:spMkLst>
        </pc:spChg>
        <pc:spChg chg="del">
          <ac:chgData name="Kebba Jeng" userId="fe4cc296-ba7d-48a2-8799-89b58d218255" providerId="ADAL" clId="{388EFDEE-447E-42B4-98EF-30C01AB2E8CD}" dt="2022-03-28T17:57:11.326" v="2271" actId="21"/>
          <ac:spMkLst>
            <pc:docMk/>
            <pc:sldMk cId="0" sldId="261"/>
            <ac:spMk id="1018" creationId="{00000000-0000-0000-0000-000000000000}"/>
          </ac:spMkLst>
        </pc:spChg>
        <pc:spChg chg="del">
          <ac:chgData name="Kebba Jeng" userId="fe4cc296-ba7d-48a2-8799-89b58d218255" providerId="ADAL" clId="{388EFDEE-447E-42B4-98EF-30C01AB2E8CD}" dt="2022-03-28T17:57:11.326" v="2271" actId="21"/>
          <ac:spMkLst>
            <pc:docMk/>
            <pc:sldMk cId="0" sldId="261"/>
            <ac:spMk id="1019" creationId="{00000000-0000-0000-0000-000000000000}"/>
          </ac:spMkLst>
        </pc:spChg>
        <pc:spChg chg="del">
          <ac:chgData name="Kebba Jeng" userId="fe4cc296-ba7d-48a2-8799-89b58d218255" providerId="ADAL" clId="{388EFDEE-447E-42B4-98EF-30C01AB2E8CD}" dt="2022-03-28T17:57:11.326" v="2271" actId="21"/>
          <ac:spMkLst>
            <pc:docMk/>
            <pc:sldMk cId="0" sldId="261"/>
            <ac:spMk id="1020" creationId="{00000000-0000-0000-0000-000000000000}"/>
          </ac:spMkLst>
        </pc:spChg>
        <pc:spChg chg="del">
          <ac:chgData name="Kebba Jeng" userId="fe4cc296-ba7d-48a2-8799-89b58d218255" providerId="ADAL" clId="{388EFDEE-447E-42B4-98EF-30C01AB2E8CD}" dt="2022-03-28T17:57:11.326" v="2271" actId="21"/>
          <ac:spMkLst>
            <pc:docMk/>
            <pc:sldMk cId="0" sldId="261"/>
            <ac:spMk id="1021" creationId="{00000000-0000-0000-0000-000000000000}"/>
          </ac:spMkLst>
        </pc:spChg>
        <pc:spChg chg="del">
          <ac:chgData name="Kebba Jeng" userId="fe4cc296-ba7d-48a2-8799-89b58d218255" providerId="ADAL" clId="{388EFDEE-447E-42B4-98EF-30C01AB2E8CD}" dt="2022-03-28T17:57:11.326" v="2271" actId="21"/>
          <ac:spMkLst>
            <pc:docMk/>
            <pc:sldMk cId="0" sldId="261"/>
            <ac:spMk id="1022" creationId="{00000000-0000-0000-0000-000000000000}"/>
          </ac:spMkLst>
        </pc:spChg>
        <pc:spChg chg="del">
          <ac:chgData name="Kebba Jeng" userId="fe4cc296-ba7d-48a2-8799-89b58d218255" providerId="ADAL" clId="{388EFDEE-447E-42B4-98EF-30C01AB2E8CD}" dt="2022-03-28T17:57:11.326" v="2271" actId="21"/>
          <ac:spMkLst>
            <pc:docMk/>
            <pc:sldMk cId="0" sldId="261"/>
            <ac:spMk id="1023" creationId="{00000000-0000-0000-0000-000000000000}"/>
          </ac:spMkLst>
        </pc:spChg>
        <pc:spChg chg="del">
          <ac:chgData name="Kebba Jeng" userId="fe4cc296-ba7d-48a2-8799-89b58d218255" providerId="ADAL" clId="{388EFDEE-447E-42B4-98EF-30C01AB2E8CD}" dt="2022-03-28T17:57:11.326" v="2271" actId="21"/>
          <ac:spMkLst>
            <pc:docMk/>
            <pc:sldMk cId="0" sldId="261"/>
            <ac:spMk id="1024" creationId="{00000000-0000-0000-0000-000000000000}"/>
          </ac:spMkLst>
        </pc:spChg>
        <pc:spChg chg="del">
          <ac:chgData name="Kebba Jeng" userId="fe4cc296-ba7d-48a2-8799-89b58d218255" providerId="ADAL" clId="{388EFDEE-447E-42B4-98EF-30C01AB2E8CD}" dt="2022-03-28T17:57:11.326" v="2271" actId="21"/>
          <ac:spMkLst>
            <pc:docMk/>
            <pc:sldMk cId="0" sldId="261"/>
            <ac:spMk id="1025" creationId="{00000000-0000-0000-0000-000000000000}"/>
          </ac:spMkLst>
        </pc:spChg>
        <pc:spChg chg="del">
          <ac:chgData name="Kebba Jeng" userId="fe4cc296-ba7d-48a2-8799-89b58d218255" providerId="ADAL" clId="{388EFDEE-447E-42B4-98EF-30C01AB2E8CD}" dt="2022-03-28T17:57:11.326" v="2271" actId="21"/>
          <ac:spMkLst>
            <pc:docMk/>
            <pc:sldMk cId="0" sldId="261"/>
            <ac:spMk id="1026" creationId="{00000000-0000-0000-0000-000000000000}"/>
          </ac:spMkLst>
        </pc:spChg>
        <pc:spChg chg="del">
          <ac:chgData name="Kebba Jeng" userId="fe4cc296-ba7d-48a2-8799-89b58d218255" providerId="ADAL" clId="{388EFDEE-447E-42B4-98EF-30C01AB2E8CD}" dt="2022-03-28T17:57:11.326" v="2271" actId="21"/>
          <ac:spMkLst>
            <pc:docMk/>
            <pc:sldMk cId="0" sldId="261"/>
            <ac:spMk id="1027" creationId="{00000000-0000-0000-0000-000000000000}"/>
          </ac:spMkLst>
        </pc:spChg>
        <pc:spChg chg="del">
          <ac:chgData name="Kebba Jeng" userId="fe4cc296-ba7d-48a2-8799-89b58d218255" providerId="ADAL" clId="{388EFDEE-447E-42B4-98EF-30C01AB2E8CD}" dt="2022-03-28T17:57:11.326" v="2271" actId="21"/>
          <ac:spMkLst>
            <pc:docMk/>
            <pc:sldMk cId="0" sldId="261"/>
            <ac:spMk id="1028" creationId="{00000000-0000-0000-0000-000000000000}"/>
          </ac:spMkLst>
        </pc:spChg>
        <pc:spChg chg="del">
          <ac:chgData name="Kebba Jeng" userId="fe4cc296-ba7d-48a2-8799-89b58d218255" providerId="ADAL" clId="{388EFDEE-447E-42B4-98EF-30C01AB2E8CD}" dt="2022-03-28T17:57:11.326" v="2271" actId="21"/>
          <ac:spMkLst>
            <pc:docMk/>
            <pc:sldMk cId="0" sldId="261"/>
            <ac:spMk id="1029" creationId="{00000000-0000-0000-0000-000000000000}"/>
          </ac:spMkLst>
        </pc:spChg>
        <pc:spChg chg="del">
          <ac:chgData name="Kebba Jeng" userId="fe4cc296-ba7d-48a2-8799-89b58d218255" providerId="ADAL" clId="{388EFDEE-447E-42B4-98EF-30C01AB2E8CD}" dt="2022-03-28T17:57:11.326" v="2271" actId="21"/>
          <ac:spMkLst>
            <pc:docMk/>
            <pc:sldMk cId="0" sldId="261"/>
            <ac:spMk id="1030" creationId="{00000000-0000-0000-0000-000000000000}"/>
          </ac:spMkLst>
        </pc:spChg>
        <pc:spChg chg="del">
          <ac:chgData name="Kebba Jeng" userId="fe4cc296-ba7d-48a2-8799-89b58d218255" providerId="ADAL" clId="{388EFDEE-447E-42B4-98EF-30C01AB2E8CD}" dt="2022-03-28T17:57:11.326" v="2271" actId="21"/>
          <ac:spMkLst>
            <pc:docMk/>
            <pc:sldMk cId="0" sldId="261"/>
            <ac:spMk id="1031" creationId="{00000000-0000-0000-0000-000000000000}"/>
          </ac:spMkLst>
        </pc:spChg>
        <pc:spChg chg="del">
          <ac:chgData name="Kebba Jeng" userId="fe4cc296-ba7d-48a2-8799-89b58d218255" providerId="ADAL" clId="{388EFDEE-447E-42B4-98EF-30C01AB2E8CD}" dt="2022-03-28T17:57:11.326" v="2271" actId="21"/>
          <ac:spMkLst>
            <pc:docMk/>
            <pc:sldMk cId="0" sldId="261"/>
            <ac:spMk id="1032" creationId="{00000000-0000-0000-0000-000000000000}"/>
          </ac:spMkLst>
        </pc:spChg>
        <pc:spChg chg="del">
          <ac:chgData name="Kebba Jeng" userId="fe4cc296-ba7d-48a2-8799-89b58d218255" providerId="ADAL" clId="{388EFDEE-447E-42B4-98EF-30C01AB2E8CD}" dt="2022-03-28T17:57:11.326" v="2271" actId="21"/>
          <ac:spMkLst>
            <pc:docMk/>
            <pc:sldMk cId="0" sldId="261"/>
            <ac:spMk id="1033" creationId="{00000000-0000-0000-0000-000000000000}"/>
          </ac:spMkLst>
        </pc:spChg>
        <pc:spChg chg="del">
          <ac:chgData name="Kebba Jeng" userId="fe4cc296-ba7d-48a2-8799-89b58d218255" providerId="ADAL" clId="{388EFDEE-447E-42B4-98EF-30C01AB2E8CD}" dt="2022-03-28T17:57:11.326" v="2271" actId="21"/>
          <ac:spMkLst>
            <pc:docMk/>
            <pc:sldMk cId="0" sldId="261"/>
            <ac:spMk id="1034" creationId="{00000000-0000-0000-0000-000000000000}"/>
          </ac:spMkLst>
        </pc:spChg>
        <pc:spChg chg="del">
          <ac:chgData name="Kebba Jeng" userId="fe4cc296-ba7d-48a2-8799-89b58d218255" providerId="ADAL" clId="{388EFDEE-447E-42B4-98EF-30C01AB2E8CD}" dt="2022-03-28T17:57:11.326" v="2271" actId="21"/>
          <ac:spMkLst>
            <pc:docMk/>
            <pc:sldMk cId="0" sldId="261"/>
            <ac:spMk id="1035" creationId="{00000000-0000-0000-0000-000000000000}"/>
          </ac:spMkLst>
        </pc:spChg>
        <pc:spChg chg="del">
          <ac:chgData name="Kebba Jeng" userId="fe4cc296-ba7d-48a2-8799-89b58d218255" providerId="ADAL" clId="{388EFDEE-447E-42B4-98EF-30C01AB2E8CD}" dt="2022-03-28T17:57:11.326" v="2271" actId="21"/>
          <ac:spMkLst>
            <pc:docMk/>
            <pc:sldMk cId="0" sldId="261"/>
            <ac:spMk id="1036" creationId="{00000000-0000-0000-0000-000000000000}"/>
          </ac:spMkLst>
        </pc:spChg>
        <pc:spChg chg="del">
          <ac:chgData name="Kebba Jeng" userId="fe4cc296-ba7d-48a2-8799-89b58d218255" providerId="ADAL" clId="{388EFDEE-447E-42B4-98EF-30C01AB2E8CD}" dt="2022-03-28T17:57:11.326" v="2271" actId="21"/>
          <ac:spMkLst>
            <pc:docMk/>
            <pc:sldMk cId="0" sldId="261"/>
            <ac:spMk id="1037" creationId="{00000000-0000-0000-0000-000000000000}"/>
          </ac:spMkLst>
        </pc:spChg>
        <pc:spChg chg="del">
          <ac:chgData name="Kebba Jeng" userId="fe4cc296-ba7d-48a2-8799-89b58d218255" providerId="ADAL" clId="{388EFDEE-447E-42B4-98EF-30C01AB2E8CD}" dt="2022-03-28T17:57:11.326" v="2271" actId="21"/>
          <ac:spMkLst>
            <pc:docMk/>
            <pc:sldMk cId="0" sldId="261"/>
            <ac:spMk id="1038" creationId="{00000000-0000-0000-0000-000000000000}"/>
          </ac:spMkLst>
        </pc:spChg>
        <pc:spChg chg="del">
          <ac:chgData name="Kebba Jeng" userId="fe4cc296-ba7d-48a2-8799-89b58d218255" providerId="ADAL" clId="{388EFDEE-447E-42B4-98EF-30C01AB2E8CD}" dt="2022-03-28T17:57:11.326" v="2271" actId="21"/>
          <ac:spMkLst>
            <pc:docMk/>
            <pc:sldMk cId="0" sldId="261"/>
            <ac:spMk id="1039" creationId="{00000000-0000-0000-0000-000000000000}"/>
          </ac:spMkLst>
        </pc:spChg>
        <pc:spChg chg="del">
          <ac:chgData name="Kebba Jeng" userId="fe4cc296-ba7d-48a2-8799-89b58d218255" providerId="ADAL" clId="{388EFDEE-447E-42B4-98EF-30C01AB2E8CD}" dt="2022-03-28T17:57:11.326" v="2271" actId="21"/>
          <ac:spMkLst>
            <pc:docMk/>
            <pc:sldMk cId="0" sldId="261"/>
            <ac:spMk id="1040" creationId="{00000000-0000-0000-0000-000000000000}"/>
          </ac:spMkLst>
        </pc:spChg>
        <pc:spChg chg="del">
          <ac:chgData name="Kebba Jeng" userId="fe4cc296-ba7d-48a2-8799-89b58d218255" providerId="ADAL" clId="{388EFDEE-447E-42B4-98EF-30C01AB2E8CD}" dt="2022-03-28T17:57:11.326" v="2271" actId="21"/>
          <ac:spMkLst>
            <pc:docMk/>
            <pc:sldMk cId="0" sldId="261"/>
            <ac:spMk id="1041" creationId="{00000000-0000-0000-0000-000000000000}"/>
          </ac:spMkLst>
        </pc:spChg>
        <pc:spChg chg="del">
          <ac:chgData name="Kebba Jeng" userId="fe4cc296-ba7d-48a2-8799-89b58d218255" providerId="ADAL" clId="{388EFDEE-447E-42B4-98EF-30C01AB2E8CD}" dt="2022-03-28T17:57:11.326" v="2271" actId="21"/>
          <ac:spMkLst>
            <pc:docMk/>
            <pc:sldMk cId="0" sldId="261"/>
            <ac:spMk id="1042" creationId="{00000000-0000-0000-0000-000000000000}"/>
          </ac:spMkLst>
        </pc:spChg>
        <pc:spChg chg="del">
          <ac:chgData name="Kebba Jeng" userId="fe4cc296-ba7d-48a2-8799-89b58d218255" providerId="ADAL" clId="{388EFDEE-447E-42B4-98EF-30C01AB2E8CD}" dt="2022-03-28T17:57:11.326" v="2271" actId="21"/>
          <ac:spMkLst>
            <pc:docMk/>
            <pc:sldMk cId="0" sldId="261"/>
            <ac:spMk id="1043" creationId="{00000000-0000-0000-0000-000000000000}"/>
          </ac:spMkLst>
        </pc:spChg>
        <pc:spChg chg="del">
          <ac:chgData name="Kebba Jeng" userId="fe4cc296-ba7d-48a2-8799-89b58d218255" providerId="ADAL" clId="{388EFDEE-447E-42B4-98EF-30C01AB2E8CD}" dt="2022-03-28T17:57:11.326" v="2271" actId="21"/>
          <ac:spMkLst>
            <pc:docMk/>
            <pc:sldMk cId="0" sldId="261"/>
            <ac:spMk id="1044" creationId="{00000000-0000-0000-0000-000000000000}"/>
          </ac:spMkLst>
        </pc:spChg>
        <pc:spChg chg="del">
          <ac:chgData name="Kebba Jeng" userId="fe4cc296-ba7d-48a2-8799-89b58d218255" providerId="ADAL" clId="{388EFDEE-447E-42B4-98EF-30C01AB2E8CD}" dt="2022-03-28T17:57:11.326" v="2271" actId="21"/>
          <ac:spMkLst>
            <pc:docMk/>
            <pc:sldMk cId="0" sldId="261"/>
            <ac:spMk id="1045" creationId="{00000000-0000-0000-0000-000000000000}"/>
          </ac:spMkLst>
        </pc:spChg>
        <pc:spChg chg="del">
          <ac:chgData name="Kebba Jeng" userId="fe4cc296-ba7d-48a2-8799-89b58d218255" providerId="ADAL" clId="{388EFDEE-447E-42B4-98EF-30C01AB2E8CD}" dt="2022-03-28T17:57:11.326" v="2271" actId="21"/>
          <ac:spMkLst>
            <pc:docMk/>
            <pc:sldMk cId="0" sldId="261"/>
            <ac:spMk id="1046" creationId="{00000000-0000-0000-0000-000000000000}"/>
          </ac:spMkLst>
        </pc:spChg>
        <pc:spChg chg="del">
          <ac:chgData name="Kebba Jeng" userId="fe4cc296-ba7d-48a2-8799-89b58d218255" providerId="ADAL" clId="{388EFDEE-447E-42B4-98EF-30C01AB2E8CD}" dt="2022-03-28T17:57:11.326" v="2271" actId="21"/>
          <ac:spMkLst>
            <pc:docMk/>
            <pc:sldMk cId="0" sldId="261"/>
            <ac:spMk id="1047" creationId="{00000000-0000-0000-0000-000000000000}"/>
          </ac:spMkLst>
        </pc:spChg>
        <pc:spChg chg="del">
          <ac:chgData name="Kebba Jeng" userId="fe4cc296-ba7d-48a2-8799-89b58d218255" providerId="ADAL" clId="{388EFDEE-447E-42B4-98EF-30C01AB2E8CD}" dt="2022-03-28T17:57:11.326" v="2271" actId="21"/>
          <ac:spMkLst>
            <pc:docMk/>
            <pc:sldMk cId="0" sldId="261"/>
            <ac:spMk id="1048" creationId="{00000000-0000-0000-0000-000000000000}"/>
          </ac:spMkLst>
        </pc:spChg>
        <pc:spChg chg="del">
          <ac:chgData name="Kebba Jeng" userId="fe4cc296-ba7d-48a2-8799-89b58d218255" providerId="ADAL" clId="{388EFDEE-447E-42B4-98EF-30C01AB2E8CD}" dt="2022-03-28T17:57:11.326" v="2271" actId="21"/>
          <ac:spMkLst>
            <pc:docMk/>
            <pc:sldMk cId="0" sldId="261"/>
            <ac:spMk id="1049" creationId="{00000000-0000-0000-0000-000000000000}"/>
          </ac:spMkLst>
        </pc:spChg>
        <pc:spChg chg="del">
          <ac:chgData name="Kebba Jeng" userId="fe4cc296-ba7d-48a2-8799-89b58d218255" providerId="ADAL" clId="{388EFDEE-447E-42B4-98EF-30C01AB2E8CD}" dt="2022-03-28T17:57:11.326" v="2271" actId="21"/>
          <ac:spMkLst>
            <pc:docMk/>
            <pc:sldMk cId="0" sldId="261"/>
            <ac:spMk id="1050" creationId="{00000000-0000-0000-0000-000000000000}"/>
          </ac:spMkLst>
        </pc:spChg>
        <pc:spChg chg="del">
          <ac:chgData name="Kebba Jeng" userId="fe4cc296-ba7d-48a2-8799-89b58d218255" providerId="ADAL" clId="{388EFDEE-447E-42B4-98EF-30C01AB2E8CD}" dt="2022-03-28T17:57:11.326" v="2271" actId="21"/>
          <ac:spMkLst>
            <pc:docMk/>
            <pc:sldMk cId="0" sldId="261"/>
            <ac:spMk id="1051" creationId="{00000000-0000-0000-0000-000000000000}"/>
          </ac:spMkLst>
        </pc:spChg>
        <pc:spChg chg="del">
          <ac:chgData name="Kebba Jeng" userId="fe4cc296-ba7d-48a2-8799-89b58d218255" providerId="ADAL" clId="{388EFDEE-447E-42B4-98EF-30C01AB2E8CD}" dt="2022-03-28T17:57:11.326" v="2271" actId="21"/>
          <ac:spMkLst>
            <pc:docMk/>
            <pc:sldMk cId="0" sldId="261"/>
            <ac:spMk id="1052" creationId="{00000000-0000-0000-0000-000000000000}"/>
          </ac:spMkLst>
        </pc:spChg>
        <pc:spChg chg="del">
          <ac:chgData name="Kebba Jeng" userId="fe4cc296-ba7d-48a2-8799-89b58d218255" providerId="ADAL" clId="{388EFDEE-447E-42B4-98EF-30C01AB2E8CD}" dt="2022-03-28T17:57:11.326" v="2271" actId="21"/>
          <ac:spMkLst>
            <pc:docMk/>
            <pc:sldMk cId="0" sldId="261"/>
            <ac:spMk id="1053" creationId="{00000000-0000-0000-0000-000000000000}"/>
          </ac:spMkLst>
        </pc:spChg>
        <pc:spChg chg="del">
          <ac:chgData name="Kebba Jeng" userId="fe4cc296-ba7d-48a2-8799-89b58d218255" providerId="ADAL" clId="{388EFDEE-447E-42B4-98EF-30C01AB2E8CD}" dt="2022-03-28T17:57:11.326" v="2271" actId="21"/>
          <ac:spMkLst>
            <pc:docMk/>
            <pc:sldMk cId="0" sldId="261"/>
            <ac:spMk id="1054" creationId="{00000000-0000-0000-0000-000000000000}"/>
          </ac:spMkLst>
        </pc:spChg>
        <pc:spChg chg="del">
          <ac:chgData name="Kebba Jeng" userId="fe4cc296-ba7d-48a2-8799-89b58d218255" providerId="ADAL" clId="{388EFDEE-447E-42B4-98EF-30C01AB2E8CD}" dt="2022-03-28T17:57:11.326" v="2271" actId="21"/>
          <ac:spMkLst>
            <pc:docMk/>
            <pc:sldMk cId="0" sldId="261"/>
            <ac:spMk id="1055" creationId="{00000000-0000-0000-0000-000000000000}"/>
          </ac:spMkLst>
        </pc:spChg>
        <pc:spChg chg="del">
          <ac:chgData name="Kebba Jeng" userId="fe4cc296-ba7d-48a2-8799-89b58d218255" providerId="ADAL" clId="{388EFDEE-447E-42B4-98EF-30C01AB2E8CD}" dt="2022-03-28T17:57:11.326" v="2271" actId="21"/>
          <ac:spMkLst>
            <pc:docMk/>
            <pc:sldMk cId="0" sldId="261"/>
            <ac:spMk id="1056" creationId="{00000000-0000-0000-0000-000000000000}"/>
          </ac:spMkLst>
        </pc:spChg>
        <pc:spChg chg="del">
          <ac:chgData name="Kebba Jeng" userId="fe4cc296-ba7d-48a2-8799-89b58d218255" providerId="ADAL" clId="{388EFDEE-447E-42B4-98EF-30C01AB2E8CD}" dt="2022-03-28T17:57:11.326" v="2271" actId="21"/>
          <ac:spMkLst>
            <pc:docMk/>
            <pc:sldMk cId="0" sldId="261"/>
            <ac:spMk id="1057" creationId="{00000000-0000-0000-0000-000000000000}"/>
          </ac:spMkLst>
        </pc:spChg>
        <pc:spChg chg="del">
          <ac:chgData name="Kebba Jeng" userId="fe4cc296-ba7d-48a2-8799-89b58d218255" providerId="ADAL" clId="{388EFDEE-447E-42B4-98EF-30C01AB2E8CD}" dt="2022-03-28T17:57:11.326" v="2271" actId="21"/>
          <ac:spMkLst>
            <pc:docMk/>
            <pc:sldMk cId="0" sldId="261"/>
            <ac:spMk id="1058" creationId="{00000000-0000-0000-0000-000000000000}"/>
          </ac:spMkLst>
        </pc:spChg>
        <pc:spChg chg="del">
          <ac:chgData name="Kebba Jeng" userId="fe4cc296-ba7d-48a2-8799-89b58d218255" providerId="ADAL" clId="{388EFDEE-447E-42B4-98EF-30C01AB2E8CD}" dt="2022-03-28T17:57:11.326" v="2271" actId="21"/>
          <ac:spMkLst>
            <pc:docMk/>
            <pc:sldMk cId="0" sldId="261"/>
            <ac:spMk id="1059" creationId="{00000000-0000-0000-0000-000000000000}"/>
          </ac:spMkLst>
        </pc:spChg>
        <pc:spChg chg="del">
          <ac:chgData name="Kebba Jeng" userId="fe4cc296-ba7d-48a2-8799-89b58d218255" providerId="ADAL" clId="{388EFDEE-447E-42B4-98EF-30C01AB2E8CD}" dt="2022-03-28T17:57:11.326" v="2271" actId="21"/>
          <ac:spMkLst>
            <pc:docMk/>
            <pc:sldMk cId="0" sldId="261"/>
            <ac:spMk id="1060" creationId="{00000000-0000-0000-0000-000000000000}"/>
          </ac:spMkLst>
        </pc:spChg>
        <pc:spChg chg="del">
          <ac:chgData name="Kebba Jeng" userId="fe4cc296-ba7d-48a2-8799-89b58d218255" providerId="ADAL" clId="{388EFDEE-447E-42B4-98EF-30C01AB2E8CD}" dt="2022-03-28T17:57:11.326" v="2271" actId="21"/>
          <ac:spMkLst>
            <pc:docMk/>
            <pc:sldMk cId="0" sldId="261"/>
            <ac:spMk id="1061" creationId="{00000000-0000-0000-0000-000000000000}"/>
          </ac:spMkLst>
        </pc:spChg>
        <pc:spChg chg="del">
          <ac:chgData name="Kebba Jeng" userId="fe4cc296-ba7d-48a2-8799-89b58d218255" providerId="ADAL" clId="{388EFDEE-447E-42B4-98EF-30C01AB2E8CD}" dt="2022-03-28T17:57:11.326" v="2271" actId="21"/>
          <ac:spMkLst>
            <pc:docMk/>
            <pc:sldMk cId="0" sldId="261"/>
            <ac:spMk id="1062" creationId="{00000000-0000-0000-0000-000000000000}"/>
          </ac:spMkLst>
        </pc:spChg>
        <pc:spChg chg="del">
          <ac:chgData name="Kebba Jeng" userId="fe4cc296-ba7d-48a2-8799-89b58d218255" providerId="ADAL" clId="{388EFDEE-447E-42B4-98EF-30C01AB2E8CD}" dt="2022-03-28T17:57:11.326" v="2271" actId="21"/>
          <ac:spMkLst>
            <pc:docMk/>
            <pc:sldMk cId="0" sldId="261"/>
            <ac:spMk id="1063" creationId="{00000000-0000-0000-0000-000000000000}"/>
          </ac:spMkLst>
        </pc:spChg>
        <pc:spChg chg="del">
          <ac:chgData name="Kebba Jeng" userId="fe4cc296-ba7d-48a2-8799-89b58d218255" providerId="ADAL" clId="{388EFDEE-447E-42B4-98EF-30C01AB2E8CD}" dt="2022-03-28T17:57:11.326" v="2271" actId="21"/>
          <ac:spMkLst>
            <pc:docMk/>
            <pc:sldMk cId="0" sldId="261"/>
            <ac:spMk id="1064" creationId="{00000000-0000-0000-0000-000000000000}"/>
          </ac:spMkLst>
        </pc:spChg>
        <pc:spChg chg="del">
          <ac:chgData name="Kebba Jeng" userId="fe4cc296-ba7d-48a2-8799-89b58d218255" providerId="ADAL" clId="{388EFDEE-447E-42B4-98EF-30C01AB2E8CD}" dt="2022-03-28T17:57:11.326" v="2271" actId="21"/>
          <ac:spMkLst>
            <pc:docMk/>
            <pc:sldMk cId="0" sldId="261"/>
            <ac:spMk id="1065" creationId="{00000000-0000-0000-0000-000000000000}"/>
          </ac:spMkLst>
        </pc:spChg>
        <pc:spChg chg="del">
          <ac:chgData name="Kebba Jeng" userId="fe4cc296-ba7d-48a2-8799-89b58d218255" providerId="ADAL" clId="{388EFDEE-447E-42B4-98EF-30C01AB2E8CD}" dt="2022-03-28T17:57:11.326" v="2271" actId="21"/>
          <ac:spMkLst>
            <pc:docMk/>
            <pc:sldMk cId="0" sldId="261"/>
            <ac:spMk id="1066" creationId="{00000000-0000-0000-0000-000000000000}"/>
          </ac:spMkLst>
        </pc:spChg>
        <pc:spChg chg="del">
          <ac:chgData name="Kebba Jeng" userId="fe4cc296-ba7d-48a2-8799-89b58d218255" providerId="ADAL" clId="{388EFDEE-447E-42B4-98EF-30C01AB2E8CD}" dt="2022-03-28T17:57:11.326" v="2271" actId="21"/>
          <ac:spMkLst>
            <pc:docMk/>
            <pc:sldMk cId="0" sldId="261"/>
            <ac:spMk id="1067" creationId="{00000000-0000-0000-0000-000000000000}"/>
          </ac:spMkLst>
        </pc:spChg>
        <pc:spChg chg="del">
          <ac:chgData name="Kebba Jeng" userId="fe4cc296-ba7d-48a2-8799-89b58d218255" providerId="ADAL" clId="{388EFDEE-447E-42B4-98EF-30C01AB2E8CD}" dt="2022-03-28T17:57:11.326" v="2271" actId="21"/>
          <ac:spMkLst>
            <pc:docMk/>
            <pc:sldMk cId="0" sldId="261"/>
            <ac:spMk id="1068" creationId="{00000000-0000-0000-0000-000000000000}"/>
          </ac:spMkLst>
        </pc:spChg>
        <pc:spChg chg="del">
          <ac:chgData name="Kebba Jeng" userId="fe4cc296-ba7d-48a2-8799-89b58d218255" providerId="ADAL" clId="{388EFDEE-447E-42B4-98EF-30C01AB2E8CD}" dt="2022-03-28T17:57:11.326" v="2271" actId="21"/>
          <ac:spMkLst>
            <pc:docMk/>
            <pc:sldMk cId="0" sldId="261"/>
            <ac:spMk id="1069" creationId="{00000000-0000-0000-0000-000000000000}"/>
          </ac:spMkLst>
        </pc:spChg>
        <pc:spChg chg="del">
          <ac:chgData name="Kebba Jeng" userId="fe4cc296-ba7d-48a2-8799-89b58d218255" providerId="ADAL" clId="{388EFDEE-447E-42B4-98EF-30C01AB2E8CD}" dt="2022-03-28T17:57:11.326" v="2271" actId="21"/>
          <ac:spMkLst>
            <pc:docMk/>
            <pc:sldMk cId="0" sldId="261"/>
            <ac:spMk id="1070" creationId="{00000000-0000-0000-0000-000000000000}"/>
          </ac:spMkLst>
        </pc:spChg>
        <pc:spChg chg="del">
          <ac:chgData name="Kebba Jeng" userId="fe4cc296-ba7d-48a2-8799-89b58d218255" providerId="ADAL" clId="{388EFDEE-447E-42B4-98EF-30C01AB2E8CD}" dt="2022-03-28T17:57:11.326" v="2271" actId="21"/>
          <ac:spMkLst>
            <pc:docMk/>
            <pc:sldMk cId="0" sldId="261"/>
            <ac:spMk id="1071" creationId="{00000000-0000-0000-0000-000000000000}"/>
          </ac:spMkLst>
        </pc:spChg>
        <pc:spChg chg="del">
          <ac:chgData name="Kebba Jeng" userId="fe4cc296-ba7d-48a2-8799-89b58d218255" providerId="ADAL" clId="{388EFDEE-447E-42B4-98EF-30C01AB2E8CD}" dt="2022-03-28T17:57:11.326" v="2271" actId="21"/>
          <ac:spMkLst>
            <pc:docMk/>
            <pc:sldMk cId="0" sldId="261"/>
            <ac:spMk id="1072" creationId="{00000000-0000-0000-0000-000000000000}"/>
          </ac:spMkLst>
        </pc:spChg>
        <pc:spChg chg="del">
          <ac:chgData name="Kebba Jeng" userId="fe4cc296-ba7d-48a2-8799-89b58d218255" providerId="ADAL" clId="{388EFDEE-447E-42B4-98EF-30C01AB2E8CD}" dt="2022-03-28T17:57:11.326" v="2271" actId="21"/>
          <ac:spMkLst>
            <pc:docMk/>
            <pc:sldMk cId="0" sldId="261"/>
            <ac:spMk id="1073" creationId="{00000000-0000-0000-0000-000000000000}"/>
          </ac:spMkLst>
        </pc:spChg>
        <pc:spChg chg="del">
          <ac:chgData name="Kebba Jeng" userId="fe4cc296-ba7d-48a2-8799-89b58d218255" providerId="ADAL" clId="{388EFDEE-447E-42B4-98EF-30C01AB2E8CD}" dt="2022-03-28T17:57:11.326" v="2271" actId="21"/>
          <ac:spMkLst>
            <pc:docMk/>
            <pc:sldMk cId="0" sldId="261"/>
            <ac:spMk id="1074" creationId="{00000000-0000-0000-0000-000000000000}"/>
          </ac:spMkLst>
        </pc:spChg>
        <pc:spChg chg="del">
          <ac:chgData name="Kebba Jeng" userId="fe4cc296-ba7d-48a2-8799-89b58d218255" providerId="ADAL" clId="{388EFDEE-447E-42B4-98EF-30C01AB2E8CD}" dt="2022-03-28T17:57:11.326" v="2271" actId="21"/>
          <ac:spMkLst>
            <pc:docMk/>
            <pc:sldMk cId="0" sldId="261"/>
            <ac:spMk id="1075" creationId="{00000000-0000-0000-0000-000000000000}"/>
          </ac:spMkLst>
        </pc:spChg>
        <pc:spChg chg="del">
          <ac:chgData name="Kebba Jeng" userId="fe4cc296-ba7d-48a2-8799-89b58d218255" providerId="ADAL" clId="{388EFDEE-447E-42B4-98EF-30C01AB2E8CD}" dt="2022-03-28T17:57:11.326" v="2271" actId="21"/>
          <ac:spMkLst>
            <pc:docMk/>
            <pc:sldMk cId="0" sldId="261"/>
            <ac:spMk id="1076" creationId="{00000000-0000-0000-0000-000000000000}"/>
          </ac:spMkLst>
        </pc:spChg>
        <pc:spChg chg="del">
          <ac:chgData name="Kebba Jeng" userId="fe4cc296-ba7d-48a2-8799-89b58d218255" providerId="ADAL" clId="{388EFDEE-447E-42B4-98EF-30C01AB2E8CD}" dt="2022-03-28T17:57:11.326" v="2271" actId="21"/>
          <ac:spMkLst>
            <pc:docMk/>
            <pc:sldMk cId="0" sldId="261"/>
            <ac:spMk id="1077" creationId="{00000000-0000-0000-0000-000000000000}"/>
          </ac:spMkLst>
        </pc:spChg>
        <pc:spChg chg="del">
          <ac:chgData name="Kebba Jeng" userId="fe4cc296-ba7d-48a2-8799-89b58d218255" providerId="ADAL" clId="{388EFDEE-447E-42B4-98EF-30C01AB2E8CD}" dt="2022-03-28T17:57:11.326" v="2271" actId="21"/>
          <ac:spMkLst>
            <pc:docMk/>
            <pc:sldMk cId="0" sldId="261"/>
            <ac:spMk id="1078" creationId="{00000000-0000-0000-0000-000000000000}"/>
          </ac:spMkLst>
        </pc:spChg>
        <pc:spChg chg="del">
          <ac:chgData name="Kebba Jeng" userId="fe4cc296-ba7d-48a2-8799-89b58d218255" providerId="ADAL" clId="{388EFDEE-447E-42B4-98EF-30C01AB2E8CD}" dt="2022-03-28T17:57:11.326" v="2271" actId="21"/>
          <ac:spMkLst>
            <pc:docMk/>
            <pc:sldMk cId="0" sldId="261"/>
            <ac:spMk id="1079" creationId="{00000000-0000-0000-0000-000000000000}"/>
          </ac:spMkLst>
        </pc:spChg>
        <pc:spChg chg="del">
          <ac:chgData name="Kebba Jeng" userId="fe4cc296-ba7d-48a2-8799-89b58d218255" providerId="ADAL" clId="{388EFDEE-447E-42B4-98EF-30C01AB2E8CD}" dt="2022-03-28T17:57:11.326" v="2271" actId="21"/>
          <ac:spMkLst>
            <pc:docMk/>
            <pc:sldMk cId="0" sldId="261"/>
            <ac:spMk id="1080" creationId="{00000000-0000-0000-0000-000000000000}"/>
          </ac:spMkLst>
        </pc:spChg>
        <pc:spChg chg="del">
          <ac:chgData name="Kebba Jeng" userId="fe4cc296-ba7d-48a2-8799-89b58d218255" providerId="ADAL" clId="{388EFDEE-447E-42B4-98EF-30C01AB2E8CD}" dt="2022-03-28T17:57:11.326" v="2271" actId="21"/>
          <ac:spMkLst>
            <pc:docMk/>
            <pc:sldMk cId="0" sldId="261"/>
            <ac:spMk id="1081" creationId="{00000000-0000-0000-0000-000000000000}"/>
          </ac:spMkLst>
        </pc:spChg>
        <pc:spChg chg="del">
          <ac:chgData name="Kebba Jeng" userId="fe4cc296-ba7d-48a2-8799-89b58d218255" providerId="ADAL" clId="{388EFDEE-447E-42B4-98EF-30C01AB2E8CD}" dt="2022-03-28T17:57:11.326" v="2271" actId="21"/>
          <ac:spMkLst>
            <pc:docMk/>
            <pc:sldMk cId="0" sldId="261"/>
            <ac:spMk id="1082" creationId="{00000000-0000-0000-0000-000000000000}"/>
          </ac:spMkLst>
        </pc:spChg>
        <pc:spChg chg="del">
          <ac:chgData name="Kebba Jeng" userId="fe4cc296-ba7d-48a2-8799-89b58d218255" providerId="ADAL" clId="{388EFDEE-447E-42B4-98EF-30C01AB2E8CD}" dt="2022-03-28T17:57:11.326" v="2271" actId="21"/>
          <ac:spMkLst>
            <pc:docMk/>
            <pc:sldMk cId="0" sldId="261"/>
            <ac:spMk id="1083" creationId="{00000000-0000-0000-0000-000000000000}"/>
          </ac:spMkLst>
        </pc:spChg>
        <pc:spChg chg="del">
          <ac:chgData name="Kebba Jeng" userId="fe4cc296-ba7d-48a2-8799-89b58d218255" providerId="ADAL" clId="{388EFDEE-447E-42B4-98EF-30C01AB2E8CD}" dt="2022-03-28T17:57:11.326" v="2271" actId="21"/>
          <ac:spMkLst>
            <pc:docMk/>
            <pc:sldMk cId="0" sldId="261"/>
            <ac:spMk id="1084" creationId="{00000000-0000-0000-0000-000000000000}"/>
          </ac:spMkLst>
        </pc:spChg>
        <pc:spChg chg="del">
          <ac:chgData name="Kebba Jeng" userId="fe4cc296-ba7d-48a2-8799-89b58d218255" providerId="ADAL" clId="{388EFDEE-447E-42B4-98EF-30C01AB2E8CD}" dt="2022-03-28T17:57:11.326" v="2271" actId="21"/>
          <ac:spMkLst>
            <pc:docMk/>
            <pc:sldMk cId="0" sldId="261"/>
            <ac:spMk id="1085" creationId="{00000000-0000-0000-0000-000000000000}"/>
          </ac:spMkLst>
        </pc:spChg>
        <pc:spChg chg="del">
          <ac:chgData name="Kebba Jeng" userId="fe4cc296-ba7d-48a2-8799-89b58d218255" providerId="ADAL" clId="{388EFDEE-447E-42B4-98EF-30C01AB2E8CD}" dt="2022-03-28T17:57:11.326" v="2271" actId="21"/>
          <ac:spMkLst>
            <pc:docMk/>
            <pc:sldMk cId="0" sldId="261"/>
            <ac:spMk id="1086" creationId="{00000000-0000-0000-0000-000000000000}"/>
          </ac:spMkLst>
        </pc:spChg>
        <pc:spChg chg="del">
          <ac:chgData name="Kebba Jeng" userId="fe4cc296-ba7d-48a2-8799-89b58d218255" providerId="ADAL" clId="{388EFDEE-447E-42B4-98EF-30C01AB2E8CD}" dt="2022-03-28T17:57:11.326" v="2271" actId="21"/>
          <ac:spMkLst>
            <pc:docMk/>
            <pc:sldMk cId="0" sldId="261"/>
            <ac:spMk id="1087" creationId="{00000000-0000-0000-0000-000000000000}"/>
          </ac:spMkLst>
        </pc:spChg>
        <pc:spChg chg="del">
          <ac:chgData name="Kebba Jeng" userId="fe4cc296-ba7d-48a2-8799-89b58d218255" providerId="ADAL" clId="{388EFDEE-447E-42B4-98EF-30C01AB2E8CD}" dt="2022-03-28T17:57:11.326" v="2271" actId="21"/>
          <ac:spMkLst>
            <pc:docMk/>
            <pc:sldMk cId="0" sldId="261"/>
            <ac:spMk id="1088" creationId="{00000000-0000-0000-0000-000000000000}"/>
          </ac:spMkLst>
        </pc:spChg>
        <pc:spChg chg="del">
          <ac:chgData name="Kebba Jeng" userId="fe4cc296-ba7d-48a2-8799-89b58d218255" providerId="ADAL" clId="{388EFDEE-447E-42B4-98EF-30C01AB2E8CD}" dt="2022-03-28T17:57:11.326" v="2271" actId="21"/>
          <ac:spMkLst>
            <pc:docMk/>
            <pc:sldMk cId="0" sldId="261"/>
            <ac:spMk id="1089" creationId="{00000000-0000-0000-0000-000000000000}"/>
          </ac:spMkLst>
        </pc:spChg>
        <pc:spChg chg="del">
          <ac:chgData name="Kebba Jeng" userId="fe4cc296-ba7d-48a2-8799-89b58d218255" providerId="ADAL" clId="{388EFDEE-447E-42B4-98EF-30C01AB2E8CD}" dt="2022-03-28T17:57:11.326" v="2271" actId="21"/>
          <ac:spMkLst>
            <pc:docMk/>
            <pc:sldMk cId="0" sldId="261"/>
            <ac:spMk id="1090" creationId="{00000000-0000-0000-0000-000000000000}"/>
          </ac:spMkLst>
        </pc:spChg>
        <pc:spChg chg="del">
          <ac:chgData name="Kebba Jeng" userId="fe4cc296-ba7d-48a2-8799-89b58d218255" providerId="ADAL" clId="{388EFDEE-447E-42B4-98EF-30C01AB2E8CD}" dt="2022-03-28T17:57:11.326" v="2271" actId="21"/>
          <ac:spMkLst>
            <pc:docMk/>
            <pc:sldMk cId="0" sldId="261"/>
            <ac:spMk id="1091" creationId="{00000000-0000-0000-0000-000000000000}"/>
          </ac:spMkLst>
        </pc:spChg>
        <pc:spChg chg="del">
          <ac:chgData name="Kebba Jeng" userId="fe4cc296-ba7d-48a2-8799-89b58d218255" providerId="ADAL" clId="{388EFDEE-447E-42B4-98EF-30C01AB2E8CD}" dt="2022-03-28T17:57:11.326" v="2271" actId="21"/>
          <ac:spMkLst>
            <pc:docMk/>
            <pc:sldMk cId="0" sldId="261"/>
            <ac:spMk id="1092" creationId="{00000000-0000-0000-0000-000000000000}"/>
          </ac:spMkLst>
        </pc:spChg>
        <pc:spChg chg="del">
          <ac:chgData name="Kebba Jeng" userId="fe4cc296-ba7d-48a2-8799-89b58d218255" providerId="ADAL" clId="{388EFDEE-447E-42B4-98EF-30C01AB2E8CD}" dt="2022-03-28T17:57:11.326" v="2271" actId="21"/>
          <ac:spMkLst>
            <pc:docMk/>
            <pc:sldMk cId="0" sldId="261"/>
            <ac:spMk id="1093" creationId="{00000000-0000-0000-0000-000000000000}"/>
          </ac:spMkLst>
        </pc:spChg>
        <pc:spChg chg="del">
          <ac:chgData name="Kebba Jeng" userId="fe4cc296-ba7d-48a2-8799-89b58d218255" providerId="ADAL" clId="{388EFDEE-447E-42B4-98EF-30C01AB2E8CD}" dt="2022-03-28T17:57:11.326" v="2271" actId="21"/>
          <ac:spMkLst>
            <pc:docMk/>
            <pc:sldMk cId="0" sldId="261"/>
            <ac:spMk id="1094" creationId="{00000000-0000-0000-0000-000000000000}"/>
          </ac:spMkLst>
        </pc:spChg>
        <pc:spChg chg="del">
          <ac:chgData name="Kebba Jeng" userId="fe4cc296-ba7d-48a2-8799-89b58d218255" providerId="ADAL" clId="{388EFDEE-447E-42B4-98EF-30C01AB2E8CD}" dt="2022-03-28T17:57:11.326" v="2271" actId="21"/>
          <ac:spMkLst>
            <pc:docMk/>
            <pc:sldMk cId="0" sldId="261"/>
            <ac:spMk id="1095" creationId="{00000000-0000-0000-0000-000000000000}"/>
          </ac:spMkLst>
        </pc:spChg>
        <pc:spChg chg="del">
          <ac:chgData name="Kebba Jeng" userId="fe4cc296-ba7d-48a2-8799-89b58d218255" providerId="ADAL" clId="{388EFDEE-447E-42B4-98EF-30C01AB2E8CD}" dt="2022-03-28T17:57:11.326" v="2271" actId="21"/>
          <ac:spMkLst>
            <pc:docMk/>
            <pc:sldMk cId="0" sldId="261"/>
            <ac:spMk id="1096" creationId="{00000000-0000-0000-0000-000000000000}"/>
          </ac:spMkLst>
        </pc:spChg>
        <pc:spChg chg="del">
          <ac:chgData name="Kebba Jeng" userId="fe4cc296-ba7d-48a2-8799-89b58d218255" providerId="ADAL" clId="{388EFDEE-447E-42B4-98EF-30C01AB2E8CD}" dt="2022-03-28T17:57:11.326" v="2271" actId="21"/>
          <ac:spMkLst>
            <pc:docMk/>
            <pc:sldMk cId="0" sldId="261"/>
            <ac:spMk id="1097" creationId="{00000000-0000-0000-0000-000000000000}"/>
          </ac:spMkLst>
        </pc:spChg>
        <pc:spChg chg="del">
          <ac:chgData name="Kebba Jeng" userId="fe4cc296-ba7d-48a2-8799-89b58d218255" providerId="ADAL" clId="{388EFDEE-447E-42B4-98EF-30C01AB2E8CD}" dt="2022-03-28T17:57:11.326" v="2271" actId="21"/>
          <ac:spMkLst>
            <pc:docMk/>
            <pc:sldMk cId="0" sldId="261"/>
            <ac:spMk id="1098" creationId="{00000000-0000-0000-0000-000000000000}"/>
          </ac:spMkLst>
        </pc:spChg>
        <pc:spChg chg="del">
          <ac:chgData name="Kebba Jeng" userId="fe4cc296-ba7d-48a2-8799-89b58d218255" providerId="ADAL" clId="{388EFDEE-447E-42B4-98EF-30C01AB2E8CD}" dt="2022-03-28T17:57:11.326" v="2271" actId="21"/>
          <ac:spMkLst>
            <pc:docMk/>
            <pc:sldMk cId="0" sldId="261"/>
            <ac:spMk id="1099" creationId="{00000000-0000-0000-0000-000000000000}"/>
          </ac:spMkLst>
        </pc:spChg>
        <pc:spChg chg="del">
          <ac:chgData name="Kebba Jeng" userId="fe4cc296-ba7d-48a2-8799-89b58d218255" providerId="ADAL" clId="{388EFDEE-447E-42B4-98EF-30C01AB2E8CD}" dt="2022-03-28T17:57:11.326" v="2271" actId="21"/>
          <ac:spMkLst>
            <pc:docMk/>
            <pc:sldMk cId="0" sldId="261"/>
            <ac:spMk id="1100" creationId="{00000000-0000-0000-0000-000000000000}"/>
          </ac:spMkLst>
        </pc:spChg>
        <pc:spChg chg="del">
          <ac:chgData name="Kebba Jeng" userId="fe4cc296-ba7d-48a2-8799-89b58d218255" providerId="ADAL" clId="{388EFDEE-447E-42B4-98EF-30C01AB2E8CD}" dt="2022-03-28T17:57:11.326" v="2271" actId="21"/>
          <ac:spMkLst>
            <pc:docMk/>
            <pc:sldMk cId="0" sldId="261"/>
            <ac:spMk id="1101" creationId="{00000000-0000-0000-0000-000000000000}"/>
          </ac:spMkLst>
        </pc:spChg>
        <pc:spChg chg="del">
          <ac:chgData name="Kebba Jeng" userId="fe4cc296-ba7d-48a2-8799-89b58d218255" providerId="ADAL" clId="{388EFDEE-447E-42B4-98EF-30C01AB2E8CD}" dt="2022-03-28T17:57:11.326" v="2271" actId="21"/>
          <ac:spMkLst>
            <pc:docMk/>
            <pc:sldMk cId="0" sldId="261"/>
            <ac:spMk id="1102" creationId="{00000000-0000-0000-0000-000000000000}"/>
          </ac:spMkLst>
        </pc:spChg>
        <pc:spChg chg="del">
          <ac:chgData name="Kebba Jeng" userId="fe4cc296-ba7d-48a2-8799-89b58d218255" providerId="ADAL" clId="{388EFDEE-447E-42B4-98EF-30C01AB2E8CD}" dt="2022-03-28T17:57:11.326" v="2271" actId="21"/>
          <ac:spMkLst>
            <pc:docMk/>
            <pc:sldMk cId="0" sldId="261"/>
            <ac:spMk id="1103" creationId="{00000000-0000-0000-0000-000000000000}"/>
          </ac:spMkLst>
        </pc:spChg>
        <pc:spChg chg="del">
          <ac:chgData name="Kebba Jeng" userId="fe4cc296-ba7d-48a2-8799-89b58d218255" providerId="ADAL" clId="{388EFDEE-447E-42B4-98EF-30C01AB2E8CD}" dt="2022-03-28T17:57:11.326" v="2271" actId="21"/>
          <ac:spMkLst>
            <pc:docMk/>
            <pc:sldMk cId="0" sldId="261"/>
            <ac:spMk id="1104" creationId="{00000000-0000-0000-0000-000000000000}"/>
          </ac:spMkLst>
        </pc:spChg>
        <pc:spChg chg="del">
          <ac:chgData name="Kebba Jeng" userId="fe4cc296-ba7d-48a2-8799-89b58d218255" providerId="ADAL" clId="{388EFDEE-447E-42B4-98EF-30C01AB2E8CD}" dt="2022-03-28T17:57:11.326" v="2271" actId="21"/>
          <ac:spMkLst>
            <pc:docMk/>
            <pc:sldMk cId="0" sldId="261"/>
            <ac:spMk id="1105" creationId="{00000000-0000-0000-0000-000000000000}"/>
          </ac:spMkLst>
        </pc:spChg>
        <pc:spChg chg="del">
          <ac:chgData name="Kebba Jeng" userId="fe4cc296-ba7d-48a2-8799-89b58d218255" providerId="ADAL" clId="{388EFDEE-447E-42B4-98EF-30C01AB2E8CD}" dt="2022-03-28T17:57:11.326" v="2271" actId="21"/>
          <ac:spMkLst>
            <pc:docMk/>
            <pc:sldMk cId="0" sldId="261"/>
            <ac:spMk id="1106" creationId="{00000000-0000-0000-0000-000000000000}"/>
          </ac:spMkLst>
        </pc:spChg>
        <pc:spChg chg="del">
          <ac:chgData name="Kebba Jeng" userId="fe4cc296-ba7d-48a2-8799-89b58d218255" providerId="ADAL" clId="{388EFDEE-447E-42B4-98EF-30C01AB2E8CD}" dt="2022-03-28T17:57:11.326" v="2271" actId="21"/>
          <ac:spMkLst>
            <pc:docMk/>
            <pc:sldMk cId="0" sldId="261"/>
            <ac:spMk id="1107" creationId="{00000000-0000-0000-0000-000000000000}"/>
          </ac:spMkLst>
        </pc:spChg>
        <pc:spChg chg="del">
          <ac:chgData name="Kebba Jeng" userId="fe4cc296-ba7d-48a2-8799-89b58d218255" providerId="ADAL" clId="{388EFDEE-447E-42B4-98EF-30C01AB2E8CD}" dt="2022-03-28T17:57:11.326" v="2271" actId="21"/>
          <ac:spMkLst>
            <pc:docMk/>
            <pc:sldMk cId="0" sldId="261"/>
            <ac:spMk id="1108" creationId="{00000000-0000-0000-0000-000000000000}"/>
          </ac:spMkLst>
        </pc:spChg>
        <pc:spChg chg="del">
          <ac:chgData name="Kebba Jeng" userId="fe4cc296-ba7d-48a2-8799-89b58d218255" providerId="ADAL" clId="{388EFDEE-447E-42B4-98EF-30C01AB2E8CD}" dt="2022-03-28T17:57:11.326" v="2271" actId="21"/>
          <ac:spMkLst>
            <pc:docMk/>
            <pc:sldMk cId="0" sldId="261"/>
            <ac:spMk id="1109" creationId="{00000000-0000-0000-0000-000000000000}"/>
          </ac:spMkLst>
        </pc:spChg>
        <pc:spChg chg="add mod">
          <ac:chgData name="Kebba Jeng" userId="fe4cc296-ba7d-48a2-8799-89b58d218255" providerId="ADAL" clId="{388EFDEE-447E-42B4-98EF-30C01AB2E8CD}" dt="2022-03-28T06:37:40.780" v="42" actId="14100"/>
          <ac:spMkLst>
            <pc:docMk/>
            <pc:sldMk cId="0" sldId="261"/>
            <ac:spMk id="1110" creationId="{74D20775-402D-4802-A3BA-22E3763FD413}"/>
          </ac:spMkLst>
        </pc:spChg>
        <pc:spChg chg="add del mod">
          <ac:chgData name="Kebba Jeng" userId="fe4cc296-ba7d-48a2-8799-89b58d218255" providerId="ADAL" clId="{388EFDEE-447E-42B4-98EF-30C01AB2E8CD}" dt="2022-03-28T17:49:20.251" v="2109" actId="478"/>
          <ac:spMkLst>
            <pc:docMk/>
            <pc:sldMk cId="0" sldId="261"/>
            <ac:spMk id="1111" creationId="{DDA98057-7279-41C5-A944-97E0B4EF373E}"/>
          </ac:spMkLst>
        </pc:spChg>
        <pc:spChg chg="add del mod">
          <ac:chgData name="Kebba Jeng" userId="fe4cc296-ba7d-48a2-8799-89b58d218255" providerId="ADAL" clId="{388EFDEE-447E-42B4-98EF-30C01AB2E8CD}" dt="2022-03-28T18:07:12.608" v="2643" actId="20577"/>
          <ac:spMkLst>
            <pc:docMk/>
            <pc:sldMk cId="0" sldId="261"/>
            <ac:spMk id="1112" creationId="{F14CFA2A-1C72-43E9-937D-93FCE1820995}"/>
          </ac:spMkLst>
        </pc:spChg>
        <pc:spChg chg="add mod">
          <ac:chgData name="Kebba Jeng" userId="fe4cc296-ba7d-48a2-8799-89b58d218255" providerId="ADAL" clId="{388EFDEE-447E-42B4-98EF-30C01AB2E8CD}" dt="2022-03-28T18:04:06.194" v="2539" actId="1076"/>
          <ac:spMkLst>
            <pc:docMk/>
            <pc:sldMk cId="0" sldId="261"/>
            <ac:spMk id="1113" creationId="{892717BF-3EE1-48E7-AF9C-D1059AD041E0}"/>
          </ac:spMkLst>
        </pc:spChg>
        <pc:spChg chg="add del mod">
          <ac:chgData name="Kebba Jeng" userId="fe4cc296-ba7d-48a2-8799-89b58d218255" providerId="ADAL" clId="{388EFDEE-447E-42B4-98EF-30C01AB2E8CD}" dt="2022-03-28T17:56:15.721" v="2251"/>
          <ac:spMkLst>
            <pc:docMk/>
            <pc:sldMk cId="0" sldId="261"/>
            <ac:spMk id="1114" creationId="{D0767D49-F6E7-4E62-B8A9-F968D3973FC2}"/>
          </ac:spMkLst>
        </pc:spChg>
        <pc:spChg chg="add del mod">
          <ac:chgData name="Kebba Jeng" userId="fe4cc296-ba7d-48a2-8799-89b58d218255" providerId="ADAL" clId="{388EFDEE-447E-42B4-98EF-30C01AB2E8CD}" dt="2022-03-28T17:56:15.721" v="2251"/>
          <ac:spMkLst>
            <pc:docMk/>
            <pc:sldMk cId="0" sldId="261"/>
            <ac:spMk id="1115" creationId="{E658EBBD-1EF1-40A2-A528-62B634CD7928}"/>
          </ac:spMkLst>
        </pc:spChg>
        <pc:spChg chg="add del mod">
          <ac:chgData name="Kebba Jeng" userId="fe4cc296-ba7d-48a2-8799-89b58d218255" providerId="ADAL" clId="{388EFDEE-447E-42B4-98EF-30C01AB2E8CD}" dt="2022-03-28T17:56:15.721" v="2251"/>
          <ac:spMkLst>
            <pc:docMk/>
            <pc:sldMk cId="0" sldId="261"/>
            <ac:spMk id="1116" creationId="{C92C23F4-7B96-4B4A-AD3D-6F504A1E00DF}"/>
          </ac:spMkLst>
        </pc:spChg>
        <pc:spChg chg="add del mod">
          <ac:chgData name="Kebba Jeng" userId="fe4cc296-ba7d-48a2-8799-89b58d218255" providerId="ADAL" clId="{388EFDEE-447E-42B4-98EF-30C01AB2E8CD}" dt="2022-03-28T17:56:15.721" v="2251"/>
          <ac:spMkLst>
            <pc:docMk/>
            <pc:sldMk cId="0" sldId="261"/>
            <ac:spMk id="1117" creationId="{30896134-742E-4E64-9E8D-71555150BEC3}"/>
          </ac:spMkLst>
        </pc:spChg>
        <pc:spChg chg="add del mod">
          <ac:chgData name="Kebba Jeng" userId="fe4cc296-ba7d-48a2-8799-89b58d218255" providerId="ADAL" clId="{388EFDEE-447E-42B4-98EF-30C01AB2E8CD}" dt="2022-03-28T17:56:15.721" v="2251"/>
          <ac:spMkLst>
            <pc:docMk/>
            <pc:sldMk cId="0" sldId="261"/>
            <ac:spMk id="1118" creationId="{D98E2D81-14C5-440D-9039-798174492149}"/>
          </ac:spMkLst>
        </pc:spChg>
        <pc:spChg chg="add del mod">
          <ac:chgData name="Kebba Jeng" userId="fe4cc296-ba7d-48a2-8799-89b58d218255" providerId="ADAL" clId="{388EFDEE-447E-42B4-98EF-30C01AB2E8CD}" dt="2022-03-28T17:56:15.721" v="2251"/>
          <ac:spMkLst>
            <pc:docMk/>
            <pc:sldMk cId="0" sldId="261"/>
            <ac:spMk id="1119" creationId="{DDA54EBD-2BFE-4222-8CE0-40287F40637E}"/>
          </ac:spMkLst>
        </pc:spChg>
        <pc:spChg chg="add del mod">
          <ac:chgData name="Kebba Jeng" userId="fe4cc296-ba7d-48a2-8799-89b58d218255" providerId="ADAL" clId="{388EFDEE-447E-42B4-98EF-30C01AB2E8CD}" dt="2022-03-28T17:56:15.721" v="2251"/>
          <ac:spMkLst>
            <pc:docMk/>
            <pc:sldMk cId="0" sldId="261"/>
            <ac:spMk id="1120" creationId="{2FE64D85-2008-4648-9D40-B02774424372}"/>
          </ac:spMkLst>
        </pc:spChg>
        <pc:spChg chg="add del mod">
          <ac:chgData name="Kebba Jeng" userId="fe4cc296-ba7d-48a2-8799-89b58d218255" providerId="ADAL" clId="{388EFDEE-447E-42B4-98EF-30C01AB2E8CD}" dt="2022-03-28T17:56:15.721" v="2251"/>
          <ac:spMkLst>
            <pc:docMk/>
            <pc:sldMk cId="0" sldId="261"/>
            <ac:spMk id="1121" creationId="{7163E091-527B-41F0-A3C9-0DA1629C40FF}"/>
          </ac:spMkLst>
        </pc:spChg>
        <pc:spChg chg="add del mod">
          <ac:chgData name="Kebba Jeng" userId="fe4cc296-ba7d-48a2-8799-89b58d218255" providerId="ADAL" clId="{388EFDEE-447E-42B4-98EF-30C01AB2E8CD}" dt="2022-03-28T17:56:15.721" v="2251"/>
          <ac:spMkLst>
            <pc:docMk/>
            <pc:sldMk cId="0" sldId="261"/>
            <ac:spMk id="1122" creationId="{D2AA6587-5404-416F-8119-4B4770B3002C}"/>
          </ac:spMkLst>
        </pc:spChg>
        <pc:spChg chg="add del mod">
          <ac:chgData name="Kebba Jeng" userId="fe4cc296-ba7d-48a2-8799-89b58d218255" providerId="ADAL" clId="{388EFDEE-447E-42B4-98EF-30C01AB2E8CD}" dt="2022-03-28T17:56:15.721" v="2251"/>
          <ac:spMkLst>
            <pc:docMk/>
            <pc:sldMk cId="0" sldId="261"/>
            <ac:spMk id="1123" creationId="{32E4802D-F2EE-489B-8844-8BD268C1E8C9}"/>
          </ac:spMkLst>
        </pc:spChg>
        <pc:spChg chg="add del mod">
          <ac:chgData name="Kebba Jeng" userId="fe4cc296-ba7d-48a2-8799-89b58d218255" providerId="ADAL" clId="{388EFDEE-447E-42B4-98EF-30C01AB2E8CD}" dt="2022-03-28T17:56:15.721" v="2251"/>
          <ac:spMkLst>
            <pc:docMk/>
            <pc:sldMk cId="0" sldId="261"/>
            <ac:spMk id="1124" creationId="{A83E29C8-49B6-456F-8C52-871CA103B6F9}"/>
          </ac:spMkLst>
        </pc:spChg>
        <pc:spChg chg="add del mod">
          <ac:chgData name="Kebba Jeng" userId="fe4cc296-ba7d-48a2-8799-89b58d218255" providerId="ADAL" clId="{388EFDEE-447E-42B4-98EF-30C01AB2E8CD}" dt="2022-03-28T17:56:15.721" v="2251"/>
          <ac:spMkLst>
            <pc:docMk/>
            <pc:sldMk cId="0" sldId="261"/>
            <ac:spMk id="1125" creationId="{C844A42A-E0E6-413F-9CA5-4B5C66416B72}"/>
          </ac:spMkLst>
        </pc:spChg>
        <pc:spChg chg="add del mod">
          <ac:chgData name="Kebba Jeng" userId="fe4cc296-ba7d-48a2-8799-89b58d218255" providerId="ADAL" clId="{388EFDEE-447E-42B4-98EF-30C01AB2E8CD}" dt="2022-03-28T17:56:15.721" v="2251"/>
          <ac:spMkLst>
            <pc:docMk/>
            <pc:sldMk cId="0" sldId="261"/>
            <ac:spMk id="1126" creationId="{66DB71AA-702D-45E3-9562-86F39B155A29}"/>
          </ac:spMkLst>
        </pc:spChg>
        <pc:spChg chg="add del mod">
          <ac:chgData name="Kebba Jeng" userId="fe4cc296-ba7d-48a2-8799-89b58d218255" providerId="ADAL" clId="{388EFDEE-447E-42B4-98EF-30C01AB2E8CD}" dt="2022-03-28T17:56:15.721" v="2251"/>
          <ac:spMkLst>
            <pc:docMk/>
            <pc:sldMk cId="0" sldId="261"/>
            <ac:spMk id="1127" creationId="{7DAD047B-3AE3-4DA2-8E30-BBD13145567F}"/>
          </ac:spMkLst>
        </pc:spChg>
        <pc:spChg chg="add del mod">
          <ac:chgData name="Kebba Jeng" userId="fe4cc296-ba7d-48a2-8799-89b58d218255" providerId="ADAL" clId="{388EFDEE-447E-42B4-98EF-30C01AB2E8CD}" dt="2022-03-28T17:56:15.721" v="2251"/>
          <ac:spMkLst>
            <pc:docMk/>
            <pc:sldMk cId="0" sldId="261"/>
            <ac:spMk id="1128" creationId="{4F950C47-4154-4291-8CB7-1300472286CA}"/>
          </ac:spMkLst>
        </pc:spChg>
        <pc:spChg chg="add del mod">
          <ac:chgData name="Kebba Jeng" userId="fe4cc296-ba7d-48a2-8799-89b58d218255" providerId="ADAL" clId="{388EFDEE-447E-42B4-98EF-30C01AB2E8CD}" dt="2022-03-28T17:56:15.721" v="2251"/>
          <ac:spMkLst>
            <pc:docMk/>
            <pc:sldMk cId="0" sldId="261"/>
            <ac:spMk id="1129" creationId="{862AF5F3-C263-4DA5-BC2C-1369506BE1E5}"/>
          </ac:spMkLst>
        </pc:spChg>
        <pc:spChg chg="add del mod">
          <ac:chgData name="Kebba Jeng" userId="fe4cc296-ba7d-48a2-8799-89b58d218255" providerId="ADAL" clId="{388EFDEE-447E-42B4-98EF-30C01AB2E8CD}" dt="2022-03-28T17:56:15.721" v="2251"/>
          <ac:spMkLst>
            <pc:docMk/>
            <pc:sldMk cId="0" sldId="261"/>
            <ac:spMk id="1130" creationId="{0FA9A1A5-A073-4C7B-AF1C-098824FB01FC}"/>
          </ac:spMkLst>
        </pc:spChg>
        <pc:spChg chg="add del mod">
          <ac:chgData name="Kebba Jeng" userId="fe4cc296-ba7d-48a2-8799-89b58d218255" providerId="ADAL" clId="{388EFDEE-447E-42B4-98EF-30C01AB2E8CD}" dt="2022-03-28T17:56:15.721" v="2251"/>
          <ac:spMkLst>
            <pc:docMk/>
            <pc:sldMk cId="0" sldId="261"/>
            <ac:spMk id="1131" creationId="{9B5DF79A-DB75-46AD-8311-8593E0EE4E90}"/>
          </ac:spMkLst>
        </pc:spChg>
        <pc:spChg chg="add del mod">
          <ac:chgData name="Kebba Jeng" userId="fe4cc296-ba7d-48a2-8799-89b58d218255" providerId="ADAL" clId="{388EFDEE-447E-42B4-98EF-30C01AB2E8CD}" dt="2022-03-28T17:56:15.721" v="2251"/>
          <ac:spMkLst>
            <pc:docMk/>
            <pc:sldMk cId="0" sldId="261"/>
            <ac:spMk id="1132" creationId="{5E560D63-A935-45E8-BE25-2B49C8ADA45C}"/>
          </ac:spMkLst>
        </pc:spChg>
        <pc:spChg chg="add del mod">
          <ac:chgData name="Kebba Jeng" userId="fe4cc296-ba7d-48a2-8799-89b58d218255" providerId="ADAL" clId="{388EFDEE-447E-42B4-98EF-30C01AB2E8CD}" dt="2022-03-28T17:56:15.721" v="2251"/>
          <ac:spMkLst>
            <pc:docMk/>
            <pc:sldMk cId="0" sldId="261"/>
            <ac:spMk id="1133" creationId="{80980505-08BC-4199-8265-36B9F29745E1}"/>
          </ac:spMkLst>
        </pc:spChg>
        <pc:spChg chg="add del mod">
          <ac:chgData name="Kebba Jeng" userId="fe4cc296-ba7d-48a2-8799-89b58d218255" providerId="ADAL" clId="{388EFDEE-447E-42B4-98EF-30C01AB2E8CD}" dt="2022-03-28T17:56:15.721" v="2251"/>
          <ac:spMkLst>
            <pc:docMk/>
            <pc:sldMk cId="0" sldId="261"/>
            <ac:spMk id="1134" creationId="{3D18EBCD-FF65-4708-B8E0-F1800FB09E42}"/>
          </ac:spMkLst>
        </pc:spChg>
        <pc:spChg chg="add del mod">
          <ac:chgData name="Kebba Jeng" userId="fe4cc296-ba7d-48a2-8799-89b58d218255" providerId="ADAL" clId="{388EFDEE-447E-42B4-98EF-30C01AB2E8CD}" dt="2022-03-28T17:56:15.721" v="2251"/>
          <ac:spMkLst>
            <pc:docMk/>
            <pc:sldMk cId="0" sldId="261"/>
            <ac:spMk id="1135" creationId="{393448BE-B0C6-4CE4-AE55-A14290B02930}"/>
          </ac:spMkLst>
        </pc:spChg>
        <pc:spChg chg="add del mod">
          <ac:chgData name="Kebba Jeng" userId="fe4cc296-ba7d-48a2-8799-89b58d218255" providerId="ADAL" clId="{388EFDEE-447E-42B4-98EF-30C01AB2E8CD}" dt="2022-03-28T17:56:15.721" v="2251"/>
          <ac:spMkLst>
            <pc:docMk/>
            <pc:sldMk cId="0" sldId="261"/>
            <ac:spMk id="1136" creationId="{6CDD3A50-EC8A-4817-92A3-177FFD459E04}"/>
          </ac:spMkLst>
        </pc:spChg>
        <pc:spChg chg="add del mod">
          <ac:chgData name="Kebba Jeng" userId="fe4cc296-ba7d-48a2-8799-89b58d218255" providerId="ADAL" clId="{388EFDEE-447E-42B4-98EF-30C01AB2E8CD}" dt="2022-03-28T17:56:15.721" v="2251"/>
          <ac:spMkLst>
            <pc:docMk/>
            <pc:sldMk cId="0" sldId="261"/>
            <ac:spMk id="1137" creationId="{CCC6690A-13CD-4C9C-8392-4180B93409E1}"/>
          </ac:spMkLst>
        </pc:spChg>
        <pc:spChg chg="add del mod">
          <ac:chgData name="Kebba Jeng" userId="fe4cc296-ba7d-48a2-8799-89b58d218255" providerId="ADAL" clId="{388EFDEE-447E-42B4-98EF-30C01AB2E8CD}" dt="2022-03-28T17:56:15.721" v="2251"/>
          <ac:spMkLst>
            <pc:docMk/>
            <pc:sldMk cId="0" sldId="261"/>
            <ac:spMk id="1138" creationId="{AF0A3B42-E98C-448C-8F97-9EFDCB780837}"/>
          </ac:spMkLst>
        </pc:spChg>
        <pc:spChg chg="add del mod">
          <ac:chgData name="Kebba Jeng" userId="fe4cc296-ba7d-48a2-8799-89b58d218255" providerId="ADAL" clId="{388EFDEE-447E-42B4-98EF-30C01AB2E8CD}" dt="2022-03-28T17:56:15.721" v="2251"/>
          <ac:spMkLst>
            <pc:docMk/>
            <pc:sldMk cId="0" sldId="261"/>
            <ac:spMk id="1139" creationId="{DA92BEA7-7EA6-464B-9BDC-CA02F2590FA5}"/>
          </ac:spMkLst>
        </pc:spChg>
        <pc:spChg chg="add del mod">
          <ac:chgData name="Kebba Jeng" userId="fe4cc296-ba7d-48a2-8799-89b58d218255" providerId="ADAL" clId="{388EFDEE-447E-42B4-98EF-30C01AB2E8CD}" dt="2022-03-28T17:56:15.721" v="2251"/>
          <ac:spMkLst>
            <pc:docMk/>
            <pc:sldMk cId="0" sldId="261"/>
            <ac:spMk id="1140" creationId="{6B9E60A1-DB54-44FC-B5B7-547ED1BACDAD}"/>
          </ac:spMkLst>
        </pc:spChg>
        <pc:spChg chg="add del mod">
          <ac:chgData name="Kebba Jeng" userId="fe4cc296-ba7d-48a2-8799-89b58d218255" providerId="ADAL" clId="{388EFDEE-447E-42B4-98EF-30C01AB2E8CD}" dt="2022-03-28T17:56:15.721" v="2251"/>
          <ac:spMkLst>
            <pc:docMk/>
            <pc:sldMk cId="0" sldId="261"/>
            <ac:spMk id="1141" creationId="{80D07D50-BA6E-43AA-B39D-64BBEE604EAF}"/>
          </ac:spMkLst>
        </pc:spChg>
        <pc:spChg chg="add del mod">
          <ac:chgData name="Kebba Jeng" userId="fe4cc296-ba7d-48a2-8799-89b58d218255" providerId="ADAL" clId="{388EFDEE-447E-42B4-98EF-30C01AB2E8CD}" dt="2022-03-28T17:56:15.721" v="2251"/>
          <ac:spMkLst>
            <pc:docMk/>
            <pc:sldMk cId="0" sldId="261"/>
            <ac:spMk id="1142" creationId="{8EA52BFB-492D-45A4-B9F1-6BD3B1323C3C}"/>
          </ac:spMkLst>
        </pc:spChg>
        <pc:spChg chg="add del mod">
          <ac:chgData name="Kebba Jeng" userId="fe4cc296-ba7d-48a2-8799-89b58d218255" providerId="ADAL" clId="{388EFDEE-447E-42B4-98EF-30C01AB2E8CD}" dt="2022-03-28T17:56:15.721" v="2251"/>
          <ac:spMkLst>
            <pc:docMk/>
            <pc:sldMk cId="0" sldId="261"/>
            <ac:spMk id="1143" creationId="{9EC85177-1E84-491F-A461-1F6195A4A761}"/>
          </ac:spMkLst>
        </pc:spChg>
        <pc:spChg chg="add del mod">
          <ac:chgData name="Kebba Jeng" userId="fe4cc296-ba7d-48a2-8799-89b58d218255" providerId="ADAL" clId="{388EFDEE-447E-42B4-98EF-30C01AB2E8CD}" dt="2022-03-28T17:56:15.721" v="2251"/>
          <ac:spMkLst>
            <pc:docMk/>
            <pc:sldMk cId="0" sldId="261"/>
            <ac:spMk id="1144" creationId="{FD1D44BB-2662-44B9-886C-0DCF92830CE7}"/>
          </ac:spMkLst>
        </pc:spChg>
        <pc:spChg chg="add del mod">
          <ac:chgData name="Kebba Jeng" userId="fe4cc296-ba7d-48a2-8799-89b58d218255" providerId="ADAL" clId="{388EFDEE-447E-42B4-98EF-30C01AB2E8CD}" dt="2022-03-28T17:56:15.721" v="2251"/>
          <ac:spMkLst>
            <pc:docMk/>
            <pc:sldMk cId="0" sldId="261"/>
            <ac:spMk id="1145" creationId="{42BCF016-05D6-4ADE-9124-144831C9F20F}"/>
          </ac:spMkLst>
        </pc:spChg>
        <pc:spChg chg="add del mod">
          <ac:chgData name="Kebba Jeng" userId="fe4cc296-ba7d-48a2-8799-89b58d218255" providerId="ADAL" clId="{388EFDEE-447E-42B4-98EF-30C01AB2E8CD}" dt="2022-03-28T17:56:15.721" v="2251"/>
          <ac:spMkLst>
            <pc:docMk/>
            <pc:sldMk cId="0" sldId="261"/>
            <ac:spMk id="1146" creationId="{D8D9DCD7-BADB-4A76-98E6-0ED0B4AD824C}"/>
          </ac:spMkLst>
        </pc:spChg>
        <pc:spChg chg="add del mod">
          <ac:chgData name="Kebba Jeng" userId="fe4cc296-ba7d-48a2-8799-89b58d218255" providerId="ADAL" clId="{388EFDEE-447E-42B4-98EF-30C01AB2E8CD}" dt="2022-03-28T17:56:15.721" v="2251"/>
          <ac:spMkLst>
            <pc:docMk/>
            <pc:sldMk cId="0" sldId="261"/>
            <ac:spMk id="1147" creationId="{0CD11C15-65BA-44E1-8CD8-823DE926A07C}"/>
          </ac:spMkLst>
        </pc:spChg>
        <pc:spChg chg="add del mod">
          <ac:chgData name="Kebba Jeng" userId="fe4cc296-ba7d-48a2-8799-89b58d218255" providerId="ADAL" clId="{388EFDEE-447E-42B4-98EF-30C01AB2E8CD}" dt="2022-03-28T17:56:15.721" v="2251"/>
          <ac:spMkLst>
            <pc:docMk/>
            <pc:sldMk cId="0" sldId="261"/>
            <ac:spMk id="1148" creationId="{3F46CEAA-E885-4FC6-AF49-E85D8E498711}"/>
          </ac:spMkLst>
        </pc:spChg>
        <pc:spChg chg="add del mod">
          <ac:chgData name="Kebba Jeng" userId="fe4cc296-ba7d-48a2-8799-89b58d218255" providerId="ADAL" clId="{388EFDEE-447E-42B4-98EF-30C01AB2E8CD}" dt="2022-03-28T17:56:15.721" v="2251"/>
          <ac:spMkLst>
            <pc:docMk/>
            <pc:sldMk cId="0" sldId="261"/>
            <ac:spMk id="1149" creationId="{E7BA6172-3164-4055-9ABA-4506802463CD}"/>
          </ac:spMkLst>
        </pc:spChg>
        <pc:spChg chg="add del mod">
          <ac:chgData name="Kebba Jeng" userId="fe4cc296-ba7d-48a2-8799-89b58d218255" providerId="ADAL" clId="{388EFDEE-447E-42B4-98EF-30C01AB2E8CD}" dt="2022-03-28T17:56:15.721" v="2251"/>
          <ac:spMkLst>
            <pc:docMk/>
            <pc:sldMk cId="0" sldId="261"/>
            <ac:spMk id="1150" creationId="{354C996B-2C1B-496C-AB1B-54034D138E6A}"/>
          </ac:spMkLst>
        </pc:spChg>
        <pc:spChg chg="add del mod">
          <ac:chgData name="Kebba Jeng" userId="fe4cc296-ba7d-48a2-8799-89b58d218255" providerId="ADAL" clId="{388EFDEE-447E-42B4-98EF-30C01AB2E8CD}" dt="2022-03-28T17:56:15.721" v="2251"/>
          <ac:spMkLst>
            <pc:docMk/>
            <pc:sldMk cId="0" sldId="261"/>
            <ac:spMk id="1151" creationId="{290959D7-C8DF-4736-B1BC-B0B609D47927}"/>
          </ac:spMkLst>
        </pc:spChg>
        <pc:spChg chg="add del mod">
          <ac:chgData name="Kebba Jeng" userId="fe4cc296-ba7d-48a2-8799-89b58d218255" providerId="ADAL" clId="{388EFDEE-447E-42B4-98EF-30C01AB2E8CD}" dt="2022-03-28T17:56:15.721" v="2251"/>
          <ac:spMkLst>
            <pc:docMk/>
            <pc:sldMk cId="0" sldId="261"/>
            <ac:spMk id="1152" creationId="{FF59E56D-6AB4-4951-A24D-5567859B6C10}"/>
          </ac:spMkLst>
        </pc:spChg>
        <pc:spChg chg="add del mod">
          <ac:chgData name="Kebba Jeng" userId="fe4cc296-ba7d-48a2-8799-89b58d218255" providerId="ADAL" clId="{388EFDEE-447E-42B4-98EF-30C01AB2E8CD}" dt="2022-03-28T17:56:15.721" v="2251"/>
          <ac:spMkLst>
            <pc:docMk/>
            <pc:sldMk cId="0" sldId="261"/>
            <ac:spMk id="1153" creationId="{D6EE7C4B-2A1D-4083-8770-BC5051EE95A9}"/>
          </ac:spMkLst>
        </pc:spChg>
        <pc:spChg chg="add del mod">
          <ac:chgData name="Kebba Jeng" userId="fe4cc296-ba7d-48a2-8799-89b58d218255" providerId="ADAL" clId="{388EFDEE-447E-42B4-98EF-30C01AB2E8CD}" dt="2022-03-28T17:56:15.721" v="2251"/>
          <ac:spMkLst>
            <pc:docMk/>
            <pc:sldMk cId="0" sldId="261"/>
            <ac:spMk id="1154" creationId="{25FF6EF1-F5ED-4F35-9C2F-17B92371E354}"/>
          </ac:spMkLst>
        </pc:spChg>
        <pc:spChg chg="add del mod">
          <ac:chgData name="Kebba Jeng" userId="fe4cc296-ba7d-48a2-8799-89b58d218255" providerId="ADAL" clId="{388EFDEE-447E-42B4-98EF-30C01AB2E8CD}" dt="2022-03-28T17:56:15.721" v="2251"/>
          <ac:spMkLst>
            <pc:docMk/>
            <pc:sldMk cId="0" sldId="261"/>
            <ac:spMk id="1155" creationId="{FDC524BC-8CE5-4BD0-87A0-8FEA907253E7}"/>
          </ac:spMkLst>
        </pc:spChg>
        <pc:spChg chg="add del mod">
          <ac:chgData name="Kebba Jeng" userId="fe4cc296-ba7d-48a2-8799-89b58d218255" providerId="ADAL" clId="{388EFDEE-447E-42B4-98EF-30C01AB2E8CD}" dt="2022-03-28T17:56:15.721" v="2251"/>
          <ac:spMkLst>
            <pc:docMk/>
            <pc:sldMk cId="0" sldId="261"/>
            <ac:spMk id="1156" creationId="{2FEF35E7-951A-40B5-9446-3C28294FE6E6}"/>
          </ac:spMkLst>
        </pc:spChg>
        <pc:spChg chg="add del mod">
          <ac:chgData name="Kebba Jeng" userId="fe4cc296-ba7d-48a2-8799-89b58d218255" providerId="ADAL" clId="{388EFDEE-447E-42B4-98EF-30C01AB2E8CD}" dt="2022-03-28T17:56:15.721" v="2251"/>
          <ac:spMkLst>
            <pc:docMk/>
            <pc:sldMk cId="0" sldId="261"/>
            <ac:spMk id="1157" creationId="{FF4185B5-6E53-4602-AC8F-3D35356A3A43}"/>
          </ac:spMkLst>
        </pc:spChg>
        <pc:spChg chg="add del mod">
          <ac:chgData name="Kebba Jeng" userId="fe4cc296-ba7d-48a2-8799-89b58d218255" providerId="ADAL" clId="{388EFDEE-447E-42B4-98EF-30C01AB2E8CD}" dt="2022-03-28T17:56:15.721" v="2251"/>
          <ac:spMkLst>
            <pc:docMk/>
            <pc:sldMk cId="0" sldId="261"/>
            <ac:spMk id="1158" creationId="{291002CB-8728-41B6-81AC-FD06C6394532}"/>
          </ac:spMkLst>
        </pc:spChg>
        <pc:spChg chg="add del mod">
          <ac:chgData name="Kebba Jeng" userId="fe4cc296-ba7d-48a2-8799-89b58d218255" providerId="ADAL" clId="{388EFDEE-447E-42B4-98EF-30C01AB2E8CD}" dt="2022-03-28T17:56:15.721" v="2251"/>
          <ac:spMkLst>
            <pc:docMk/>
            <pc:sldMk cId="0" sldId="261"/>
            <ac:spMk id="1159" creationId="{A048D18E-2218-4881-B746-CBCB5C70F7E1}"/>
          </ac:spMkLst>
        </pc:spChg>
        <pc:spChg chg="add del mod">
          <ac:chgData name="Kebba Jeng" userId="fe4cc296-ba7d-48a2-8799-89b58d218255" providerId="ADAL" clId="{388EFDEE-447E-42B4-98EF-30C01AB2E8CD}" dt="2022-03-28T17:56:15.721" v="2251"/>
          <ac:spMkLst>
            <pc:docMk/>
            <pc:sldMk cId="0" sldId="261"/>
            <ac:spMk id="1160" creationId="{7998ED51-4D98-411C-A169-B35E2A159B8C}"/>
          </ac:spMkLst>
        </pc:spChg>
        <pc:spChg chg="add del mod">
          <ac:chgData name="Kebba Jeng" userId="fe4cc296-ba7d-48a2-8799-89b58d218255" providerId="ADAL" clId="{388EFDEE-447E-42B4-98EF-30C01AB2E8CD}" dt="2022-03-28T17:56:15.721" v="2251"/>
          <ac:spMkLst>
            <pc:docMk/>
            <pc:sldMk cId="0" sldId="261"/>
            <ac:spMk id="1161" creationId="{C19C418B-02E4-4DC4-B054-7BD15136FAA0}"/>
          </ac:spMkLst>
        </pc:spChg>
        <pc:spChg chg="add del mod">
          <ac:chgData name="Kebba Jeng" userId="fe4cc296-ba7d-48a2-8799-89b58d218255" providerId="ADAL" clId="{388EFDEE-447E-42B4-98EF-30C01AB2E8CD}" dt="2022-03-28T17:56:15.721" v="2251"/>
          <ac:spMkLst>
            <pc:docMk/>
            <pc:sldMk cId="0" sldId="261"/>
            <ac:spMk id="1162" creationId="{FF4B67CA-3013-43A1-B0A4-DEBA58E7610E}"/>
          </ac:spMkLst>
        </pc:spChg>
        <pc:spChg chg="add del mod">
          <ac:chgData name="Kebba Jeng" userId="fe4cc296-ba7d-48a2-8799-89b58d218255" providerId="ADAL" clId="{388EFDEE-447E-42B4-98EF-30C01AB2E8CD}" dt="2022-03-28T17:56:15.721" v="2251"/>
          <ac:spMkLst>
            <pc:docMk/>
            <pc:sldMk cId="0" sldId="261"/>
            <ac:spMk id="1163" creationId="{42DDDDC3-F6D6-470F-BCF5-E1E5CD5A80E2}"/>
          </ac:spMkLst>
        </pc:spChg>
        <pc:spChg chg="add del mod">
          <ac:chgData name="Kebba Jeng" userId="fe4cc296-ba7d-48a2-8799-89b58d218255" providerId="ADAL" clId="{388EFDEE-447E-42B4-98EF-30C01AB2E8CD}" dt="2022-03-28T17:56:15.721" v="2251"/>
          <ac:spMkLst>
            <pc:docMk/>
            <pc:sldMk cId="0" sldId="261"/>
            <ac:spMk id="1164" creationId="{E0C77504-7267-4BFD-BFD4-495F3D244FC0}"/>
          </ac:spMkLst>
        </pc:spChg>
        <pc:spChg chg="add del mod">
          <ac:chgData name="Kebba Jeng" userId="fe4cc296-ba7d-48a2-8799-89b58d218255" providerId="ADAL" clId="{388EFDEE-447E-42B4-98EF-30C01AB2E8CD}" dt="2022-03-28T17:56:15.721" v="2251"/>
          <ac:spMkLst>
            <pc:docMk/>
            <pc:sldMk cId="0" sldId="261"/>
            <ac:spMk id="1165" creationId="{672F8C19-2237-41C9-936A-3F5F54C3EF7F}"/>
          </ac:spMkLst>
        </pc:spChg>
        <pc:spChg chg="add del mod">
          <ac:chgData name="Kebba Jeng" userId="fe4cc296-ba7d-48a2-8799-89b58d218255" providerId="ADAL" clId="{388EFDEE-447E-42B4-98EF-30C01AB2E8CD}" dt="2022-03-28T17:56:15.721" v="2251"/>
          <ac:spMkLst>
            <pc:docMk/>
            <pc:sldMk cId="0" sldId="261"/>
            <ac:spMk id="1166" creationId="{F937434F-9EB3-47F1-AA2D-F8F60A739722}"/>
          </ac:spMkLst>
        </pc:spChg>
        <pc:spChg chg="add del mod">
          <ac:chgData name="Kebba Jeng" userId="fe4cc296-ba7d-48a2-8799-89b58d218255" providerId="ADAL" clId="{388EFDEE-447E-42B4-98EF-30C01AB2E8CD}" dt="2022-03-28T17:56:15.721" v="2251"/>
          <ac:spMkLst>
            <pc:docMk/>
            <pc:sldMk cId="0" sldId="261"/>
            <ac:spMk id="1167" creationId="{0282FE48-9E4F-4CD2-9234-C596DE902D77}"/>
          </ac:spMkLst>
        </pc:spChg>
        <pc:spChg chg="add del mod">
          <ac:chgData name="Kebba Jeng" userId="fe4cc296-ba7d-48a2-8799-89b58d218255" providerId="ADAL" clId="{388EFDEE-447E-42B4-98EF-30C01AB2E8CD}" dt="2022-03-28T17:56:15.721" v="2251"/>
          <ac:spMkLst>
            <pc:docMk/>
            <pc:sldMk cId="0" sldId="261"/>
            <ac:spMk id="1168" creationId="{65AB8B3E-8F88-4B1C-A25D-37D6D53A216C}"/>
          </ac:spMkLst>
        </pc:spChg>
        <pc:spChg chg="add del mod">
          <ac:chgData name="Kebba Jeng" userId="fe4cc296-ba7d-48a2-8799-89b58d218255" providerId="ADAL" clId="{388EFDEE-447E-42B4-98EF-30C01AB2E8CD}" dt="2022-03-28T17:56:15.721" v="2251"/>
          <ac:spMkLst>
            <pc:docMk/>
            <pc:sldMk cId="0" sldId="261"/>
            <ac:spMk id="1169" creationId="{893C7034-1E49-44A8-A9F0-3C205AF6B7C1}"/>
          </ac:spMkLst>
        </pc:spChg>
        <pc:spChg chg="add del mod">
          <ac:chgData name="Kebba Jeng" userId="fe4cc296-ba7d-48a2-8799-89b58d218255" providerId="ADAL" clId="{388EFDEE-447E-42B4-98EF-30C01AB2E8CD}" dt="2022-03-28T17:56:15.721" v="2251"/>
          <ac:spMkLst>
            <pc:docMk/>
            <pc:sldMk cId="0" sldId="261"/>
            <ac:spMk id="1170" creationId="{EBF66CF7-3B81-4E5D-A220-ADC2C28EB20F}"/>
          </ac:spMkLst>
        </pc:spChg>
        <pc:spChg chg="add del mod">
          <ac:chgData name="Kebba Jeng" userId="fe4cc296-ba7d-48a2-8799-89b58d218255" providerId="ADAL" clId="{388EFDEE-447E-42B4-98EF-30C01AB2E8CD}" dt="2022-03-28T17:56:15.721" v="2251"/>
          <ac:spMkLst>
            <pc:docMk/>
            <pc:sldMk cId="0" sldId="261"/>
            <ac:spMk id="1171" creationId="{09531AC5-4485-4E69-A40E-99E510E63453}"/>
          </ac:spMkLst>
        </pc:spChg>
        <pc:spChg chg="add del mod">
          <ac:chgData name="Kebba Jeng" userId="fe4cc296-ba7d-48a2-8799-89b58d218255" providerId="ADAL" clId="{388EFDEE-447E-42B4-98EF-30C01AB2E8CD}" dt="2022-03-28T17:56:15.721" v="2251"/>
          <ac:spMkLst>
            <pc:docMk/>
            <pc:sldMk cId="0" sldId="261"/>
            <ac:spMk id="1172" creationId="{D85F02D0-26C2-42E7-9826-F143DA467B2F}"/>
          </ac:spMkLst>
        </pc:spChg>
        <pc:spChg chg="add del mod">
          <ac:chgData name="Kebba Jeng" userId="fe4cc296-ba7d-48a2-8799-89b58d218255" providerId="ADAL" clId="{388EFDEE-447E-42B4-98EF-30C01AB2E8CD}" dt="2022-03-28T17:56:15.721" v="2251"/>
          <ac:spMkLst>
            <pc:docMk/>
            <pc:sldMk cId="0" sldId="261"/>
            <ac:spMk id="1173" creationId="{7DAB345F-7DC1-41E9-AB85-513C5B00EC22}"/>
          </ac:spMkLst>
        </pc:spChg>
        <pc:spChg chg="add del mod">
          <ac:chgData name="Kebba Jeng" userId="fe4cc296-ba7d-48a2-8799-89b58d218255" providerId="ADAL" clId="{388EFDEE-447E-42B4-98EF-30C01AB2E8CD}" dt="2022-03-28T17:56:15.721" v="2251"/>
          <ac:spMkLst>
            <pc:docMk/>
            <pc:sldMk cId="0" sldId="261"/>
            <ac:spMk id="1174" creationId="{85C417C4-5CDC-4AA3-96F3-479EED7156FA}"/>
          </ac:spMkLst>
        </pc:spChg>
        <pc:spChg chg="add del mod">
          <ac:chgData name="Kebba Jeng" userId="fe4cc296-ba7d-48a2-8799-89b58d218255" providerId="ADAL" clId="{388EFDEE-447E-42B4-98EF-30C01AB2E8CD}" dt="2022-03-28T17:56:15.721" v="2251"/>
          <ac:spMkLst>
            <pc:docMk/>
            <pc:sldMk cId="0" sldId="261"/>
            <ac:spMk id="1175" creationId="{C8C65F6A-4521-4CDE-8D77-F16CFEE12DF5}"/>
          </ac:spMkLst>
        </pc:spChg>
        <pc:spChg chg="add del mod">
          <ac:chgData name="Kebba Jeng" userId="fe4cc296-ba7d-48a2-8799-89b58d218255" providerId="ADAL" clId="{388EFDEE-447E-42B4-98EF-30C01AB2E8CD}" dt="2022-03-28T17:56:15.721" v="2251"/>
          <ac:spMkLst>
            <pc:docMk/>
            <pc:sldMk cId="0" sldId="261"/>
            <ac:spMk id="1176" creationId="{576E6985-A4EF-4675-8CD0-FE61E5215C47}"/>
          </ac:spMkLst>
        </pc:spChg>
        <pc:spChg chg="add del mod">
          <ac:chgData name="Kebba Jeng" userId="fe4cc296-ba7d-48a2-8799-89b58d218255" providerId="ADAL" clId="{388EFDEE-447E-42B4-98EF-30C01AB2E8CD}" dt="2022-03-28T17:56:15.721" v="2251"/>
          <ac:spMkLst>
            <pc:docMk/>
            <pc:sldMk cId="0" sldId="261"/>
            <ac:spMk id="1177" creationId="{8CC71E94-ABF1-41C2-BFCC-238F0206B9E1}"/>
          </ac:spMkLst>
        </pc:spChg>
        <pc:spChg chg="add del mod">
          <ac:chgData name="Kebba Jeng" userId="fe4cc296-ba7d-48a2-8799-89b58d218255" providerId="ADAL" clId="{388EFDEE-447E-42B4-98EF-30C01AB2E8CD}" dt="2022-03-28T17:56:15.721" v="2251"/>
          <ac:spMkLst>
            <pc:docMk/>
            <pc:sldMk cId="0" sldId="261"/>
            <ac:spMk id="1178" creationId="{F70AEA19-E463-4580-971A-CE18399EA349}"/>
          </ac:spMkLst>
        </pc:spChg>
        <pc:spChg chg="add del mod">
          <ac:chgData name="Kebba Jeng" userId="fe4cc296-ba7d-48a2-8799-89b58d218255" providerId="ADAL" clId="{388EFDEE-447E-42B4-98EF-30C01AB2E8CD}" dt="2022-03-28T17:56:15.721" v="2251"/>
          <ac:spMkLst>
            <pc:docMk/>
            <pc:sldMk cId="0" sldId="261"/>
            <ac:spMk id="1179" creationId="{7AE1F2E6-B25B-4C03-A90B-3F012C031944}"/>
          </ac:spMkLst>
        </pc:spChg>
        <pc:spChg chg="add del mod">
          <ac:chgData name="Kebba Jeng" userId="fe4cc296-ba7d-48a2-8799-89b58d218255" providerId="ADAL" clId="{388EFDEE-447E-42B4-98EF-30C01AB2E8CD}" dt="2022-03-28T17:56:15.721" v="2251"/>
          <ac:spMkLst>
            <pc:docMk/>
            <pc:sldMk cId="0" sldId="261"/>
            <ac:spMk id="1180" creationId="{0298E581-739B-428A-85E4-5B3BE63E3113}"/>
          </ac:spMkLst>
        </pc:spChg>
        <pc:spChg chg="add del mod">
          <ac:chgData name="Kebba Jeng" userId="fe4cc296-ba7d-48a2-8799-89b58d218255" providerId="ADAL" clId="{388EFDEE-447E-42B4-98EF-30C01AB2E8CD}" dt="2022-03-28T17:56:15.721" v="2251"/>
          <ac:spMkLst>
            <pc:docMk/>
            <pc:sldMk cId="0" sldId="261"/>
            <ac:spMk id="1181" creationId="{140A16EE-7D05-4CC1-B6FF-1403EA22E008}"/>
          </ac:spMkLst>
        </pc:spChg>
        <pc:spChg chg="add del mod">
          <ac:chgData name="Kebba Jeng" userId="fe4cc296-ba7d-48a2-8799-89b58d218255" providerId="ADAL" clId="{388EFDEE-447E-42B4-98EF-30C01AB2E8CD}" dt="2022-03-28T17:56:15.721" v="2251"/>
          <ac:spMkLst>
            <pc:docMk/>
            <pc:sldMk cId="0" sldId="261"/>
            <ac:spMk id="1182" creationId="{5AAB3861-7989-4D99-B541-C9FD58FD4209}"/>
          </ac:spMkLst>
        </pc:spChg>
        <pc:spChg chg="add del mod">
          <ac:chgData name="Kebba Jeng" userId="fe4cc296-ba7d-48a2-8799-89b58d218255" providerId="ADAL" clId="{388EFDEE-447E-42B4-98EF-30C01AB2E8CD}" dt="2022-03-28T17:56:15.721" v="2251"/>
          <ac:spMkLst>
            <pc:docMk/>
            <pc:sldMk cId="0" sldId="261"/>
            <ac:spMk id="1183" creationId="{72F0FDAF-3A5B-430E-B745-EAAC1B95FFA8}"/>
          </ac:spMkLst>
        </pc:spChg>
        <pc:spChg chg="add del mod">
          <ac:chgData name="Kebba Jeng" userId="fe4cc296-ba7d-48a2-8799-89b58d218255" providerId="ADAL" clId="{388EFDEE-447E-42B4-98EF-30C01AB2E8CD}" dt="2022-03-28T17:56:15.721" v="2251"/>
          <ac:spMkLst>
            <pc:docMk/>
            <pc:sldMk cId="0" sldId="261"/>
            <ac:spMk id="1184" creationId="{EBD22D3F-F59C-44D9-8AC8-75B43709253C}"/>
          </ac:spMkLst>
        </pc:spChg>
        <pc:spChg chg="add del mod">
          <ac:chgData name="Kebba Jeng" userId="fe4cc296-ba7d-48a2-8799-89b58d218255" providerId="ADAL" clId="{388EFDEE-447E-42B4-98EF-30C01AB2E8CD}" dt="2022-03-28T17:56:15.721" v="2251"/>
          <ac:spMkLst>
            <pc:docMk/>
            <pc:sldMk cId="0" sldId="261"/>
            <ac:spMk id="1185" creationId="{9B99F3E1-A3A5-4874-AED2-2FF313689854}"/>
          </ac:spMkLst>
        </pc:spChg>
        <pc:spChg chg="add del mod">
          <ac:chgData name="Kebba Jeng" userId="fe4cc296-ba7d-48a2-8799-89b58d218255" providerId="ADAL" clId="{388EFDEE-447E-42B4-98EF-30C01AB2E8CD}" dt="2022-03-28T17:56:15.721" v="2251"/>
          <ac:spMkLst>
            <pc:docMk/>
            <pc:sldMk cId="0" sldId="261"/>
            <ac:spMk id="1186" creationId="{D9065188-AB43-438B-9A66-D954DE3C2818}"/>
          </ac:spMkLst>
        </pc:spChg>
        <pc:spChg chg="add del mod">
          <ac:chgData name="Kebba Jeng" userId="fe4cc296-ba7d-48a2-8799-89b58d218255" providerId="ADAL" clId="{388EFDEE-447E-42B4-98EF-30C01AB2E8CD}" dt="2022-03-28T17:56:15.721" v="2251"/>
          <ac:spMkLst>
            <pc:docMk/>
            <pc:sldMk cId="0" sldId="261"/>
            <ac:spMk id="1187" creationId="{9228136C-608E-4397-AA6B-E3DE41A9FCD7}"/>
          </ac:spMkLst>
        </pc:spChg>
        <pc:spChg chg="add del mod">
          <ac:chgData name="Kebba Jeng" userId="fe4cc296-ba7d-48a2-8799-89b58d218255" providerId="ADAL" clId="{388EFDEE-447E-42B4-98EF-30C01AB2E8CD}" dt="2022-03-28T17:56:15.721" v="2251"/>
          <ac:spMkLst>
            <pc:docMk/>
            <pc:sldMk cId="0" sldId="261"/>
            <ac:spMk id="1188" creationId="{A5D16771-C6CD-42B2-B444-0F9DBB26B4AC}"/>
          </ac:spMkLst>
        </pc:spChg>
        <pc:spChg chg="add del mod">
          <ac:chgData name="Kebba Jeng" userId="fe4cc296-ba7d-48a2-8799-89b58d218255" providerId="ADAL" clId="{388EFDEE-447E-42B4-98EF-30C01AB2E8CD}" dt="2022-03-28T17:56:15.721" v="2251"/>
          <ac:spMkLst>
            <pc:docMk/>
            <pc:sldMk cId="0" sldId="261"/>
            <ac:spMk id="1189" creationId="{A0911092-9209-4DF7-BB95-8C392E5D2C5D}"/>
          </ac:spMkLst>
        </pc:spChg>
        <pc:spChg chg="add del mod">
          <ac:chgData name="Kebba Jeng" userId="fe4cc296-ba7d-48a2-8799-89b58d218255" providerId="ADAL" clId="{388EFDEE-447E-42B4-98EF-30C01AB2E8CD}" dt="2022-03-28T17:56:15.721" v="2251"/>
          <ac:spMkLst>
            <pc:docMk/>
            <pc:sldMk cId="0" sldId="261"/>
            <ac:spMk id="1190" creationId="{9AAA4AD0-051D-4C6E-965B-267E44745376}"/>
          </ac:spMkLst>
        </pc:spChg>
        <pc:spChg chg="add del mod">
          <ac:chgData name="Kebba Jeng" userId="fe4cc296-ba7d-48a2-8799-89b58d218255" providerId="ADAL" clId="{388EFDEE-447E-42B4-98EF-30C01AB2E8CD}" dt="2022-03-28T17:56:15.721" v="2251"/>
          <ac:spMkLst>
            <pc:docMk/>
            <pc:sldMk cId="0" sldId="261"/>
            <ac:spMk id="1191" creationId="{624045B8-372E-4CB4-889F-7DE8C717CB1C}"/>
          </ac:spMkLst>
        </pc:spChg>
        <pc:spChg chg="add del mod">
          <ac:chgData name="Kebba Jeng" userId="fe4cc296-ba7d-48a2-8799-89b58d218255" providerId="ADAL" clId="{388EFDEE-447E-42B4-98EF-30C01AB2E8CD}" dt="2022-03-28T17:56:15.721" v="2251"/>
          <ac:spMkLst>
            <pc:docMk/>
            <pc:sldMk cId="0" sldId="261"/>
            <ac:spMk id="1192" creationId="{E9BC39BD-9665-4A28-9BE0-D1093E732471}"/>
          </ac:spMkLst>
        </pc:spChg>
        <pc:spChg chg="add del mod">
          <ac:chgData name="Kebba Jeng" userId="fe4cc296-ba7d-48a2-8799-89b58d218255" providerId="ADAL" clId="{388EFDEE-447E-42B4-98EF-30C01AB2E8CD}" dt="2022-03-28T17:56:15.721" v="2251"/>
          <ac:spMkLst>
            <pc:docMk/>
            <pc:sldMk cId="0" sldId="261"/>
            <ac:spMk id="1193" creationId="{155D1156-238D-4237-87D4-8AB1447F9489}"/>
          </ac:spMkLst>
        </pc:spChg>
        <pc:spChg chg="add del mod">
          <ac:chgData name="Kebba Jeng" userId="fe4cc296-ba7d-48a2-8799-89b58d218255" providerId="ADAL" clId="{388EFDEE-447E-42B4-98EF-30C01AB2E8CD}" dt="2022-03-28T17:56:15.721" v="2251"/>
          <ac:spMkLst>
            <pc:docMk/>
            <pc:sldMk cId="0" sldId="261"/>
            <ac:spMk id="1194" creationId="{0F0356D3-E0E0-4E24-A516-5F6819E25A6E}"/>
          </ac:spMkLst>
        </pc:spChg>
        <pc:spChg chg="add del mod">
          <ac:chgData name="Kebba Jeng" userId="fe4cc296-ba7d-48a2-8799-89b58d218255" providerId="ADAL" clId="{388EFDEE-447E-42B4-98EF-30C01AB2E8CD}" dt="2022-03-28T17:56:15.721" v="2251"/>
          <ac:spMkLst>
            <pc:docMk/>
            <pc:sldMk cId="0" sldId="261"/>
            <ac:spMk id="1195" creationId="{AF545FD1-529D-4D52-9A36-4BC6A36F1EB3}"/>
          </ac:spMkLst>
        </pc:spChg>
        <pc:spChg chg="add del mod">
          <ac:chgData name="Kebba Jeng" userId="fe4cc296-ba7d-48a2-8799-89b58d218255" providerId="ADAL" clId="{388EFDEE-447E-42B4-98EF-30C01AB2E8CD}" dt="2022-03-28T17:56:15.721" v="2251"/>
          <ac:spMkLst>
            <pc:docMk/>
            <pc:sldMk cId="0" sldId="261"/>
            <ac:spMk id="1196" creationId="{E4B380B1-FBE8-4139-BFFF-0FCF6FF8752A}"/>
          </ac:spMkLst>
        </pc:spChg>
        <pc:spChg chg="add del mod">
          <ac:chgData name="Kebba Jeng" userId="fe4cc296-ba7d-48a2-8799-89b58d218255" providerId="ADAL" clId="{388EFDEE-447E-42B4-98EF-30C01AB2E8CD}" dt="2022-03-28T17:56:15.721" v="2251"/>
          <ac:spMkLst>
            <pc:docMk/>
            <pc:sldMk cId="0" sldId="261"/>
            <ac:spMk id="1197" creationId="{8E4EC777-F76F-4D10-AE7D-4C9765BCE6E3}"/>
          </ac:spMkLst>
        </pc:spChg>
        <pc:spChg chg="add del mod">
          <ac:chgData name="Kebba Jeng" userId="fe4cc296-ba7d-48a2-8799-89b58d218255" providerId="ADAL" clId="{388EFDEE-447E-42B4-98EF-30C01AB2E8CD}" dt="2022-03-28T17:56:15.721" v="2251"/>
          <ac:spMkLst>
            <pc:docMk/>
            <pc:sldMk cId="0" sldId="261"/>
            <ac:spMk id="1198" creationId="{7C249338-081D-46F9-8F0C-45193031C0A9}"/>
          </ac:spMkLst>
        </pc:spChg>
        <pc:spChg chg="add del mod">
          <ac:chgData name="Kebba Jeng" userId="fe4cc296-ba7d-48a2-8799-89b58d218255" providerId="ADAL" clId="{388EFDEE-447E-42B4-98EF-30C01AB2E8CD}" dt="2022-03-28T17:56:15.721" v="2251"/>
          <ac:spMkLst>
            <pc:docMk/>
            <pc:sldMk cId="0" sldId="261"/>
            <ac:spMk id="1199" creationId="{CF485F1B-A2F7-42FF-AC72-6A2A9B2C4D89}"/>
          </ac:spMkLst>
        </pc:spChg>
        <pc:spChg chg="add del mod">
          <ac:chgData name="Kebba Jeng" userId="fe4cc296-ba7d-48a2-8799-89b58d218255" providerId="ADAL" clId="{388EFDEE-447E-42B4-98EF-30C01AB2E8CD}" dt="2022-03-28T17:56:15.721" v="2251"/>
          <ac:spMkLst>
            <pc:docMk/>
            <pc:sldMk cId="0" sldId="261"/>
            <ac:spMk id="1200" creationId="{B1FE830D-6A13-48BF-AC1B-D690BC3EB891}"/>
          </ac:spMkLst>
        </pc:spChg>
        <pc:spChg chg="add del mod">
          <ac:chgData name="Kebba Jeng" userId="fe4cc296-ba7d-48a2-8799-89b58d218255" providerId="ADAL" clId="{388EFDEE-447E-42B4-98EF-30C01AB2E8CD}" dt="2022-03-28T17:56:15.721" v="2251"/>
          <ac:spMkLst>
            <pc:docMk/>
            <pc:sldMk cId="0" sldId="261"/>
            <ac:spMk id="1201" creationId="{392BE97A-067E-493E-95FB-CD068A78A4B7}"/>
          </ac:spMkLst>
        </pc:spChg>
        <pc:spChg chg="add del mod">
          <ac:chgData name="Kebba Jeng" userId="fe4cc296-ba7d-48a2-8799-89b58d218255" providerId="ADAL" clId="{388EFDEE-447E-42B4-98EF-30C01AB2E8CD}" dt="2022-03-28T17:56:15.721" v="2251"/>
          <ac:spMkLst>
            <pc:docMk/>
            <pc:sldMk cId="0" sldId="261"/>
            <ac:spMk id="1202" creationId="{F02DC539-F517-4802-BE98-ACE851057B08}"/>
          </ac:spMkLst>
        </pc:spChg>
        <pc:spChg chg="add del mod">
          <ac:chgData name="Kebba Jeng" userId="fe4cc296-ba7d-48a2-8799-89b58d218255" providerId="ADAL" clId="{388EFDEE-447E-42B4-98EF-30C01AB2E8CD}" dt="2022-03-28T17:56:15.721" v="2251"/>
          <ac:spMkLst>
            <pc:docMk/>
            <pc:sldMk cId="0" sldId="261"/>
            <ac:spMk id="1203" creationId="{B7F8B32E-46A6-44DA-A54F-135A7555A644}"/>
          </ac:spMkLst>
        </pc:spChg>
        <pc:spChg chg="add del mod">
          <ac:chgData name="Kebba Jeng" userId="fe4cc296-ba7d-48a2-8799-89b58d218255" providerId="ADAL" clId="{388EFDEE-447E-42B4-98EF-30C01AB2E8CD}" dt="2022-03-28T17:56:15.721" v="2251"/>
          <ac:spMkLst>
            <pc:docMk/>
            <pc:sldMk cId="0" sldId="261"/>
            <ac:spMk id="1204" creationId="{EDFE0AC3-CD1D-4663-9050-7EDE8EEF0932}"/>
          </ac:spMkLst>
        </pc:spChg>
        <pc:spChg chg="add del mod">
          <ac:chgData name="Kebba Jeng" userId="fe4cc296-ba7d-48a2-8799-89b58d218255" providerId="ADAL" clId="{388EFDEE-447E-42B4-98EF-30C01AB2E8CD}" dt="2022-03-28T17:56:15.721" v="2251"/>
          <ac:spMkLst>
            <pc:docMk/>
            <pc:sldMk cId="0" sldId="261"/>
            <ac:spMk id="1205" creationId="{F84FD3EF-5DD4-450B-BC47-547AB0904985}"/>
          </ac:spMkLst>
        </pc:spChg>
        <pc:spChg chg="add del mod">
          <ac:chgData name="Kebba Jeng" userId="fe4cc296-ba7d-48a2-8799-89b58d218255" providerId="ADAL" clId="{388EFDEE-447E-42B4-98EF-30C01AB2E8CD}" dt="2022-03-28T17:56:15.721" v="2251"/>
          <ac:spMkLst>
            <pc:docMk/>
            <pc:sldMk cId="0" sldId="261"/>
            <ac:spMk id="1206" creationId="{CBAB4373-0058-4150-80A5-BC3EFA6D1A81}"/>
          </ac:spMkLst>
        </pc:spChg>
        <pc:spChg chg="add del mod">
          <ac:chgData name="Kebba Jeng" userId="fe4cc296-ba7d-48a2-8799-89b58d218255" providerId="ADAL" clId="{388EFDEE-447E-42B4-98EF-30C01AB2E8CD}" dt="2022-03-28T17:56:15.721" v="2251"/>
          <ac:spMkLst>
            <pc:docMk/>
            <pc:sldMk cId="0" sldId="261"/>
            <ac:spMk id="1207" creationId="{B8FDDDCD-C957-4306-94E3-06308A75D577}"/>
          </ac:spMkLst>
        </pc:spChg>
        <pc:spChg chg="add del mod">
          <ac:chgData name="Kebba Jeng" userId="fe4cc296-ba7d-48a2-8799-89b58d218255" providerId="ADAL" clId="{388EFDEE-447E-42B4-98EF-30C01AB2E8CD}" dt="2022-03-28T17:56:15.721" v="2251"/>
          <ac:spMkLst>
            <pc:docMk/>
            <pc:sldMk cId="0" sldId="261"/>
            <ac:spMk id="1208" creationId="{8CD3F18E-3860-4240-9726-07166D7A3FE1}"/>
          </ac:spMkLst>
        </pc:spChg>
        <pc:spChg chg="add del mod">
          <ac:chgData name="Kebba Jeng" userId="fe4cc296-ba7d-48a2-8799-89b58d218255" providerId="ADAL" clId="{388EFDEE-447E-42B4-98EF-30C01AB2E8CD}" dt="2022-03-28T17:56:15.721" v="2251"/>
          <ac:spMkLst>
            <pc:docMk/>
            <pc:sldMk cId="0" sldId="261"/>
            <ac:spMk id="1209" creationId="{D180CE02-761D-44FB-AA48-AE6FA8DFF616}"/>
          </ac:spMkLst>
        </pc:spChg>
        <pc:spChg chg="add del mod">
          <ac:chgData name="Kebba Jeng" userId="fe4cc296-ba7d-48a2-8799-89b58d218255" providerId="ADAL" clId="{388EFDEE-447E-42B4-98EF-30C01AB2E8CD}" dt="2022-03-28T17:56:15.721" v="2251"/>
          <ac:spMkLst>
            <pc:docMk/>
            <pc:sldMk cId="0" sldId="261"/>
            <ac:spMk id="1210" creationId="{F41ADE94-0E28-49E4-B941-AF5DF127033F}"/>
          </ac:spMkLst>
        </pc:spChg>
        <pc:spChg chg="add del mod">
          <ac:chgData name="Kebba Jeng" userId="fe4cc296-ba7d-48a2-8799-89b58d218255" providerId="ADAL" clId="{388EFDEE-447E-42B4-98EF-30C01AB2E8CD}" dt="2022-03-28T17:56:15.721" v="2251"/>
          <ac:spMkLst>
            <pc:docMk/>
            <pc:sldMk cId="0" sldId="261"/>
            <ac:spMk id="1211" creationId="{0C72011F-67E6-44A3-80E8-AAF1E07873F8}"/>
          </ac:spMkLst>
        </pc:spChg>
        <pc:spChg chg="add del mod">
          <ac:chgData name="Kebba Jeng" userId="fe4cc296-ba7d-48a2-8799-89b58d218255" providerId="ADAL" clId="{388EFDEE-447E-42B4-98EF-30C01AB2E8CD}" dt="2022-03-28T17:56:15.721" v="2251"/>
          <ac:spMkLst>
            <pc:docMk/>
            <pc:sldMk cId="0" sldId="261"/>
            <ac:spMk id="1212" creationId="{AC349F7D-0FB7-422E-9380-90B5E3E86A19}"/>
          </ac:spMkLst>
        </pc:spChg>
        <pc:spChg chg="add del mod">
          <ac:chgData name="Kebba Jeng" userId="fe4cc296-ba7d-48a2-8799-89b58d218255" providerId="ADAL" clId="{388EFDEE-447E-42B4-98EF-30C01AB2E8CD}" dt="2022-03-28T17:56:15.721" v="2251"/>
          <ac:spMkLst>
            <pc:docMk/>
            <pc:sldMk cId="0" sldId="261"/>
            <ac:spMk id="1213" creationId="{9613BDBB-320C-4073-A082-86EFA983EE5E}"/>
          </ac:spMkLst>
        </pc:spChg>
        <pc:spChg chg="add del mod">
          <ac:chgData name="Kebba Jeng" userId="fe4cc296-ba7d-48a2-8799-89b58d218255" providerId="ADAL" clId="{388EFDEE-447E-42B4-98EF-30C01AB2E8CD}" dt="2022-03-28T17:56:15.721" v="2251"/>
          <ac:spMkLst>
            <pc:docMk/>
            <pc:sldMk cId="0" sldId="261"/>
            <ac:spMk id="1214" creationId="{301177ED-6536-4476-BA2A-6214912E16F7}"/>
          </ac:spMkLst>
        </pc:spChg>
        <pc:spChg chg="add del mod">
          <ac:chgData name="Kebba Jeng" userId="fe4cc296-ba7d-48a2-8799-89b58d218255" providerId="ADAL" clId="{388EFDEE-447E-42B4-98EF-30C01AB2E8CD}" dt="2022-03-28T17:56:15.721" v="2251"/>
          <ac:spMkLst>
            <pc:docMk/>
            <pc:sldMk cId="0" sldId="261"/>
            <ac:spMk id="1215" creationId="{753029E9-7E66-4AD7-8D62-DF6722AD8A9F}"/>
          </ac:spMkLst>
        </pc:spChg>
        <pc:spChg chg="add del mod">
          <ac:chgData name="Kebba Jeng" userId="fe4cc296-ba7d-48a2-8799-89b58d218255" providerId="ADAL" clId="{388EFDEE-447E-42B4-98EF-30C01AB2E8CD}" dt="2022-03-28T17:56:15.721" v="2251"/>
          <ac:spMkLst>
            <pc:docMk/>
            <pc:sldMk cId="0" sldId="261"/>
            <ac:spMk id="1216" creationId="{6E067EEA-B8FA-4449-90F0-BADB20A86B26}"/>
          </ac:spMkLst>
        </pc:spChg>
        <pc:spChg chg="add del mod">
          <ac:chgData name="Kebba Jeng" userId="fe4cc296-ba7d-48a2-8799-89b58d218255" providerId="ADAL" clId="{388EFDEE-447E-42B4-98EF-30C01AB2E8CD}" dt="2022-03-28T17:56:15.721" v="2251"/>
          <ac:spMkLst>
            <pc:docMk/>
            <pc:sldMk cId="0" sldId="261"/>
            <ac:spMk id="1217" creationId="{6C0BB825-68A8-487E-BF41-1551C24E4948}"/>
          </ac:spMkLst>
        </pc:spChg>
        <pc:spChg chg="add del mod">
          <ac:chgData name="Kebba Jeng" userId="fe4cc296-ba7d-48a2-8799-89b58d218255" providerId="ADAL" clId="{388EFDEE-447E-42B4-98EF-30C01AB2E8CD}" dt="2022-03-28T17:56:15.721" v="2251"/>
          <ac:spMkLst>
            <pc:docMk/>
            <pc:sldMk cId="0" sldId="261"/>
            <ac:spMk id="1218" creationId="{2CEF6158-82F3-4209-BFA1-28C8FE2C6F3B}"/>
          </ac:spMkLst>
        </pc:spChg>
        <pc:spChg chg="add del mod">
          <ac:chgData name="Kebba Jeng" userId="fe4cc296-ba7d-48a2-8799-89b58d218255" providerId="ADAL" clId="{388EFDEE-447E-42B4-98EF-30C01AB2E8CD}" dt="2022-03-28T17:56:15.721" v="2251"/>
          <ac:spMkLst>
            <pc:docMk/>
            <pc:sldMk cId="0" sldId="261"/>
            <ac:spMk id="1219" creationId="{22E2DC42-D380-44C8-B9A3-3FB397185D38}"/>
          </ac:spMkLst>
        </pc:spChg>
        <pc:spChg chg="add del mod">
          <ac:chgData name="Kebba Jeng" userId="fe4cc296-ba7d-48a2-8799-89b58d218255" providerId="ADAL" clId="{388EFDEE-447E-42B4-98EF-30C01AB2E8CD}" dt="2022-03-28T17:56:15.721" v="2251"/>
          <ac:spMkLst>
            <pc:docMk/>
            <pc:sldMk cId="0" sldId="261"/>
            <ac:spMk id="1220" creationId="{B7EB899A-5F8C-4014-9B2B-67C326B7B209}"/>
          </ac:spMkLst>
        </pc:spChg>
        <pc:spChg chg="add del mod">
          <ac:chgData name="Kebba Jeng" userId="fe4cc296-ba7d-48a2-8799-89b58d218255" providerId="ADAL" clId="{388EFDEE-447E-42B4-98EF-30C01AB2E8CD}" dt="2022-03-28T17:56:15.721" v="2251"/>
          <ac:spMkLst>
            <pc:docMk/>
            <pc:sldMk cId="0" sldId="261"/>
            <ac:spMk id="1221" creationId="{986F9284-AD2F-4CAC-A1B5-0EBAEEBE643F}"/>
          </ac:spMkLst>
        </pc:spChg>
        <pc:spChg chg="add del mod">
          <ac:chgData name="Kebba Jeng" userId="fe4cc296-ba7d-48a2-8799-89b58d218255" providerId="ADAL" clId="{388EFDEE-447E-42B4-98EF-30C01AB2E8CD}" dt="2022-03-28T17:56:15.721" v="2251"/>
          <ac:spMkLst>
            <pc:docMk/>
            <pc:sldMk cId="0" sldId="261"/>
            <ac:spMk id="1222" creationId="{C623EB97-504C-4801-AAD7-06B866D7A6A2}"/>
          </ac:spMkLst>
        </pc:spChg>
        <pc:spChg chg="add del mod">
          <ac:chgData name="Kebba Jeng" userId="fe4cc296-ba7d-48a2-8799-89b58d218255" providerId="ADAL" clId="{388EFDEE-447E-42B4-98EF-30C01AB2E8CD}" dt="2022-03-28T17:56:15.721" v="2251"/>
          <ac:spMkLst>
            <pc:docMk/>
            <pc:sldMk cId="0" sldId="261"/>
            <ac:spMk id="1223" creationId="{6DF73CC5-8C65-40AE-9D3F-C1E0D9787758}"/>
          </ac:spMkLst>
        </pc:spChg>
        <pc:spChg chg="add del mod">
          <ac:chgData name="Kebba Jeng" userId="fe4cc296-ba7d-48a2-8799-89b58d218255" providerId="ADAL" clId="{388EFDEE-447E-42B4-98EF-30C01AB2E8CD}" dt="2022-03-28T17:56:15.721" v="2251"/>
          <ac:spMkLst>
            <pc:docMk/>
            <pc:sldMk cId="0" sldId="261"/>
            <ac:spMk id="1224" creationId="{12784423-BFBB-4EEB-A41D-31B90BF77558}"/>
          </ac:spMkLst>
        </pc:spChg>
        <pc:spChg chg="add del mod">
          <ac:chgData name="Kebba Jeng" userId="fe4cc296-ba7d-48a2-8799-89b58d218255" providerId="ADAL" clId="{388EFDEE-447E-42B4-98EF-30C01AB2E8CD}" dt="2022-03-28T17:56:15.721" v="2251"/>
          <ac:spMkLst>
            <pc:docMk/>
            <pc:sldMk cId="0" sldId="261"/>
            <ac:spMk id="1225" creationId="{7B248A1D-5988-4CB4-BFD9-1B94D705B877}"/>
          </ac:spMkLst>
        </pc:spChg>
        <pc:spChg chg="add del mod">
          <ac:chgData name="Kebba Jeng" userId="fe4cc296-ba7d-48a2-8799-89b58d218255" providerId="ADAL" clId="{388EFDEE-447E-42B4-98EF-30C01AB2E8CD}" dt="2022-03-28T17:56:15.721" v="2251"/>
          <ac:spMkLst>
            <pc:docMk/>
            <pc:sldMk cId="0" sldId="261"/>
            <ac:spMk id="1226" creationId="{9D70E130-66F4-4AC8-A584-E81F41FAA793}"/>
          </ac:spMkLst>
        </pc:spChg>
        <pc:spChg chg="add del mod">
          <ac:chgData name="Kebba Jeng" userId="fe4cc296-ba7d-48a2-8799-89b58d218255" providerId="ADAL" clId="{388EFDEE-447E-42B4-98EF-30C01AB2E8CD}" dt="2022-03-28T17:56:15.721" v="2251"/>
          <ac:spMkLst>
            <pc:docMk/>
            <pc:sldMk cId="0" sldId="261"/>
            <ac:spMk id="1227" creationId="{6E182CAB-2C6C-44DE-AD2C-C1661A9174D7}"/>
          </ac:spMkLst>
        </pc:spChg>
        <pc:spChg chg="add del mod">
          <ac:chgData name="Kebba Jeng" userId="fe4cc296-ba7d-48a2-8799-89b58d218255" providerId="ADAL" clId="{388EFDEE-447E-42B4-98EF-30C01AB2E8CD}" dt="2022-03-28T17:56:15.721" v="2251"/>
          <ac:spMkLst>
            <pc:docMk/>
            <pc:sldMk cId="0" sldId="261"/>
            <ac:spMk id="1228" creationId="{20D8D964-40C8-4795-AF87-0B21048F9577}"/>
          </ac:spMkLst>
        </pc:spChg>
        <pc:spChg chg="add del mod">
          <ac:chgData name="Kebba Jeng" userId="fe4cc296-ba7d-48a2-8799-89b58d218255" providerId="ADAL" clId="{388EFDEE-447E-42B4-98EF-30C01AB2E8CD}" dt="2022-03-28T17:56:15.721" v="2251"/>
          <ac:spMkLst>
            <pc:docMk/>
            <pc:sldMk cId="0" sldId="261"/>
            <ac:spMk id="1229" creationId="{BE3CB584-6B5E-45F5-B18D-0833F8A18E91}"/>
          </ac:spMkLst>
        </pc:spChg>
        <pc:spChg chg="add del mod">
          <ac:chgData name="Kebba Jeng" userId="fe4cc296-ba7d-48a2-8799-89b58d218255" providerId="ADAL" clId="{388EFDEE-447E-42B4-98EF-30C01AB2E8CD}" dt="2022-03-28T17:56:15.721" v="2251"/>
          <ac:spMkLst>
            <pc:docMk/>
            <pc:sldMk cId="0" sldId="261"/>
            <ac:spMk id="1230" creationId="{FF49DDD0-B6FA-450B-AB16-AA541A409995}"/>
          </ac:spMkLst>
        </pc:spChg>
        <pc:spChg chg="add del mod">
          <ac:chgData name="Kebba Jeng" userId="fe4cc296-ba7d-48a2-8799-89b58d218255" providerId="ADAL" clId="{388EFDEE-447E-42B4-98EF-30C01AB2E8CD}" dt="2022-03-28T17:56:15.721" v="2251"/>
          <ac:spMkLst>
            <pc:docMk/>
            <pc:sldMk cId="0" sldId="261"/>
            <ac:spMk id="1231" creationId="{EBA63C9C-BDEE-4D34-A25F-6A9F5D92495D}"/>
          </ac:spMkLst>
        </pc:spChg>
        <pc:spChg chg="add del mod">
          <ac:chgData name="Kebba Jeng" userId="fe4cc296-ba7d-48a2-8799-89b58d218255" providerId="ADAL" clId="{388EFDEE-447E-42B4-98EF-30C01AB2E8CD}" dt="2022-03-28T17:56:15.721" v="2251"/>
          <ac:spMkLst>
            <pc:docMk/>
            <pc:sldMk cId="0" sldId="261"/>
            <ac:spMk id="1232" creationId="{52E01A8F-935D-4516-A8DD-1EFF7EB1180A}"/>
          </ac:spMkLst>
        </pc:spChg>
        <pc:spChg chg="add del mod">
          <ac:chgData name="Kebba Jeng" userId="fe4cc296-ba7d-48a2-8799-89b58d218255" providerId="ADAL" clId="{388EFDEE-447E-42B4-98EF-30C01AB2E8CD}" dt="2022-03-28T17:56:15.721" v="2251"/>
          <ac:spMkLst>
            <pc:docMk/>
            <pc:sldMk cId="0" sldId="261"/>
            <ac:spMk id="1233" creationId="{89B74963-8C53-4F26-B173-31A1F993FB7B}"/>
          </ac:spMkLst>
        </pc:spChg>
        <pc:spChg chg="add del mod">
          <ac:chgData name="Kebba Jeng" userId="fe4cc296-ba7d-48a2-8799-89b58d218255" providerId="ADAL" clId="{388EFDEE-447E-42B4-98EF-30C01AB2E8CD}" dt="2022-03-28T17:56:15.721" v="2251"/>
          <ac:spMkLst>
            <pc:docMk/>
            <pc:sldMk cId="0" sldId="261"/>
            <ac:spMk id="1234" creationId="{30D83451-613A-4808-A3F6-27CFB97B6C51}"/>
          </ac:spMkLst>
        </pc:spChg>
        <pc:spChg chg="add del mod">
          <ac:chgData name="Kebba Jeng" userId="fe4cc296-ba7d-48a2-8799-89b58d218255" providerId="ADAL" clId="{388EFDEE-447E-42B4-98EF-30C01AB2E8CD}" dt="2022-03-28T17:56:15.721" v="2251"/>
          <ac:spMkLst>
            <pc:docMk/>
            <pc:sldMk cId="0" sldId="261"/>
            <ac:spMk id="1235" creationId="{B39DE2D3-9A74-44EA-B5CE-13C4DD3AD167}"/>
          </ac:spMkLst>
        </pc:spChg>
        <pc:spChg chg="add del mod">
          <ac:chgData name="Kebba Jeng" userId="fe4cc296-ba7d-48a2-8799-89b58d218255" providerId="ADAL" clId="{388EFDEE-447E-42B4-98EF-30C01AB2E8CD}" dt="2022-03-28T17:56:15.721" v="2251"/>
          <ac:spMkLst>
            <pc:docMk/>
            <pc:sldMk cId="0" sldId="261"/>
            <ac:spMk id="1236" creationId="{6253A608-BFAE-4D79-ADFF-96D828268989}"/>
          </ac:spMkLst>
        </pc:spChg>
        <pc:spChg chg="add del mod">
          <ac:chgData name="Kebba Jeng" userId="fe4cc296-ba7d-48a2-8799-89b58d218255" providerId="ADAL" clId="{388EFDEE-447E-42B4-98EF-30C01AB2E8CD}" dt="2022-03-28T17:56:15.721" v="2251"/>
          <ac:spMkLst>
            <pc:docMk/>
            <pc:sldMk cId="0" sldId="261"/>
            <ac:spMk id="1237" creationId="{B521B7B6-85AA-4F20-95B5-48E6D59CE45C}"/>
          </ac:spMkLst>
        </pc:spChg>
        <pc:spChg chg="add del mod">
          <ac:chgData name="Kebba Jeng" userId="fe4cc296-ba7d-48a2-8799-89b58d218255" providerId="ADAL" clId="{388EFDEE-447E-42B4-98EF-30C01AB2E8CD}" dt="2022-03-28T17:56:15.721" v="2251"/>
          <ac:spMkLst>
            <pc:docMk/>
            <pc:sldMk cId="0" sldId="261"/>
            <ac:spMk id="1238" creationId="{0456135C-7CDD-4AC0-B369-82CD48642D40}"/>
          </ac:spMkLst>
        </pc:spChg>
        <pc:spChg chg="add del mod">
          <ac:chgData name="Kebba Jeng" userId="fe4cc296-ba7d-48a2-8799-89b58d218255" providerId="ADAL" clId="{388EFDEE-447E-42B4-98EF-30C01AB2E8CD}" dt="2022-03-28T17:56:15.721" v="2251"/>
          <ac:spMkLst>
            <pc:docMk/>
            <pc:sldMk cId="0" sldId="261"/>
            <ac:spMk id="1239" creationId="{97D94051-369E-4FDE-9A51-8D5DEF0231B2}"/>
          </ac:spMkLst>
        </pc:spChg>
        <pc:spChg chg="add del mod">
          <ac:chgData name="Kebba Jeng" userId="fe4cc296-ba7d-48a2-8799-89b58d218255" providerId="ADAL" clId="{388EFDEE-447E-42B4-98EF-30C01AB2E8CD}" dt="2022-03-28T17:56:15.721" v="2251"/>
          <ac:spMkLst>
            <pc:docMk/>
            <pc:sldMk cId="0" sldId="261"/>
            <ac:spMk id="1240" creationId="{5F441CE0-BBDF-434F-A779-DCFB27965BCE}"/>
          </ac:spMkLst>
        </pc:spChg>
        <pc:spChg chg="add del mod">
          <ac:chgData name="Kebba Jeng" userId="fe4cc296-ba7d-48a2-8799-89b58d218255" providerId="ADAL" clId="{388EFDEE-447E-42B4-98EF-30C01AB2E8CD}" dt="2022-03-28T17:56:15.721" v="2251"/>
          <ac:spMkLst>
            <pc:docMk/>
            <pc:sldMk cId="0" sldId="261"/>
            <ac:spMk id="1241" creationId="{B04679BD-C864-495D-9D9E-493459413BDD}"/>
          </ac:spMkLst>
        </pc:spChg>
        <pc:spChg chg="add del mod">
          <ac:chgData name="Kebba Jeng" userId="fe4cc296-ba7d-48a2-8799-89b58d218255" providerId="ADAL" clId="{388EFDEE-447E-42B4-98EF-30C01AB2E8CD}" dt="2022-03-28T17:56:15.721" v="2251"/>
          <ac:spMkLst>
            <pc:docMk/>
            <pc:sldMk cId="0" sldId="261"/>
            <ac:spMk id="1242" creationId="{A0E93CA5-A183-4982-B11A-0727D006231C}"/>
          </ac:spMkLst>
        </pc:spChg>
        <pc:spChg chg="add del mod">
          <ac:chgData name="Kebba Jeng" userId="fe4cc296-ba7d-48a2-8799-89b58d218255" providerId="ADAL" clId="{388EFDEE-447E-42B4-98EF-30C01AB2E8CD}" dt="2022-03-28T17:56:15.721" v="2251"/>
          <ac:spMkLst>
            <pc:docMk/>
            <pc:sldMk cId="0" sldId="261"/>
            <ac:spMk id="1243" creationId="{99E69AB3-3F9E-4ADE-8730-12832B03A292}"/>
          </ac:spMkLst>
        </pc:spChg>
        <pc:spChg chg="add del mod">
          <ac:chgData name="Kebba Jeng" userId="fe4cc296-ba7d-48a2-8799-89b58d218255" providerId="ADAL" clId="{388EFDEE-447E-42B4-98EF-30C01AB2E8CD}" dt="2022-03-28T17:56:15.721" v="2251"/>
          <ac:spMkLst>
            <pc:docMk/>
            <pc:sldMk cId="0" sldId="261"/>
            <ac:spMk id="1244" creationId="{0C49E7E3-6025-425F-B4AE-246EAEC6C93C}"/>
          </ac:spMkLst>
        </pc:spChg>
        <pc:spChg chg="add del mod">
          <ac:chgData name="Kebba Jeng" userId="fe4cc296-ba7d-48a2-8799-89b58d218255" providerId="ADAL" clId="{388EFDEE-447E-42B4-98EF-30C01AB2E8CD}" dt="2022-03-28T17:56:15.721" v="2251"/>
          <ac:spMkLst>
            <pc:docMk/>
            <pc:sldMk cId="0" sldId="261"/>
            <ac:spMk id="1245" creationId="{AAB0CBAD-8CB0-40BF-ABB5-00C31D52B323}"/>
          </ac:spMkLst>
        </pc:spChg>
        <pc:spChg chg="add del mod">
          <ac:chgData name="Kebba Jeng" userId="fe4cc296-ba7d-48a2-8799-89b58d218255" providerId="ADAL" clId="{388EFDEE-447E-42B4-98EF-30C01AB2E8CD}" dt="2022-03-28T17:56:15.721" v="2251"/>
          <ac:spMkLst>
            <pc:docMk/>
            <pc:sldMk cId="0" sldId="261"/>
            <ac:spMk id="1246" creationId="{D1D859DD-07EC-41D0-BAB2-1282DD65CEE3}"/>
          </ac:spMkLst>
        </pc:spChg>
        <pc:spChg chg="add del mod">
          <ac:chgData name="Kebba Jeng" userId="fe4cc296-ba7d-48a2-8799-89b58d218255" providerId="ADAL" clId="{388EFDEE-447E-42B4-98EF-30C01AB2E8CD}" dt="2022-03-28T17:56:15.721" v="2251"/>
          <ac:spMkLst>
            <pc:docMk/>
            <pc:sldMk cId="0" sldId="261"/>
            <ac:spMk id="1247" creationId="{B2CA7CF6-5325-4FDB-A7E3-3679E738982C}"/>
          </ac:spMkLst>
        </pc:spChg>
        <pc:spChg chg="add del mod">
          <ac:chgData name="Kebba Jeng" userId="fe4cc296-ba7d-48a2-8799-89b58d218255" providerId="ADAL" clId="{388EFDEE-447E-42B4-98EF-30C01AB2E8CD}" dt="2022-03-28T17:56:15.721" v="2251"/>
          <ac:spMkLst>
            <pc:docMk/>
            <pc:sldMk cId="0" sldId="261"/>
            <ac:spMk id="1248" creationId="{EF1611C1-9B00-4946-BC5C-3EFE53D6EF6E}"/>
          </ac:spMkLst>
        </pc:spChg>
        <pc:spChg chg="add del mod">
          <ac:chgData name="Kebba Jeng" userId="fe4cc296-ba7d-48a2-8799-89b58d218255" providerId="ADAL" clId="{388EFDEE-447E-42B4-98EF-30C01AB2E8CD}" dt="2022-03-28T17:56:15.721" v="2251"/>
          <ac:spMkLst>
            <pc:docMk/>
            <pc:sldMk cId="0" sldId="261"/>
            <ac:spMk id="1249" creationId="{397E4E89-3972-41E6-90F9-862C9FA387CF}"/>
          </ac:spMkLst>
        </pc:spChg>
        <pc:spChg chg="add del mod">
          <ac:chgData name="Kebba Jeng" userId="fe4cc296-ba7d-48a2-8799-89b58d218255" providerId="ADAL" clId="{388EFDEE-447E-42B4-98EF-30C01AB2E8CD}" dt="2022-03-28T17:56:15.721" v="2251"/>
          <ac:spMkLst>
            <pc:docMk/>
            <pc:sldMk cId="0" sldId="261"/>
            <ac:spMk id="1250" creationId="{9E8B4554-A43D-4B1E-A736-59E90D08C3F6}"/>
          </ac:spMkLst>
        </pc:spChg>
        <pc:spChg chg="add del mod">
          <ac:chgData name="Kebba Jeng" userId="fe4cc296-ba7d-48a2-8799-89b58d218255" providerId="ADAL" clId="{388EFDEE-447E-42B4-98EF-30C01AB2E8CD}" dt="2022-03-28T17:56:15.721" v="2251"/>
          <ac:spMkLst>
            <pc:docMk/>
            <pc:sldMk cId="0" sldId="261"/>
            <ac:spMk id="1251" creationId="{195184AF-535C-45CC-A1D1-AF6CCA89495D}"/>
          </ac:spMkLst>
        </pc:spChg>
        <pc:spChg chg="add del mod">
          <ac:chgData name="Kebba Jeng" userId="fe4cc296-ba7d-48a2-8799-89b58d218255" providerId="ADAL" clId="{388EFDEE-447E-42B4-98EF-30C01AB2E8CD}" dt="2022-03-28T17:56:15.721" v="2251"/>
          <ac:spMkLst>
            <pc:docMk/>
            <pc:sldMk cId="0" sldId="261"/>
            <ac:spMk id="1252" creationId="{A2CBF4C2-7129-4311-AFD4-287129DE18A7}"/>
          </ac:spMkLst>
        </pc:spChg>
        <pc:spChg chg="add del mod">
          <ac:chgData name="Kebba Jeng" userId="fe4cc296-ba7d-48a2-8799-89b58d218255" providerId="ADAL" clId="{388EFDEE-447E-42B4-98EF-30C01AB2E8CD}" dt="2022-03-28T17:56:15.721" v="2251"/>
          <ac:spMkLst>
            <pc:docMk/>
            <pc:sldMk cId="0" sldId="261"/>
            <ac:spMk id="1253" creationId="{25CC452D-EECB-46B0-A5B4-9A8C6F3CEC20}"/>
          </ac:spMkLst>
        </pc:spChg>
        <pc:spChg chg="add del mod">
          <ac:chgData name="Kebba Jeng" userId="fe4cc296-ba7d-48a2-8799-89b58d218255" providerId="ADAL" clId="{388EFDEE-447E-42B4-98EF-30C01AB2E8CD}" dt="2022-03-28T17:56:15.721" v="2251"/>
          <ac:spMkLst>
            <pc:docMk/>
            <pc:sldMk cId="0" sldId="261"/>
            <ac:spMk id="1254" creationId="{FC90E3D1-56F1-423D-974A-E830FA9D14C9}"/>
          </ac:spMkLst>
        </pc:spChg>
        <pc:spChg chg="add del mod">
          <ac:chgData name="Kebba Jeng" userId="fe4cc296-ba7d-48a2-8799-89b58d218255" providerId="ADAL" clId="{388EFDEE-447E-42B4-98EF-30C01AB2E8CD}" dt="2022-03-28T17:56:15.721" v="2251"/>
          <ac:spMkLst>
            <pc:docMk/>
            <pc:sldMk cId="0" sldId="261"/>
            <ac:spMk id="1255" creationId="{B77AE97B-4C92-4025-A98C-5D6AC8D43700}"/>
          </ac:spMkLst>
        </pc:spChg>
        <pc:spChg chg="add del mod">
          <ac:chgData name="Kebba Jeng" userId="fe4cc296-ba7d-48a2-8799-89b58d218255" providerId="ADAL" clId="{388EFDEE-447E-42B4-98EF-30C01AB2E8CD}" dt="2022-03-28T17:56:15.721" v="2251"/>
          <ac:spMkLst>
            <pc:docMk/>
            <pc:sldMk cId="0" sldId="261"/>
            <ac:spMk id="1256" creationId="{3B33EDCE-BBE3-4779-9C26-94EE30038C39}"/>
          </ac:spMkLst>
        </pc:spChg>
        <pc:spChg chg="add del mod">
          <ac:chgData name="Kebba Jeng" userId="fe4cc296-ba7d-48a2-8799-89b58d218255" providerId="ADAL" clId="{388EFDEE-447E-42B4-98EF-30C01AB2E8CD}" dt="2022-03-28T17:56:15.721" v="2251"/>
          <ac:spMkLst>
            <pc:docMk/>
            <pc:sldMk cId="0" sldId="261"/>
            <ac:spMk id="1257" creationId="{A74A44D9-0802-49F8-9071-8533E37C5E32}"/>
          </ac:spMkLst>
        </pc:spChg>
        <pc:spChg chg="add del mod">
          <ac:chgData name="Kebba Jeng" userId="fe4cc296-ba7d-48a2-8799-89b58d218255" providerId="ADAL" clId="{388EFDEE-447E-42B4-98EF-30C01AB2E8CD}" dt="2022-03-28T17:56:15.721" v="2251"/>
          <ac:spMkLst>
            <pc:docMk/>
            <pc:sldMk cId="0" sldId="261"/>
            <ac:spMk id="1258" creationId="{27D443A7-DF1C-4D5C-8824-9B9AEFAD6DFC}"/>
          </ac:spMkLst>
        </pc:spChg>
        <pc:spChg chg="add del mod">
          <ac:chgData name="Kebba Jeng" userId="fe4cc296-ba7d-48a2-8799-89b58d218255" providerId="ADAL" clId="{388EFDEE-447E-42B4-98EF-30C01AB2E8CD}" dt="2022-03-28T17:56:15.721" v="2251"/>
          <ac:spMkLst>
            <pc:docMk/>
            <pc:sldMk cId="0" sldId="261"/>
            <ac:spMk id="1259" creationId="{5A3A3223-7B44-41CA-95F9-2524B5458F8B}"/>
          </ac:spMkLst>
        </pc:spChg>
        <pc:spChg chg="add del mod">
          <ac:chgData name="Kebba Jeng" userId="fe4cc296-ba7d-48a2-8799-89b58d218255" providerId="ADAL" clId="{388EFDEE-447E-42B4-98EF-30C01AB2E8CD}" dt="2022-03-28T17:56:15.721" v="2251"/>
          <ac:spMkLst>
            <pc:docMk/>
            <pc:sldMk cId="0" sldId="261"/>
            <ac:spMk id="1260" creationId="{A0625AD5-9BDC-4986-917A-86813A2C1DF6}"/>
          </ac:spMkLst>
        </pc:spChg>
        <pc:spChg chg="add del mod">
          <ac:chgData name="Kebba Jeng" userId="fe4cc296-ba7d-48a2-8799-89b58d218255" providerId="ADAL" clId="{388EFDEE-447E-42B4-98EF-30C01AB2E8CD}" dt="2022-03-28T17:56:15.721" v="2251"/>
          <ac:spMkLst>
            <pc:docMk/>
            <pc:sldMk cId="0" sldId="261"/>
            <ac:spMk id="1261" creationId="{D6E34594-0708-4DA9-A920-022AA637A757}"/>
          </ac:spMkLst>
        </pc:spChg>
        <pc:spChg chg="add del mod">
          <ac:chgData name="Kebba Jeng" userId="fe4cc296-ba7d-48a2-8799-89b58d218255" providerId="ADAL" clId="{388EFDEE-447E-42B4-98EF-30C01AB2E8CD}" dt="2022-03-28T17:56:15.721" v="2251"/>
          <ac:spMkLst>
            <pc:docMk/>
            <pc:sldMk cId="0" sldId="261"/>
            <ac:spMk id="1262" creationId="{43DDD1EB-C346-4A85-B72F-C8255CB57E1F}"/>
          </ac:spMkLst>
        </pc:spChg>
        <pc:spChg chg="add del mod">
          <ac:chgData name="Kebba Jeng" userId="fe4cc296-ba7d-48a2-8799-89b58d218255" providerId="ADAL" clId="{388EFDEE-447E-42B4-98EF-30C01AB2E8CD}" dt="2022-03-28T17:56:15.721" v="2251"/>
          <ac:spMkLst>
            <pc:docMk/>
            <pc:sldMk cId="0" sldId="261"/>
            <ac:spMk id="1263" creationId="{42219220-ECAE-4A25-BFE2-7CF67214D2DC}"/>
          </ac:spMkLst>
        </pc:spChg>
        <pc:spChg chg="add del mod">
          <ac:chgData name="Kebba Jeng" userId="fe4cc296-ba7d-48a2-8799-89b58d218255" providerId="ADAL" clId="{388EFDEE-447E-42B4-98EF-30C01AB2E8CD}" dt="2022-03-28T17:56:15.721" v="2251"/>
          <ac:spMkLst>
            <pc:docMk/>
            <pc:sldMk cId="0" sldId="261"/>
            <ac:spMk id="1264" creationId="{67E83566-B8E0-405B-930A-EBD65E7ADEE3}"/>
          </ac:spMkLst>
        </pc:spChg>
        <pc:spChg chg="add del mod">
          <ac:chgData name="Kebba Jeng" userId="fe4cc296-ba7d-48a2-8799-89b58d218255" providerId="ADAL" clId="{388EFDEE-447E-42B4-98EF-30C01AB2E8CD}" dt="2022-03-28T17:56:15.721" v="2251"/>
          <ac:spMkLst>
            <pc:docMk/>
            <pc:sldMk cId="0" sldId="261"/>
            <ac:spMk id="1265" creationId="{1F19DFB6-1D17-412A-BDC1-31B1450ECF0F}"/>
          </ac:spMkLst>
        </pc:spChg>
        <pc:spChg chg="add del mod">
          <ac:chgData name="Kebba Jeng" userId="fe4cc296-ba7d-48a2-8799-89b58d218255" providerId="ADAL" clId="{388EFDEE-447E-42B4-98EF-30C01AB2E8CD}" dt="2022-03-28T17:56:15.721" v="2251"/>
          <ac:spMkLst>
            <pc:docMk/>
            <pc:sldMk cId="0" sldId="261"/>
            <ac:spMk id="1266" creationId="{79BBEB20-491E-489A-9843-8A95CE171E96}"/>
          </ac:spMkLst>
        </pc:spChg>
        <pc:spChg chg="add del mod">
          <ac:chgData name="Kebba Jeng" userId="fe4cc296-ba7d-48a2-8799-89b58d218255" providerId="ADAL" clId="{388EFDEE-447E-42B4-98EF-30C01AB2E8CD}" dt="2022-03-28T17:56:15.721" v="2251"/>
          <ac:spMkLst>
            <pc:docMk/>
            <pc:sldMk cId="0" sldId="261"/>
            <ac:spMk id="1267" creationId="{69E69B5D-F178-4FF9-A782-B68F0B99FE16}"/>
          </ac:spMkLst>
        </pc:spChg>
        <pc:spChg chg="add del mod">
          <ac:chgData name="Kebba Jeng" userId="fe4cc296-ba7d-48a2-8799-89b58d218255" providerId="ADAL" clId="{388EFDEE-447E-42B4-98EF-30C01AB2E8CD}" dt="2022-03-28T17:56:15.721" v="2251"/>
          <ac:spMkLst>
            <pc:docMk/>
            <pc:sldMk cId="0" sldId="261"/>
            <ac:spMk id="1268" creationId="{B1947D69-684A-4AE5-A0F1-59524C42EBCF}"/>
          </ac:spMkLst>
        </pc:spChg>
        <pc:spChg chg="add del mod">
          <ac:chgData name="Kebba Jeng" userId="fe4cc296-ba7d-48a2-8799-89b58d218255" providerId="ADAL" clId="{388EFDEE-447E-42B4-98EF-30C01AB2E8CD}" dt="2022-03-28T17:56:15.721" v="2251"/>
          <ac:spMkLst>
            <pc:docMk/>
            <pc:sldMk cId="0" sldId="261"/>
            <ac:spMk id="1269" creationId="{81631354-119A-4422-ACD2-012DA13B44FF}"/>
          </ac:spMkLst>
        </pc:spChg>
        <pc:spChg chg="add del mod">
          <ac:chgData name="Kebba Jeng" userId="fe4cc296-ba7d-48a2-8799-89b58d218255" providerId="ADAL" clId="{388EFDEE-447E-42B4-98EF-30C01AB2E8CD}" dt="2022-03-28T17:56:15.721" v="2251"/>
          <ac:spMkLst>
            <pc:docMk/>
            <pc:sldMk cId="0" sldId="261"/>
            <ac:spMk id="1270" creationId="{894186FA-74FE-4C67-B9A7-A378E9611A92}"/>
          </ac:spMkLst>
        </pc:spChg>
        <pc:spChg chg="add del mod">
          <ac:chgData name="Kebba Jeng" userId="fe4cc296-ba7d-48a2-8799-89b58d218255" providerId="ADAL" clId="{388EFDEE-447E-42B4-98EF-30C01AB2E8CD}" dt="2022-03-28T17:56:15.721" v="2251"/>
          <ac:spMkLst>
            <pc:docMk/>
            <pc:sldMk cId="0" sldId="261"/>
            <ac:spMk id="1271" creationId="{B60A22FA-EA65-4391-9CF8-378227DCA552}"/>
          </ac:spMkLst>
        </pc:spChg>
        <pc:spChg chg="add del mod">
          <ac:chgData name="Kebba Jeng" userId="fe4cc296-ba7d-48a2-8799-89b58d218255" providerId="ADAL" clId="{388EFDEE-447E-42B4-98EF-30C01AB2E8CD}" dt="2022-03-28T17:56:15.721" v="2251"/>
          <ac:spMkLst>
            <pc:docMk/>
            <pc:sldMk cId="0" sldId="261"/>
            <ac:spMk id="1272" creationId="{02A98D63-ECEA-4E21-95AE-2C9F10C24F79}"/>
          </ac:spMkLst>
        </pc:spChg>
        <pc:spChg chg="add del mod">
          <ac:chgData name="Kebba Jeng" userId="fe4cc296-ba7d-48a2-8799-89b58d218255" providerId="ADAL" clId="{388EFDEE-447E-42B4-98EF-30C01AB2E8CD}" dt="2022-03-28T17:56:15.721" v="2251"/>
          <ac:spMkLst>
            <pc:docMk/>
            <pc:sldMk cId="0" sldId="261"/>
            <ac:spMk id="1273" creationId="{7075637F-B8B6-4274-AE60-7A4A214F630A}"/>
          </ac:spMkLst>
        </pc:spChg>
        <pc:spChg chg="add del mod">
          <ac:chgData name="Kebba Jeng" userId="fe4cc296-ba7d-48a2-8799-89b58d218255" providerId="ADAL" clId="{388EFDEE-447E-42B4-98EF-30C01AB2E8CD}" dt="2022-03-28T17:56:15.721" v="2251"/>
          <ac:spMkLst>
            <pc:docMk/>
            <pc:sldMk cId="0" sldId="261"/>
            <ac:spMk id="1274" creationId="{0C5ACB42-1204-440E-9BE1-AFCF3F006F1E}"/>
          </ac:spMkLst>
        </pc:spChg>
        <pc:spChg chg="add del mod">
          <ac:chgData name="Kebba Jeng" userId="fe4cc296-ba7d-48a2-8799-89b58d218255" providerId="ADAL" clId="{388EFDEE-447E-42B4-98EF-30C01AB2E8CD}" dt="2022-03-28T17:56:15.721" v="2251"/>
          <ac:spMkLst>
            <pc:docMk/>
            <pc:sldMk cId="0" sldId="261"/>
            <ac:spMk id="1275" creationId="{06EE7600-57A4-41A3-964D-625C28AB64BA}"/>
          </ac:spMkLst>
        </pc:spChg>
        <pc:spChg chg="add del mod">
          <ac:chgData name="Kebba Jeng" userId="fe4cc296-ba7d-48a2-8799-89b58d218255" providerId="ADAL" clId="{388EFDEE-447E-42B4-98EF-30C01AB2E8CD}" dt="2022-03-28T17:56:15.721" v="2251"/>
          <ac:spMkLst>
            <pc:docMk/>
            <pc:sldMk cId="0" sldId="261"/>
            <ac:spMk id="1276" creationId="{339ABA93-12BA-46A8-8D4E-1B20852C2828}"/>
          </ac:spMkLst>
        </pc:spChg>
        <pc:spChg chg="add del mod">
          <ac:chgData name="Kebba Jeng" userId="fe4cc296-ba7d-48a2-8799-89b58d218255" providerId="ADAL" clId="{388EFDEE-447E-42B4-98EF-30C01AB2E8CD}" dt="2022-03-28T17:56:15.721" v="2251"/>
          <ac:spMkLst>
            <pc:docMk/>
            <pc:sldMk cId="0" sldId="261"/>
            <ac:spMk id="1277" creationId="{82D22A5B-4FC1-479B-AB3F-EC20D245593C}"/>
          </ac:spMkLst>
        </pc:spChg>
        <pc:spChg chg="add del mod">
          <ac:chgData name="Kebba Jeng" userId="fe4cc296-ba7d-48a2-8799-89b58d218255" providerId="ADAL" clId="{388EFDEE-447E-42B4-98EF-30C01AB2E8CD}" dt="2022-03-28T17:56:15.721" v="2251"/>
          <ac:spMkLst>
            <pc:docMk/>
            <pc:sldMk cId="0" sldId="261"/>
            <ac:spMk id="1278" creationId="{86E91B54-1B2B-4CC4-83E2-109D56EA56E2}"/>
          </ac:spMkLst>
        </pc:spChg>
        <pc:spChg chg="add del mod">
          <ac:chgData name="Kebba Jeng" userId="fe4cc296-ba7d-48a2-8799-89b58d218255" providerId="ADAL" clId="{388EFDEE-447E-42B4-98EF-30C01AB2E8CD}" dt="2022-03-28T17:56:15.721" v="2251"/>
          <ac:spMkLst>
            <pc:docMk/>
            <pc:sldMk cId="0" sldId="261"/>
            <ac:spMk id="1279" creationId="{69FEB8BB-5C59-46FC-B97A-37CBB50E19F3}"/>
          </ac:spMkLst>
        </pc:spChg>
        <pc:spChg chg="add del mod">
          <ac:chgData name="Kebba Jeng" userId="fe4cc296-ba7d-48a2-8799-89b58d218255" providerId="ADAL" clId="{388EFDEE-447E-42B4-98EF-30C01AB2E8CD}" dt="2022-03-28T17:56:15.721" v="2251"/>
          <ac:spMkLst>
            <pc:docMk/>
            <pc:sldMk cId="0" sldId="261"/>
            <ac:spMk id="1280" creationId="{9C360352-F144-4A56-8389-ABD155D051CD}"/>
          </ac:spMkLst>
        </pc:spChg>
        <pc:spChg chg="add del mod">
          <ac:chgData name="Kebba Jeng" userId="fe4cc296-ba7d-48a2-8799-89b58d218255" providerId="ADAL" clId="{388EFDEE-447E-42B4-98EF-30C01AB2E8CD}" dt="2022-03-28T17:56:15.721" v="2251"/>
          <ac:spMkLst>
            <pc:docMk/>
            <pc:sldMk cId="0" sldId="261"/>
            <ac:spMk id="1281" creationId="{8BC0CE67-2132-4774-B2AD-4744D9A3A788}"/>
          </ac:spMkLst>
        </pc:spChg>
        <pc:spChg chg="add del mod">
          <ac:chgData name="Kebba Jeng" userId="fe4cc296-ba7d-48a2-8799-89b58d218255" providerId="ADAL" clId="{388EFDEE-447E-42B4-98EF-30C01AB2E8CD}" dt="2022-03-28T17:56:15.721" v="2251"/>
          <ac:spMkLst>
            <pc:docMk/>
            <pc:sldMk cId="0" sldId="261"/>
            <ac:spMk id="1282" creationId="{5F64E717-5709-47BD-85A5-E86429DC67F9}"/>
          </ac:spMkLst>
        </pc:spChg>
        <pc:spChg chg="add del mod">
          <ac:chgData name="Kebba Jeng" userId="fe4cc296-ba7d-48a2-8799-89b58d218255" providerId="ADAL" clId="{388EFDEE-447E-42B4-98EF-30C01AB2E8CD}" dt="2022-03-28T17:56:15.721" v="2251"/>
          <ac:spMkLst>
            <pc:docMk/>
            <pc:sldMk cId="0" sldId="261"/>
            <ac:spMk id="1283" creationId="{DACC1653-CD30-499E-A49A-BA367CEC9E4B}"/>
          </ac:spMkLst>
        </pc:spChg>
        <pc:spChg chg="add del mod">
          <ac:chgData name="Kebba Jeng" userId="fe4cc296-ba7d-48a2-8799-89b58d218255" providerId="ADAL" clId="{388EFDEE-447E-42B4-98EF-30C01AB2E8CD}" dt="2022-03-28T17:56:15.721" v="2251"/>
          <ac:spMkLst>
            <pc:docMk/>
            <pc:sldMk cId="0" sldId="261"/>
            <ac:spMk id="1284" creationId="{76678814-83AE-4E03-ADEB-454DE18FE906}"/>
          </ac:spMkLst>
        </pc:spChg>
        <pc:spChg chg="add del mod">
          <ac:chgData name="Kebba Jeng" userId="fe4cc296-ba7d-48a2-8799-89b58d218255" providerId="ADAL" clId="{388EFDEE-447E-42B4-98EF-30C01AB2E8CD}" dt="2022-03-28T17:56:15.721" v="2251"/>
          <ac:spMkLst>
            <pc:docMk/>
            <pc:sldMk cId="0" sldId="261"/>
            <ac:spMk id="1285" creationId="{D98F41A6-4AA5-4C87-BCB2-C5973F950C60}"/>
          </ac:spMkLst>
        </pc:spChg>
        <pc:spChg chg="add del mod">
          <ac:chgData name="Kebba Jeng" userId="fe4cc296-ba7d-48a2-8799-89b58d218255" providerId="ADAL" clId="{388EFDEE-447E-42B4-98EF-30C01AB2E8CD}" dt="2022-03-28T17:56:15.721" v="2251"/>
          <ac:spMkLst>
            <pc:docMk/>
            <pc:sldMk cId="0" sldId="261"/>
            <ac:spMk id="1286" creationId="{B5E71298-CF28-4CEC-A570-18F0FE15A458}"/>
          </ac:spMkLst>
        </pc:spChg>
        <pc:spChg chg="add del mod">
          <ac:chgData name="Kebba Jeng" userId="fe4cc296-ba7d-48a2-8799-89b58d218255" providerId="ADAL" clId="{388EFDEE-447E-42B4-98EF-30C01AB2E8CD}" dt="2022-03-28T17:56:15.721" v="2251"/>
          <ac:spMkLst>
            <pc:docMk/>
            <pc:sldMk cId="0" sldId="261"/>
            <ac:spMk id="1287" creationId="{6AA5A03F-B193-4F6D-8C14-B8C56982625B}"/>
          </ac:spMkLst>
        </pc:spChg>
        <pc:spChg chg="add del mod">
          <ac:chgData name="Kebba Jeng" userId="fe4cc296-ba7d-48a2-8799-89b58d218255" providerId="ADAL" clId="{388EFDEE-447E-42B4-98EF-30C01AB2E8CD}" dt="2022-03-28T17:56:15.721" v="2251"/>
          <ac:spMkLst>
            <pc:docMk/>
            <pc:sldMk cId="0" sldId="261"/>
            <ac:spMk id="1288" creationId="{439F2C33-AEF8-40FE-9FDF-E5034393DD7D}"/>
          </ac:spMkLst>
        </pc:spChg>
        <pc:spChg chg="add del mod">
          <ac:chgData name="Kebba Jeng" userId="fe4cc296-ba7d-48a2-8799-89b58d218255" providerId="ADAL" clId="{388EFDEE-447E-42B4-98EF-30C01AB2E8CD}" dt="2022-03-28T17:56:15.721" v="2251"/>
          <ac:spMkLst>
            <pc:docMk/>
            <pc:sldMk cId="0" sldId="261"/>
            <ac:spMk id="1289" creationId="{E792153A-4617-45A8-9A67-CE7555914A58}"/>
          </ac:spMkLst>
        </pc:spChg>
        <pc:spChg chg="add del mod">
          <ac:chgData name="Kebba Jeng" userId="fe4cc296-ba7d-48a2-8799-89b58d218255" providerId="ADAL" clId="{388EFDEE-447E-42B4-98EF-30C01AB2E8CD}" dt="2022-03-28T17:56:15.721" v="2251"/>
          <ac:spMkLst>
            <pc:docMk/>
            <pc:sldMk cId="0" sldId="261"/>
            <ac:spMk id="1290" creationId="{BEDA4397-F1DE-4978-B4CD-AFD2C8043C63}"/>
          </ac:spMkLst>
        </pc:spChg>
        <pc:spChg chg="add del mod">
          <ac:chgData name="Kebba Jeng" userId="fe4cc296-ba7d-48a2-8799-89b58d218255" providerId="ADAL" clId="{388EFDEE-447E-42B4-98EF-30C01AB2E8CD}" dt="2022-03-28T17:56:15.721" v="2251"/>
          <ac:spMkLst>
            <pc:docMk/>
            <pc:sldMk cId="0" sldId="261"/>
            <ac:spMk id="1291" creationId="{7DC838E1-8C47-410D-93E5-864690A01F64}"/>
          </ac:spMkLst>
        </pc:spChg>
        <pc:spChg chg="add del mod">
          <ac:chgData name="Kebba Jeng" userId="fe4cc296-ba7d-48a2-8799-89b58d218255" providerId="ADAL" clId="{388EFDEE-447E-42B4-98EF-30C01AB2E8CD}" dt="2022-03-28T17:56:15.721" v="2251"/>
          <ac:spMkLst>
            <pc:docMk/>
            <pc:sldMk cId="0" sldId="261"/>
            <ac:spMk id="1292" creationId="{7C64CA48-8873-42DF-8A89-520D9C22D618}"/>
          </ac:spMkLst>
        </pc:spChg>
        <pc:spChg chg="add del mod">
          <ac:chgData name="Kebba Jeng" userId="fe4cc296-ba7d-48a2-8799-89b58d218255" providerId="ADAL" clId="{388EFDEE-447E-42B4-98EF-30C01AB2E8CD}" dt="2022-03-28T17:56:15.721" v="2251"/>
          <ac:spMkLst>
            <pc:docMk/>
            <pc:sldMk cId="0" sldId="261"/>
            <ac:spMk id="1293" creationId="{1C009C12-30B4-4E96-9EF7-04B2B019DC13}"/>
          </ac:spMkLst>
        </pc:spChg>
        <pc:spChg chg="add del mod">
          <ac:chgData name="Kebba Jeng" userId="fe4cc296-ba7d-48a2-8799-89b58d218255" providerId="ADAL" clId="{388EFDEE-447E-42B4-98EF-30C01AB2E8CD}" dt="2022-03-28T17:56:15.721" v="2251"/>
          <ac:spMkLst>
            <pc:docMk/>
            <pc:sldMk cId="0" sldId="261"/>
            <ac:spMk id="1294" creationId="{90FAFD15-4486-48E8-90DA-9DD9874BA580}"/>
          </ac:spMkLst>
        </pc:spChg>
        <pc:spChg chg="add del mod">
          <ac:chgData name="Kebba Jeng" userId="fe4cc296-ba7d-48a2-8799-89b58d218255" providerId="ADAL" clId="{388EFDEE-447E-42B4-98EF-30C01AB2E8CD}" dt="2022-03-28T17:56:15.721" v="2251"/>
          <ac:spMkLst>
            <pc:docMk/>
            <pc:sldMk cId="0" sldId="261"/>
            <ac:spMk id="1295" creationId="{0073B755-2192-44A5-9353-2C76566B1BC1}"/>
          </ac:spMkLst>
        </pc:spChg>
        <pc:spChg chg="add del mod">
          <ac:chgData name="Kebba Jeng" userId="fe4cc296-ba7d-48a2-8799-89b58d218255" providerId="ADAL" clId="{388EFDEE-447E-42B4-98EF-30C01AB2E8CD}" dt="2022-03-28T17:56:15.721" v="2251"/>
          <ac:spMkLst>
            <pc:docMk/>
            <pc:sldMk cId="0" sldId="261"/>
            <ac:spMk id="1296" creationId="{2EF50E36-44EB-41D6-81C2-9DFB42EB648F}"/>
          </ac:spMkLst>
        </pc:spChg>
        <pc:spChg chg="add del mod">
          <ac:chgData name="Kebba Jeng" userId="fe4cc296-ba7d-48a2-8799-89b58d218255" providerId="ADAL" clId="{388EFDEE-447E-42B4-98EF-30C01AB2E8CD}" dt="2022-03-28T17:56:15.721" v="2251"/>
          <ac:spMkLst>
            <pc:docMk/>
            <pc:sldMk cId="0" sldId="261"/>
            <ac:spMk id="1297" creationId="{BFB28FEC-32D0-47BD-825D-91947FFF8515}"/>
          </ac:spMkLst>
        </pc:spChg>
        <pc:spChg chg="add del mod">
          <ac:chgData name="Kebba Jeng" userId="fe4cc296-ba7d-48a2-8799-89b58d218255" providerId="ADAL" clId="{388EFDEE-447E-42B4-98EF-30C01AB2E8CD}" dt="2022-03-28T17:56:15.721" v="2251"/>
          <ac:spMkLst>
            <pc:docMk/>
            <pc:sldMk cId="0" sldId="261"/>
            <ac:spMk id="1298" creationId="{F54732C8-CF3D-4B57-B9DD-CFD0586291B7}"/>
          </ac:spMkLst>
        </pc:spChg>
        <pc:spChg chg="add del mod">
          <ac:chgData name="Kebba Jeng" userId="fe4cc296-ba7d-48a2-8799-89b58d218255" providerId="ADAL" clId="{388EFDEE-447E-42B4-98EF-30C01AB2E8CD}" dt="2022-03-28T17:56:15.721" v="2251"/>
          <ac:spMkLst>
            <pc:docMk/>
            <pc:sldMk cId="0" sldId="261"/>
            <ac:spMk id="1299" creationId="{94A7E91D-AAA4-43B7-89F6-0C1E5BB0DB85}"/>
          </ac:spMkLst>
        </pc:spChg>
        <pc:spChg chg="add del mod">
          <ac:chgData name="Kebba Jeng" userId="fe4cc296-ba7d-48a2-8799-89b58d218255" providerId="ADAL" clId="{388EFDEE-447E-42B4-98EF-30C01AB2E8CD}" dt="2022-03-28T17:56:15.721" v="2251"/>
          <ac:spMkLst>
            <pc:docMk/>
            <pc:sldMk cId="0" sldId="261"/>
            <ac:spMk id="1300" creationId="{18AF6BEC-65C3-4143-8B46-911DE8A55061}"/>
          </ac:spMkLst>
        </pc:spChg>
        <pc:spChg chg="add del mod">
          <ac:chgData name="Kebba Jeng" userId="fe4cc296-ba7d-48a2-8799-89b58d218255" providerId="ADAL" clId="{388EFDEE-447E-42B4-98EF-30C01AB2E8CD}" dt="2022-03-28T17:56:15.721" v="2251"/>
          <ac:spMkLst>
            <pc:docMk/>
            <pc:sldMk cId="0" sldId="261"/>
            <ac:spMk id="1301" creationId="{531DA7FD-0FF5-4DFA-BF31-E040CA98B760}"/>
          </ac:spMkLst>
        </pc:spChg>
        <pc:spChg chg="add del mod">
          <ac:chgData name="Kebba Jeng" userId="fe4cc296-ba7d-48a2-8799-89b58d218255" providerId="ADAL" clId="{388EFDEE-447E-42B4-98EF-30C01AB2E8CD}" dt="2022-03-28T17:56:15.721" v="2251"/>
          <ac:spMkLst>
            <pc:docMk/>
            <pc:sldMk cId="0" sldId="261"/>
            <ac:spMk id="1302" creationId="{EAB92FF6-0540-4A9A-9C23-4080A13B0C0E}"/>
          </ac:spMkLst>
        </pc:spChg>
        <pc:spChg chg="add del mod">
          <ac:chgData name="Kebba Jeng" userId="fe4cc296-ba7d-48a2-8799-89b58d218255" providerId="ADAL" clId="{388EFDEE-447E-42B4-98EF-30C01AB2E8CD}" dt="2022-03-28T17:56:15.721" v="2251"/>
          <ac:spMkLst>
            <pc:docMk/>
            <pc:sldMk cId="0" sldId="261"/>
            <ac:spMk id="1303" creationId="{52E80FE9-7002-4D77-A6D7-A75AF3C58043}"/>
          </ac:spMkLst>
        </pc:spChg>
        <pc:spChg chg="add del mod">
          <ac:chgData name="Kebba Jeng" userId="fe4cc296-ba7d-48a2-8799-89b58d218255" providerId="ADAL" clId="{388EFDEE-447E-42B4-98EF-30C01AB2E8CD}" dt="2022-03-28T17:56:15.721" v="2251"/>
          <ac:spMkLst>
            <pc:docMk/>
            <pc:sldMk cId="0" sldId="261"/>
            <ac:spMk id="1304" creationId="{50EB568C-428A-41D4-BDA2-1F352A04B34B}"/>
          </ac:spMkLst>
        </pc:spChg>
        <pc:spChg chg="add del mod">
          <ac:chgData name="Kebba Jeng" userId="fe4cc296-ba7d-48a2-8799-89b58d218255" providerId="ADAL" clId="{388EFDEE-447E-42B4-98EF-30C01AB2E8CD}" dt="2022-03-28T17:56:15.721" v="2251"/>
          <ac:spMkLst>
            <pc:docMk/>
            <pc:sldMk cId="0" sldId="261"/>
            <ac:spMk id="1305" creationId="{23E4265B-F2C9-43E1-B06A-177D476542E9}"/>
          </ac:spMkLst>
        </pc:spChg>
        <pc:spChg chg="add del mod">
          <ac:chgData name="Kebba Jeng" userId="fe4cc296-ba7d-48a2-8799-89b58d218255" providerId="ADAL" clId="{388EFDEE-447E-42B4-98EF-30C01AB2E8CD}" dt="2022-03-28T17:56:41.326" v="2262"/>
          <ac:spMkLst>
            <pc:docMk/>
            <pc:sldMk cId="0" sldId="261"/>
            <ac:spMk id="1306" creationId="{D890A2D1-361B-4FCA-ACAB-199A4962F367}"/>
          </ac:spMkLst>
        </pc:spChg>
        <pc:spChg chg="add del mod">
          <ac:chgData name="Kebba Jeng" userId="fe4cc296-ba7d-48a2-8799-89b58d218255" providerId="ADAL" clId="{388EFDEE-447E-42B4-98EF-30C01AB2E8CD}" dt="2022-03-28T17:56:41.326" v="2262"/>
          <ac:spMkLst>
            <pc:docMk/>
            <pc:sldMk cId="0" sldId="261"/>
            <ac:spMk id="1307" creationId="{9D0B18AC-F80D-4E5B-B2AF-C363BF00A025}"/>
          </ac:spMkLst>
        </pc:spChg>
        <pc:spChg chg="add del mod">
          <ac:chgData name="Kebba Jeng" userId="fe4cc296-ba7d-48a2-8799-89b58d218255" providerId="ADAL" clId="{388EFDEE-447E-42B4-98EF-30C01AB2E8CD}" dt="2022-03-28T17:56:41.326" v="2262"/>
          <ac:spMkLst>
            <pc:docMk/>
            <pc:sldMk cId="0" sldId="261"/>
            <ac:spMk id="1308" creationId="{8414181B-C819-4F1D-8219-F6CEA5F72ECB}"/>
          </ac:spMkLst>
        </pc:spChg>
        <pc:spChg chg="add del mod">
          <ac:chgData name="Kebba Jeng" userId="fe4cc296-ba7d-48a2-8799-89b58d218255" providerId="ADAL" clId="{388EFDEE-447E-42B4-98EF-30C01AB2E8CD}" dt="2022-03-28T17:56:41.326" v="2262"/>
          <ac:spMkLst>
            <pc:docMk/>
            <pc:sldMk cId="0" sldId="261"/>
            <ac:spMk id="1309" creationId="{6B04832B-CF14-4C8C-B858-55E3FE3B7F50}"/>
          </ac:spMkLst>
        </pc:spChg>
        <pc:spChg chg="add del mod">
          <ac:chgData name="Kebba Jeng" userId="fe4cc296-ba7d-48a2-8799-89b58d218255" providerId="ADAL" clId="{388EFDEE-447E-42B4-98EF-30C01AB2E8CD}" dt="2022-03-28T17:56:41.326" v="2262"/>
          <ac:spMkLst>
            <pc:docMk/>
            <pc:sldMk cId="0" sldId="261"/>
            <ac:spMk id="1310" creationId="{E29BD392-27A1-4742-B0EA-7E9DC295A036}"/>
          </ac:spMkLst>
        </pc:spChg>
        <pc:spChg chg="add del mod">
          <ac:chgData name="Kebba Jeng" userId="fe4cc296-ba7d-48a2-8799-89b58d218255" providerId="ADAL" clId="{388EFDEE-447E-42B4-98EF-30C01AB2E8CD}" dt="2022-03-28T17:56:41.326" v="2262"/>
          <ac:spMkLst>
            <pc:docMk/>
            <pc:sldMk cId="0" sldId="261"/>
            <ac:spMk id="1311" creationId="{FF36F3F3-9FA8-41C7-9CF1-05E3C549C028}"/>
          </ac:spMkLst>
        </pc:spChg>
        <pc:spChg chg="add del mod">
          <ac:chgData name="Kebba Jeng" userId="fe4cc296-ba7d-48a2-8799-89b58d218255" providerId="ADAL" clId="{388EFDEE-447E-42B4-98EF-30C01AB2E8CD}" dt="2022-03-28T17:56:41.326" v="2262"/>
          <ac:spMkLst>
            <pc:docMk/>
            <pc:sldMk cId="0" sldId="261"/>
            <ac:spMk id="1312" creationId="{4D93741D-5934-4D53-AC9F-02F78CB69600}"/>
          </ac:spMkLst>
        </pc:spChg>
        <pc:spChg chg="add del mod">
          <ac:chgData name="Kebba Jeng" userId="fe4cc296-ba7d-48a2-8799-89b58d218255" providerId="ADAL" clId="{388EFDEE-447E-42B4-98EF-30C01AB2E8CD}" dt="2022-03-28T17:56:41.326" v="2262"/>
          <ac:spMkLst>
            <pc:docMk/>
            <pc:sldMk cId="0" sldId="261"/>
            <ac:spMk id="1313" creationId="{C22CC9D3-B0B0-46A9-8A2F-2EB553B6816F}"/>
          </ac:spMkLst>
        </pc:spChg>
        <pc:spChg chg="add del mod">
          <ac:chgData name="Kebba Jeng" userId="fe4cc296-ba7d-48a2-8799-89b58d218255" providerId="ADAL" clId="{388EFDEE-447E-42B4-98EF-30C01AB2E8CD}" dt="2022-03-28T17:56:41.326" v="2262"/>
          <ac:spMkLst>
            <pc:docMk/>
            <pc:sldMk cId="0" sldId="261"/>
            <ac:spMk id="1314" creationId="{E9A5494C-4FCC-425E-9593-55B060AA91E1}"/>
          </ac:spMkLst>
        </pc:spChg>
        <pc:spChg chg="add del mod">
          <ac:chgData name="Kebba Jeng" userId="fe4cc296-ba7d-48a2-8799-89b58d218255" providerId="ADAL" clId="{388EFDEE-447E-42B4-98EF-30C01AB2E8CD}" dt="2022-03-28T17:56:41.326" v="2262"/>
          <ac:spMkLst>
            <pc:docMk/>
            <pc:sldMk cId="0" sldId="261"/>
            <ac:spMk id="1315" creationId="{33E943FB-E68F-41C4-A965-15BF1A021751}"/>
          </ac:spMkLst>
        </pc:spChg>
        <pc:spChg chg="add del mod">
          <ac:chgData name="Kebba Jeng" userId="fe4cc296-ba7d-48a2-8799-89b58d218255" providerId="ADAL" clId="{388EFDEE-447E-42B4-98EF-30C01AB2E8CD}" dt="2022-03-28T17:56:41.326" v="2262"/>
          <ac:spMkLst>
            <pc:docMk/>
            <pc:sldMk cId="0" sldId="261"/>
            <ac:spMk id="1316" creationId="{841F61E1-CFDF-46CA-906A-0C8B3EA13244}"/>
          </ac:spMkLst>
        </pc:spChg>
        <pc:spChg chg="add del mod">
          <ac:chgData name="Kebba Jeng" userId="fe4cc296-ba7d-48a2-8799-89b58d218255" providerId="ADAL" clId="{388EFDEE-447E-42B4-98EF-30C01AB2E8CD}" dt="2022-03-28T17:56:41.326" v="2262"/>
          <ac:spMkLst>
            <pc:docMk/>
            <pc:sldMk cId="0" sldId="261"/>
            <ac:spMk id="1317" creationId="{5E66E008-5183-41B3-ACAE-9FE6636E6E9A}"/>
          </ac:spMkLst>
        </pc:spChg>
        <pc:spChg chg="add del mod">
          <ac:chgData name="Kebba Jeng" userId="fe4cc296-ba7d-48a2-8799-89b58d218255" providerId="ADAL" clId="{388EFDEE-447E-42B4-98EF-30C01AB2E8CD}" dt="2022-03-28T17:56:41.326" v="2262"/>
          <ac:spMkLst>
            <pc:docMk/>
            <pc:sldMk cId="0" sldId="261"/>
            <ac:spMk id="1318" creationId="{1550F96C-7206-4197-BF12-C2F72C9E690F}"/>
          </ac:spMkLst>
        </pc:spChg>
        <pc:spChg chg="add del mod">
          <ac:chgData name="Kebba Jeng" userId="fe4cc296-ba7d-48a2-8799-89b58d218255" providerId="ADAL" clId="{388EFDEE-447E-42B4-98EF-30C01AB2E8CD}" dt="2022-03-28T17:56:41.326" v="2262"/>
          <ac:spMkLst>
            <pc:docMk/>
            <pc:sldMk cId="0" sldId="261"/>
            <ac:spMk id="1319" creationId="{2C7CE07F-1145-43FC-90A5-9752999C28B0}"/>
          </ac:spMkLst>
        </pc:spChg>
        <pc:spChg chg="add del mod">
          <ac:chgData name="Kebba Jeng" userId="fe4cc296-ba7d-48a2-8799-89b58d218255" providerId="ADAL" clId="{388EFDEE-447E-42B4-98EF-30C01AB2E8CD}" dt="2022-03-28T17:56:41.326" v="2262"/>
          <ac:spMkLst>
            <pc:docMk/>
            <pc:sldMk cId="0" sldId="261"/>
            <ac:spMk id="1320" creationId="{A875D7B5-D29F-47BD-8681-2C1E38297B8E}"/>
          </ac:spMkLst>
        </pc:spChg>
        <pc:spChg chg="add del mod">
          <ac:chgData name="Kebba Jeng" userId="fe4cc296-ba7d-48a2-8799-89b58d218255" providerId="ADAL" clId="{388EFDEE-447E-42B4-98EF-30C01AB2E8CD}" dt="2022-03-28T17:56:41.326" v="2262"/>
          <ac:spMkLst>
            <pc:docMk/>
            <pc:sldMk cId="0" sldId="261"/>
            <ac:spMk id="1321" creationId="{84A69C65-8368-4476-A709-95CA249776E4}"/>
          </ac:spMkLst>
        </pc:spChg>
        <pc:spChg chg="add del mod">
          <ac:chgData name="Kebba Jeng" userId="fe4cc296-ba7d-48a2-8799-89b58d218255" providerId="ADAL" clId="{388EFDEE-447E-42B4-98EF-30C01AB2E8CD}" dt="2022-03-28T17:56:41.326" v="2262"/>
          <ac:spMkLst>
            <pc:docMk/>
            <pc:sldMk cId="0" sldId="261"/>
            <ac:spMk id="1322" creationId="{DC0B0602-A8F3-435D-9626-98FBD19D11FA}"/>
          </ac:spMkLst>
        </pc:spChg>
        <pc:spChg chg="add del mod">
          <ac:chgData name="Kebba Jeng" userId="fe4cc296-ba7d-48a2-8799-89b58d218255" providerId="ADAL" clId="{388EFDEE-447E-42B4-98EF-30C01AB2E8CD}" dt="2022-03-28T17:56:41.326" v="2262"/>
          <ac:spMkLst>
            <pc:docMk/>
            <pc:sldMk cId="0" sldId="261"/>
            <ac:spMk id="1323" creationId="{2674A213-818B-4221-B4D4-8313C5CDE8C3}"/>
          </ac:spMkLst>
        </pc:spChg>
        <pc:spChg chg="add del mod">
          <ac:chgData name="Kebba Jeng" userId="fe4cc296-ba7d-48a2-8799-89b58d218255" providerId="ADAL" clId="{388EFDEE-447E-42B4-98EF-30C01AB2E8CD}" dt="2022-03-28T17:56:41.326" v="2262"/>
          <ac:spMkLst>
            <pc:docMk/>
            <pc:sldMk cId="0" sldId="261"/>
            <ac:spMk id="1324" creationId="{571E24E3-1C03-4457-B289-D32CD60E2725}"/>
          </ac:spMkLst>
        </pc:spChg>
        <pc:spChg chg="add del mod">
          <ac:chgData name="Kebba Jeng" userId="fe4cc296-ba7d-48a2-8799-89b58d218255" providerId="ADAL" clId="{388EFDEE-447E-42B4-98EF-30C01AB2E8CD}" dt="2022-03-28T17:56:41.326" v="2262"/>
          <ac:spMkLst>
            <pc:docMk/>
            <pc:sldMk cId="0" sldId="261"/>
            <ac:spMk id="1325" creationId="{E8C4A570-25B5-4874-9A96-1DF1230BB129}"/>
          </ac:spMkLst>
        </pc:spChg>
        <pc:spChg chg="add del mod">
          <ac:chgData name="Kebba Jeng" userId="fe4cc296-ba7d-48a2-8799-89b58d218255" providerId="ADAL" clId="{388EFDEE-447E-42B4-98EF-30C01AB2E8CD}" dt="2022-03-28T17:56:41.326" v="2262"/>
          <ac:spMkLst>
            <pc:docMk/>
            <pc:sldMk cId="0" sldId="261"/>
            <ac:spMk id="1326" creationId="{5B8AC3DD-081D-40C9-8848-0AEAC378C4FB}"/>
          </ac:spMkLst>
        </pc:spChg>
        <pc:spChg chg="add del mod">
          <ac:chgData name="Kebba Jeng" userId="fe4cc296-ba7d-48a2-8799-89b58d218255" providerId="ADAL" clId="{388EFDEE-447E-42B4-98EF-30C01AB2E8CD}" dt="2022-03-28T17:56:41.326" v="2262"/>
          <ac:spMkLst>
            <pc:docMk/>
            <pc:sldMk cId="0" sldId="261"/>
            <ac:spMk id="1327" creationId="{BAC1D295-F496-4CE6-AC55-1C5AC09D7296}"/>
          </ac:spMkLst>
        </pc:spChg>
        <pc:spChg chg="add del mod">
          <ac:chgData name="Kebba Jeng" userId="fe4cc296-ba7d-48a2-8799-89b58d218255" providerId="ADAL" clId="{388EFDEE-447E-42B4-98EF-30C01AB2E8CD}" dt="2022-03-28T17:56:41.326" v="2262"/>
          <ac:spMkLst>
            <pc:docMk/>
            <pc:sldMk cId="0" sldId="261"/>
            <ac:spMk id="1328" creationId="{2FFEFA42-EFF3-4650-849B-07C64C465A0D}"/>
          </ac:spMkLst>
        </pc:spChg>
        <pc:spChg chg="add del mod">
          <ac:chgData name="Kebba Jeng" userId="fe4cc296-ba7d-48a2-8799-89b58d218255" providerId="ADAL" clId="{388EFDEE-447E-42B4-98EF-30C01AB2E8CD}" dt="2022-03-28T17:56:41.326" v="2262"/>
          <ac:spMkLst>
            <pc:docMk/>
            <pc:sldMk cId="0" sldId="261"/>
            <ac:spMk id="1329" creationId="{BDCBCCEB-FA68-497C-B25F-22808E201115}"/>
          </ac:spMkLst>
        </pc:spChg>
        <pc:spChg chg="add del mod">
          <ac:chgData name="Kebba Jeng" userId="fe4cc296-ba7d-48a2-8799-89b58d218255" providerId="ADAL" clId="{388EFDEE-447E-42B4-98EF-30C01AB2E8CD}" dt="2022-03-28T17:56:41.326" v="2262"/>
          <ac:spMkLst>
            <pc:docMk/>
            <pc:sldMk cId="0" sldId="261"/>
            <ac:spMk id="1330" creationId="{6AC2405F-B49F-49DF-A5E2-7FD77EAEED14}"/>
          </ac:spMkLst>
        </pc:spChg>
        <pc:spChg chg="add del mod">
          <ac:chgData name="Kebba Jeng" userId="fe4cc296-ba7d-48a2-8799-89b58d218255" providerId="ADAL" clId="{388EFDEE-447E-42B4-98EF-30C01AB2E8CD}" dt="2022-03-28T17:56:41.326" v="2262"/>
          <ac:spMkLst>
            <pc:docMk/>
            <pc:sldMk cId="0" sldId="261"/>
            <ac:spMk id="1331" creationId="{C1E6ABFC-AD66-4A34-B2AF-5F14FBF21449}"/>
          </ac:spMkLst>
        </pc:spChg>
        <pc:spChg chg="add del mod">
          <ac:chgData name="Kebba Jeng" userId="fe4cc296-ba7d-48a2-8799-89b58d218255" providerId="ADAL" clId="{388EFDEE-447E-42B4-98EF-30C01AB2E8CD}" dt="2022-03-28T17:56:41.326" v="2262"/>
          <ac:spMkLst>
            <pc:docMk/>
            <pc:sldMk cId="0" sldId="261"/>
            <ac:spMk id="1332" creationId="{A7E99566-DD3B-41EF-962C-A2AAD704C67F}"/>
          </ac:spMkLst>
        </pc:spChg>
        <pc:spChg chg="add del mod">
          <ac:chgData name="Kebba Jeng" userId="fe4cc296-ba7d-48a2-8799-89b58d218255" providerId="ADAL" clId="{388EFDEE-447E-42B4-98EF-30C01AB2E8CD}" dt="2022-03-28T17:56:41.326" v="2262"/>
          <ac:spMkLst>
            <pc:docMk/>
            <pc:sldMk cId="0" sldId="261"/>
            <ac:spMk id="1333" creationId="{70E27B42-01DC-476A-B1F0-96878CA99AA0}"/>
          </ac:spMkLst>
        </pc:spChg>
        <pc:spChg chg="add del mod">
          <ac:chgData name="Kebba Jeng" userId="fe4cc296-ba7d-48a2-8799-89b58d218255" providerId="ADAL" clId="{388EFDEE-447E-42B4-98EF-30C01AB2E8CD}" dt="2022-03-28T17:56:41.326" v="2262"/>
          <ac:spMkLst>
            <pc:docMk/>
            <pc:sldMk cId="0" sldId="261"/>
            <ac:spMk id="1334" creationId="{3C4DCF21-515C-4595-B3F2-4CA9D8ED59BC}"/>
          </ac:spMkLst>
        </pc:spChg>
        <pc:spChg chg="add del mod">
          <ac:chgData name="Kebba Jeng" userId="fe4cc296-ba7d-48a2-8799-89b58d218255" providerId="ADAL" clId="{388EFDEE-447E-42B4-98EF-30C01AB2E8CD}" dt="2022-03-28T17:56:41.326" v="2262"/>
          <ac:spMkLst>
            <pc:docMk/>
            <pc:sldMk cId="0" sldId="261"/>
            <ac:spMk id="1335" creationId="{5A52B6B7-5520-4EC0-AB49-DBA5D7436415}"/>
          </ac:spMkLst>
        </pc:spChg>
        <pc:spChg chg="add del mod">
          <ac:chgData name="Kebba Jeng" userId="fe4cc296-ba7d-48a2-8799-89b58d218255" providerId="ADAL" clId="{388EFDEE-447E-42B4-98EF-30C01AB2E8CD}" dt="2022-03-28T17:56:41.326" v="2262"/>
          <ac:spMkLst>
            <pc:docMk/>
            <pc:sldMk cId="0" sldId="261"/>
            <ac:spMk id="1336" creationId="{628AE21E-BCD4-4318-9573-9B8A26F6C7EF}"/>
          </ac:spMkLst>
        </pc:spChg>
        <pc:spChg chg="add del mod">
          <ac:chgData name="Kebba Jeng" userId="fe4cc296-ba7d-48a2-8799-89b58d218255" providerId="ADAL" clId="{388EFDEE-447E-42B4-98EF-30C01AB2E8CD}" dt="2022-03-28T17:56:41.326" v="2262"/>
          <ac:spMkLst>
            <pc:docMk/>
            <pc:sldMk cId="0" sldId="261"/>
            <ac:spMk id="1337" creationId="{7406FB36-1F69-40CF-A624-11A7A440549E}"/>
          </ac:spMkLst>
        </pc:spChg>
        <pc:spChg chg="add del mod">
          <ac:chgData name="Kebba Jeng" userId="fe4cc296-ba7d-48a2-8799-89b58d218255" providerId="ADAL" clId="{388EFDEE-447E-42B4-98EF-30C01AB2E8CD}" dt="2022-03-28T17:56:41.326" v="2262"/>
          <ac:spMkLst>
            <pc:docMk/>
            <pc:sldMk cId="0" sldId="261"/>
            <ac:spMk id="1338" creationId="{929487E1-5096-49F4-9E82-9ED605A2196A}"/>
          </ac:spMkLst>
        </pc:spChg>
        <pc:spChg chg="add del mod">
          <ac:chgData name="Kebba Jeng" userId="fe4cc296-ba7d-48a2-8799-89b58d218255" providerId="ADAL" clId="{388EFDEE-447E-42B4-98EF-30C01AB2E8CD}" dt="2022-03-28T17:56:41.326" v="2262"/>
          <ac:spMkLst>
            <pc:docMk/>
            <pc:sldMk cId="0" sldId="261"/>
            <ac:spMk id="1339" creationId="{166214AD-2388-4341-A867-6994CE468452}"/>
          </ac:spMkLst>
        </pc:spChg>
        <pc:spChg chg="add del mod">
          <ac:chgData name="Kebba Jeng" userId="fe4cc296-ba7d-48a2-8799-89b58d218255" providerId="ADAL" clId="{388EFDEE-447E-42B4-98EF-30C01AB2E8CD}" dt="2022-03-28T17:56:41.326" v="2262"/>
          <ac:spMkLst>
            <pc:docMk/>
            <pc:sldMk cId="0" sldId="261"/>
            <ac:spMk id="1340" creationId="{D5D87AFD-1D09-4185-B431-D5CB9B7AEFC2}"/>
          </ac:spMkLst>
        </pc:spChg>
        <pc:spChg chg="add del mod">
          <ac:chgData name="Kebba Jeng" userId="fe4cc296-ba7d-48a2-8799-89b58d218255" providerId="ADAL" clId="{388EFDEE-447E-42B4-98EF-30C01AB2E8CD}" dt="2022-03-28T17:56:41.326" v="2262"/>
          <ac:spMkLst>
            <pc:docMk/>
            <pc:sldMk cId="0" sldId="261"/>
            <ac:spMk id="1341" creationId="{28B690D2-D702-466E-AA77-61AA975680E0}"/>
          </ac:spMkLst>
        </pc:spChg>
        <pc:spChg chg="add del mod">
          <ac:chgData name="Kebba Jeng" userId="fe4cc296-ba7d-48a2-8799-89b58d218255" providerId="ADAL" clId="{388EFDEE-447E-42B4-98EF-30C01AB2E8CD}" dt="2022-03-28T17:56:41.326" v="2262"/>
          <ac:spMkLst>
            <pc:docMk/>
            <pc:sldMk cId="0" sldId="261"/>
            <ac:spMk id="1342" creationId="{3B9AB491-3A3F-4A71-A619-E942486E1F5E}"/>
          </ac:spMkLst>
        </pc:spChg>
        <pc:spChg chg="add del mod">
          <ac:chgData name="Kebba Jeng" userId="fe4cc296-ba7d-48a2-8799-89b58d218255" providerId="ADAL" clId="{388EFDEE-447E-42B4-98EF-30C01AB2E8CD}" dt="2022-03-28T17:56:41.326" v="2262"/>
          <ac:spMkLst>
            <pc:docMk/>
            <pc:sldMk cId="0" sldId="261"/>
            <ac:spMk id="1343" creationId="{9BF1AE52-E12D-45C5-ABC3-8CF289E3980B}"/>
          </ac:spMkLst>
        </pc:spChg>
        <pc:spChg chg="add del mod">
          <ac:chgData name="Kebba Jeng" userId="fe4cc296-ba7d-48a2-8799-89b58d218255" providerId="ADAL" clId="{388EFDEE-447E-42B4-98EF-30C01AB2E8CD}" dt="2022-03-28T17:56:41.326" v="2262"/>
          <ac:spMkLst>
            <pc:docMk/>
            <pc:sldMk cId="0" sldId="261"/>
            <ac:spMk id="1344" creationId="{AE48A7FD-A80B-4D52-A0AD-B62C67523D49}"/>
          </ac:spMkLst>
        </pc:spChg>
        <pc:spChg chg="add del mod">
          <ac:chgData name="Kebba Jeng" userId="fe4cc296-ba7d-48a2-8799-89b58d218255" providerId="ADAL" clId="{388EFDEE-447E-42B4-98EF-30C01AB2E8CD}" dt="2022-03-28T17:56:41.326" v="2262"/>
          <ac:spMkLst>
            <pc:docMk/>
            <pc:sldMk cId="0" sldId="261"/>
            <ac:spMk id="1345" creationId="{E96188E8-6C3B-4A1B-8EDE-A98FD304D512}"/>
          </ac:spMkLst>
        </pc:spChg>
        <pc:spChg chg="add del mod">
          <ac:chgData name="Kebba Jeng" userId="fe4cc296-ba7d-48a2-8799-89b58d218255" providerId="ADAL" clId="{388EFDEE-447E-42B4-98EF-30C01AB2E8CD}" dt="2022-03-28T17:56:41.326" v="2262"/>
          <ac:spMkLst>
            <pc:docMk/>
            <pc:sldMk cId="0" sldId="261"/>
            <ac:spMk id="1346" creationId="{D14D9868-E132-48BE-8DFF-92D2DCCEE7E6}"/>
          </ac:spMkLst>
        </pc:spChg>
        <pc:spChg chg="add del mod">
          <ac:chgData name="Kebba Jeng" userId="fe4cc296-ba7d-48a2-8799-89b58d218255" providerId="ADAL" clId="{388EFDEE-447E-42B4-98EF-30C01AB2E8CD}" dt="2022-03-28T17:56:41.326" v="2262"/>
          <ac:spMkLst>
            <pc:docMk/>
            <pc:sldMk cId="0" sldId="261"/>
            <ac:spMk id="1347" creationId="{2D5D34D2-7079-4551-814F-7A1714C7643D}"/>
          </ac:spMkLst>
        </pc:spChg>
        <pc:spChg chg="add del mod">
          <ac:chgData name="Kebba Jeng" userId="fe4cc296-ba7d-48a2-8799-89b58d218255" providerId="ADAL" clId="{388EFDEE-447E-42B4-98EF-30C01AB2E8CD}" dt="2022-03-28T17:56:41.326" v="2262"/>
          <ac:spMkLst>
            <pc:docMk/>
            <pc:sldMk cId="0" sldId="261"/>
            <ac:spMk id="1348" creationId="{58DC001B-6097-47C5-8C8A-412027A4529E}"/>
          </ac:spMkLst>
        </pc:spChg>
        <pc:spChg chg="add del mod">
          <ac:chgData name="Kebba Jeng" userId="fe4cc296-ba7d-48a2-8799-89b58d218255" providerId="ADAL" clId="{388EFDEE-447E-42B4-98EF-30C01AB2E8CD}" dt="2022-03-28T17:56:41.326" v="2262"/>
          <ac:spMkLst>
            <pc:docMk/>
            <pc:sldMk cId="0" sldId="261"/>
            <ac:spMk id="1349" creationId="{DD67C19F-DAAE-417C-BA88-59BD730014E8}"/>
          </ac:spMkLst>
        </pc:spChg>
        <pc:spChg chg="add del mod">
          <ac:chgData name="Kebba Jeng" userId="fe4cc296-ba7d-48a2-8799-89b58d218255" providerId="ADAL" clId="{388EFDEE-447E-42B4-98EF-30C01AB2E8CD}" dt="2022-03-28T17:56:41.326" v="2262"/>
          <ac:spMkLst>
            <pc:docMk/>
            <pc:sldMk cId="0" sldId="261"/>
            <ac:spMk id="1350" creationId="{21C10179-EEC4-4384-AB2F-05C7045EF5FE}"/>
          </ac:spMkLst>
        </pc:spChg>
        <pc:spChg chg="add del mod">
          <ac:chgData name="Kebba Jeng" userId="fe4cc296-ba7d-48a2-8799-89b58d218255" providerId="ADAL" clId="{388EFDEE-447E-42B4-98EF-30C01AB2E8CD}" dt="2022-03-28T17:56:41.326" v="2262"/>
          <ac:spMkLst>
            <pc:docMk/>
            <pc:sldMk cId="0" sldId="261"/>
            <ac:spMk id="1351" creationId="{74FB2462-091E-4B01-900E-9397D90F60A4}"/>
          </ac:spMkLst>
        </pc:spChg>
        <pc:spChg chg="add del mod">
          <ac:chgData name="Kebba Jeng" userId="fe4cc296-ba7d-48a2-8799-89b58d218255" providerId="ADAL" clId="{388EFDEE-447E-42B4-98EF-30C01AB2E8CD}" dt="2022-03-28T17:56:41.326" v="2262"/>
          <ac:spMkLst>
            <pc:docMk/>
            <pc:sldMk cId="0" sldId="261"/>
            <ac:spMk id="1352" creationId="{92F7084E-8BD7-44C2-A296-7C518CAF7140}"/>
          </ac:spMkLst>
        </pc:spChg>
        <pc:spChg chg="add del mod">
          <ac:chgData name="Kebba Jeng" userId="fe4cc296-ba7d-48a2-8799-89b58d218255" providerId="ADAL" clId="{388EFDEE-447E-42B4-98EF-30C01AB2E8CD}" dt="2022-03-28T17:56:41.326" v="2262"/>
          <ac:spMkLst>
            <pc:docMk/>
            <pc:sldMk cId="0" sldId="261"/>
            <ac:spMk id="1353" creationId="{DF4A6466-8424-4870-A234-895A291A8292}"/>
          </ac:spMkLst>
        </pc:spChg>
        <pc:spChg chg="add del mod">
          <ac:chgData name="Kebba Jeng" userId="fe4cc296-ba7d-48a2-8799-89b58d218255" providerId="ADAL" clId="{388EFDEE-447E-42B4-98EF-30C01AB2E8CD}" dt="2022-03-28T17:56:41.326" v="2262"/>
          <ac:spMkLst>
            <pc:docMk/>
            <pc:sldMk cId="0" sldId="261"/>
            <ac:spMk id="1354" creationId="{195196F1-A0BC-4E25-B4B4-7BB6181D589D}"/>
          </ac:spMkLst>
        </pc:spChg>
        <pc:spChg chg="add del mod">
          <ac:chgData name="Kebba Jeng" userId="fe4cc296-ba7d-48a2-8799-89b58d218255" providerId="ADAL" clId="{388EFDEE-447E-42B4-98EF-30C01AB2E8CD}" dt="2022-03-28T17:56:41.326" v="2262"/>
          <ac:spMkLst>
            <pc:docMk/>
            <pc:sldMk cId="0" sldId="261"/>
            <ac:spMk id="1355" creationId="{AD55F09F-8502-4306-8880-30E70DF74593}"/>
          </ac:spMkLst>
        </pc:spChg>
        <pc:spChg chg="add del mod">
          <ac:chgData name="Kebba Jeng" userId="fe4cc296-ba7d-48a2-8799-89b58d218255" providerId="ADAL" clId="{388EFDEE-447E-42B4-98EF-30C01AB2E8CD}" dt="2022-03-28T17:56:41.326" v="2262"/>
          <ac:spMkLst>
            <pc:docMk/>
            <pc:sldMk cId="0" sldId="261"/>
            <ac:spMk id="1356" creationId="{DB3D2077-EFDC-40DB-A8A6-F38DF3BC87BC}"/>
          </ac:spMkLst>
        </pc:spChg>
        <pc:spChg chg="add del mod">
          <ac:chgData name="Kebba Jeng" userId="fe4cc296-ba7d-48a2-8799-89b58d218255" providerId="ADAL" clId="{388EFDEE-447E-42B4-98EF-30C01AB2E8CD}" dt="2022-03-28T17:56:41.326" v="2262"/>
          <ac:spMkLst>
            <pc:docMk/>
            <pc:sldMk cId="0" sldId="261"/>
            <ac:spMk id="1357" creationId="{FB9AE615-0A17-4815-86C6-378B0518FD9A}"/>
          </ac:spMkLst>
        </pc:spChg>
        <pc:spChg chg="add del mod">
          <ac:chgData name="Kebba Jeng" userId="fe4cc296-ba7d-48a2-8799-89b58d218255" providerId="ADAL" clId="{388EFDEE-447E-42B4-98EF-30C01AB2E8CD}" dt="2022-03-28T17:56:41.326" v="2262"/>
          <ac:spMkLst>
            <pc:docMk/>
            <pc:sldMk cId="0" sldId="261"/>
            <ac:spMk id="1358" creationId="{22CDCB2E-362B-4009-981A-EC99924218A4}"/>
          </ac:spMkLst>
        </pc:spChg>
        <pc:spChg chg="add del mod">
          <ac:chgData name="Kebba Jeng" userId="fe4cc296-ba7d-48a2-8799-89b58d218255" providerId="ADAL" clId="{388EFDEE-447E-42B4-98EF-30C01AB2E8CD}" dt="2022-03-28T17:56:41.326" v="2262"/>
          <ac:spMkLst>
            <pc:docMk/>
            <pc:sldMk cId="0" sldId="261"/>
            <ac:spMk id="1359" creationId="{FDF09C76-6794-4EA4-8255-227BBE4E78B1}"/>
          </ac:spMkLst>
        </pc:spChg>
        <pc:spChg chg="add del mod">
          <ac:chgData name="Kebba Jeng" userId="fe4cc296-ba7d-48a2-8799-89b58d218255" providerId="ADAL" clId="{388EFDEE-447E-42B4-98EF-30C01AB2E8CD}" dt="2022-03-28T17:56:41.326" v="2262"/>
          <ac:spMkLst>
            <pc:docMk/>
            <pc:sldMk cId="0" sldId="261"/>
            <ac:spMk id="1360" creationId="{CC49BDB8-C05B-4C9A-9333-5185327D41B0}"/>
          </ac:spMkLst>
        </pc:spChg>
        <pc:spChg chg="add del mod">
          <ac:chgData name="Kebba Jeng" userId="fe4cc296-ba7d-48a2-8799-89b58d218255" providerId="ADAL" clId="{388EFDEE-447E-42B4-98EF-30C01AB2E8CD}" dt="2022-03-28T17:56:41.326" v="2262"/>
          <ac:spMkLst>
            <pc:docMk/>
            <pc:sldMk cId="0" sldId="261"/>
            <ac:spMk id="1361" creationId="{2CCBEDD6-841F-471D-AF18-F9936F8E5300}"/>
          </ac:spMkLst>
        </pc:spChg>
        <pc:spChg chg="add del mod">
          <ac:chgData name="Kebba Jeng" userId="fe4cc296-ba7d-48a2-8799-89b58d218255" providerId="ADAL" clId="{388EFDEE-447E-42B4-98EF-30C01AB2E8CD}" dt="2022-03-28T17:56:41.326" v="2262"/>
          <ac:spMkLst>
            <pc:docMk/>
            <pc:sldMk cId="0" sldId="261"/>
            <ac:spMk id="1362" creationId="{26F8F7B5-18AC-4F9F-9650-6D6C588F08DD}"/>
          </ac:spMkLst>
        </pc:spChg>
        <pc:spChg chg="add del mod">
          <ac:chgData name="Kebba Jeng" userId="fe4cc296-ba7d-48a2-8799-89b58d218255" providerId="ADAL" clId="{388EFDEE-447E-42B4-98EF-30C01AB2E8CD}" dt="2022-03-28T17:56:41.326" v="2262"/>
          <ac:spMkLst>
            <pc:docMk/>
            <pc:sldMk cId="0" sldId="261"/>
            <ac:spMk id="1363" creationId="{9C98E0A4-55C8-4818-B043-1B1203D0E219}"/>
          </ac:spMkLst>
        </pc:spChg>
        <pc:spChg chg="add del mod">
          <ac:chgData name="Kebba Jeng" userId="fe4cc296-ba7d-48a2-8799-89b58d218255" providerId="ADAL" clId="{388EFDEE-447E-42B4-98EF-30C01AB2E8CD}" dt="2022-03-28T17:56:41.326" v="2262"/>
          <ac:spMkLst>
            <pc:docMk/>
            <pc:sldMk cId="0" sldId="261"/>
            <ac:spMk id="1364" creationId="{7C4E826E-F21F-48A9-B6E7-DC187838BE1A}"/>
          </ac:spMkLst>
        </pc:spChg>
        <pc:spChg chg="add del mod">
          <ac:chgData name="Kebba Jeng" userId="fe4cc296-ba7d-48a2-8799-89b58d218255" providerId="ADAL" clId="{388EFDEE-447E-42B4-98EF-30C01AB2E8CD}" dt="2022-03-28T17:56:41.326" v="2262"/>
          <ac:spMkLst>
            <pc:docMk/>
            <pc:sldMk cId="0" sldId="261"/>
            <ac:spMk id="1365" creationId="{5E02DF73-24A4-4F3A-984E-39169E6FDA7C}"/>
          </ac:spMkLst>
        </pc:spChg>
        <pc:spChg chg="add del mod">
          <ac:chgData name="Kebba Jeng" userId="fe4cc296-ba7d-48a2-8799-89b58d218255" providerId="ADAL" clId="{388EFDEE-447E-42B4-98EF-30C01AB2E8CD}" dt="2022-03-28T17:56:41.326" v="2262"/>
          <ac:spMkLst>
            <pc:docMk/>
            <pc:sldMk cId="0" sldId="261"/>
            <ac:spMk id="1366" creationId="{1E86FA47-18F6-489C-A768-9604391CAEFA}"/>
          </ac:spMkLst>
        </pc:spChg>
        <pc:spChg chg="add del mod">
          <ac:chgData name="Kebba Jeng" userId="fe4cc296-ba7d-48a2-8799-89b58d218255" providerId="ADAL" clId="{388EFDEE-447E-42B4-98EF-30C01AB2E8CD}" dt="2022-03-28T17:56:41.326" v="2262"/>
          <ac:spMkLst>
            <pc:docMk/>
            <pc:sldMk cId="0" sldId="261"/>
            <ac:spMk id="1367" creationId="{57D6D5CF-A418-4F58-931C-AF06FA13E50E}"/>
          </ac:spMkLst>
        </pc:spChg>
        <pc:spChg chg="add del mod">
          <ac:chgData name="Kebba Jeng" userId="fe4cc296-ba7d-48a2-8799-89b58d218255" providerId="ADAL" clId="{388EFDEE-447E-42B4-98EF-30C01AB2E8CD}" dt="2022-03-28T17:56:41.326" v="2262"/>
          <ac:spMkLst>
            <pc:docMk/>
            <pc:sldMk cId="0" sldId="261"/>
            <ac:spMk id="1368" creationId="{136C6689-C9F1-4833-815A-A809C280E9A5}"/>
          </ac:spMkLst>
        </pc:spChg>
        <pc:spChg chg="add del mod">
          <ac:chgData name="Kebba Jeng" userId="fe4cc296-ba7d-48a2-8799-89b58d218255" providerId="ADAL" clId="{388EFDEE-447E-42B4-98EF-30C01AB2E8CD}" dt="2022-03-28T17:56:41.326" v="2262"/>
          <ac:spMkLst>
            <pc:docMk/>
            <pc:sldMk cId="0" sldId="261"/>
            <ac:spMk id="1369" creationId="{A78866EB-A7A1-49CE-9FE8-90032D6B0546}"/>
          </ac:spMkLst>
        </pc:spChg>
        <pc:spChg chg="add del mod">
          <ac:chgData name="Kebba Jeng" userId="fe4cc296-ba7d-48a2-8799-89b58d218255" providerId="ADAL" clId="{388EFDEE-447E-42B4-98EF-30C01AB2E8CD}" dt="2022-03-28T17:56:41.326" v="2262"/>
          <ac:spMkLst>
            <pc:docMk/>
            <pc:sldMk cId="0" sldId="261"/>
            <ac:spMk id="1370" creationId="{AE0E3F1E-8C20-440C-9E98-B43E49FA0A3F}"/>
          </ac:spMkLst>
        </pc:spChg>
        <pc:spChg chg="add del mod">
          <ac:chgData name="Kebba Jeng" userId="fe4cc296-ba7d-48a2-8799-89b58d218255" providerId="ADAL" clId="{388EFDEE-447E-42B4-98EF-30C01AB2E8CD}" dt="2022-03-28T17:56:41.326" v="2262"/>
          <ac:spMkLst>
            <pc:docMk/>
            <pc:sldMk cId="0" sldId="261"/>
            <ac:spMk id="1371" creationId="{16E3AC6A-823E-483E-B9D3-D817622F2E3B}"/>
          </ac:spMkLst>
        </pc:spChg>
        <pc:spChg chg="add del mod">
          <ac:chgData name="Kebba Jeng" userId="fe4cc296-ba7d-48a2-8799-89b58d218255" providerId="ADAL" clId="{388EFDEE-447E-42B4-98EF-30C01AB2E8CD}" dt="2022-03-28T17:56:41.326" v="2262"/>
          <ac:spMkLst>
            <pc:docMk/>
            <pc:sldMk cId="0" sldId="261"/>
            <ac:spMk id="1372" creationId="{C81FC9F9-38F1-4CF8-96E3-3D3446C84234}"/>
          </ac:spMkLst>
        </pc:spChg>
        <pc:spChg chg="add del mod">
          <ac:chgData name="Kebba Jeng" userId="fe4cc296-ba7d-48a2-8799-89b58d218255" providerId="ADAL" clId="{388EFDEE-447E-42B4-98EF-30C01AB2E8CD}" dt="2022-03-28T17:56:41.326" v="2262"/>
          <ac:spMkLst>
            <pc:docMk/>
            <pc:sldMk cId="0" sldId="261"/>
            <ac:spMk id="1373" creationId="{16F33379-6F94-4D59-88DA-AC7C7B1C8CE0}"/>
          </ac:spMkLst>
        </pc:spChg>
        <pc:spChg chg="add del mod">
          <ac:chgData name="Kebba Jeng" userId="fe4cc296-ba7d-48a2-8799-89b58d218255" providerId="ADAL" clId="{388EFDEE-447E-42B4-98EF-30C01AB2E8CD}" dt="2022-03-28T17:56:41.326" v="2262"/>
          <ac:spMkLst>
            <pc:docMk/>
            <pc:sldMk cId="0" sldId="261"/>
            <ac:spMk id="1374" creationId="{F5039782-F361-4EA7-8A10-117EDE8F54D0}"/>
          </ac:spMkLst>
        </pc:spChg>
        <pc:spChg chg="add del mod">
          <ac:chgData name="Kebba Jeng" userId="fe4cc296-ba7d-48a2-8799-89b58d218255" providerId="ADAL" clId="{388EFDEE-447E-42B4-98EF-30C01AB2E8CD}" dt="2022-03-28T17:56:41.326" v="2262"/>
          <ac:spMkLst>
            <pc:docMk/>
            <pc:sldMk cId="0" sldId="261"/>
            <ac:spMk id="1375" creationId="{2320D541-5B5E-4327-9530-C638CE2ECF5A}"/>
          </ac:spMkLst>
        </pc:spChg>
        <pc:spChg chg="add del mod">
          <ac:chgData name="Kebba Jeng" userId="fe4cc296-ba7d-48a2-8799-89b58d218255" providerId="ADAL" clId="{388EFDEE-447E-42B4-98EF-30C01AB2E8CD}" dt="2022-03-28T17:56:41.326" v="2262"/>
          <ac:spMkLst>
            <pc:docMk/>
            <pc:sldMk cId="0" sldId="261"/>
            <ac:spMk id="1376" creationId="{1F23E4E6-24B3-4386-8DF2-AE6D17399DD1}"/>
          </ac:spMkLst>
        </pc:spChg>
        <pc:spChg chg="add del mod">
          <ac:chgData name="Kebba Jeng" userId="fe4cc296-ba7d-48a2-8799-89b58d218255" providerId="ADAL" clId="{388EFDEE-447E-42B4-98EF-30C01AB2E8CD}" dt="2022-03-28T17:56:41.326" v="2262"/>
          <ac:spMkLst>
            <pc:docMk/>
            <pc:sldMk cId="0" sldId="261"/>
            <ac:spMk id="1377" creationId="{B7E6B81D-0D16-4DB1-8AC6-0242591C37E2}"/>
          </ac:spMkLst>
        </pc:spChg>
        <pc:spChg chg="add del mod">
          <ac:chgData name="Kebba Jeng" userId="fe4cc296-ba7d-48a2-8799-89b58d218255" providerId="ADAL" clId="{388EFDEE-447E-42B4-98EF-30C01AB2E8CD}" dt="2022-03-28T17:56:41.326" v="2262"/>
          <ac:spMkLst>
            <pc:docMk/>
            <pc:sldMk cId="0" sldId="261"/>
            <ac:spMk id="1378" creationId="{C96ED87F-CAF3-4679-BF3C-1D80073E34D6}"/>
          </ac:spMkLst>
        </pc:spChg>
        <pc:spChg chg="add del mod">
          <ac:chgData name="Kebba Jeng" userId="fe4cc296-ba7d-48a2-8799-89b58d218255" providerId="ADAL" clId="{388EFDEE-447E-42B4-98EF-30C01AB2E8CD}" dt="2022-03-28T17:56:41.326" v="2262"/>
          <ac:spMkLst>
            <pc:docMk/>
            <pc:sldMk cId="0" sldId="261"/>
            <ac:spMk id="1379" creationId="{F6B66CA2-59A5-4B73-824B-E44B30066589}"/>
          </ac:spMkLst>
        </pc:spChg>
        <pc:spChg chg="add del mod">
          <ac:chgData name="Kebba Jeng" userId="fe4cc296-ba7d-48a2-8799-89b58d218255" providerId="ADAL" clId="{388EFDEE-447E-42B4-98EF-30C01AB2E8CD}" dt="2022-03-28T17:56:41.326" v="2262"/>
          <ac:spMkLst>
            <pc:docMk/>
            <pc:sldMk cId="0" sldId="261"/>
            <ac:spMk id="1380" creationId="{43AEA6EC-7712-44F9-A831-7FD9DBC0ECE6}"/>
          </ac:spMkLst>
        </pc:spChg>
        <pc:spChg chg="add del mod">
          <ac:chgData name="Kebba Jeng" userId="fe4cc296-ba7d-48a2-8799-89b58d218255" providerId="ADAL" clId="{388EFDEE-447E-42B4-98EF-30C01AB2E8CD}" dt="2022-03-28T17:56:41.326" v="2262"/>
          <ac:spMkLst>
            <pc:docMk/>
            <pc:sldMk cId="0" sldId="261"/>
            <ac:spMk id="1381" creationId="{1CF8B085-FE64-4A7C-9784-5A4436913816}"/>
          </ac:spMkLst>
        </pc:spChg>
        <pc:spChg chg="add del mod">
          <ac:chgData name="Kebba Jeng" userId="fe4cc296-ba7d-48a2-8799-89b58d218255" providerId="ADAL" clId="{388EFDEE-447E-42B4-98EF-30C01AB2E8CD}" dt="2022-03-28T17:56:41.326" v="2262"/>
          <ac:spMkLst>
            <pc:docMk/>
            <pc:sldMk cId="0" sldId="261"/>
            <ac:spMk id="1382" creationId="{0DC461D0-C7FD-4362-A47E-7A1AF0BAE327}"/>
          </ac:spMkLst>
        </pc:spChg>
        <pc:spChg chg="add del mod">
          <ac:chgData name="Kebba Jeng" userId="fe4cc296-ba7d-48a2-8799-89b58d218255" providerId="ADAL" clId="{388EFDEE-447E-42B4-98EF-30C01AB2E8CD}" dt="2022-03-28T17:56:41.326" v="2262"/>
          <ac:spMkLst>
            <pc:docMk/>
            <pc:sldMk cId="0" sldId="261"/>
            <ac:spMk id="1383" creationId="{9A7C730E-BBBD-40B7-B701-86489A8D4409}"/>
          </ac:spMkLst>
        </pc:spChg>
        <pc:spChg chg="add del mod">
          <ac:chgData name="Kebba Jeng" userId="fe4cc296-ba7d-48a2-8799-89b58d218255" providerId="ADAL" clId="{388EFDEE-447E-42B4-98EF-30C01AB2E8CD}" dt="2022-03-28T17:56:41.326" v="2262"/>
          <ac:spMkLst>
            <pc:docMk/>
            <pc:sldMk cId="0" sldId="261"/>
            <ac:spMk id="1384" creationId="{EA1F6208-1B74-40BB-A2FB-6C5AD46AE04B}"/>
          </ac:spMkLst>
        </pc:spChg>
        <pc:spChg chg="add del mod">
          <ac:chgData name="Kebba Jeng" userId="fe4cc296-ba7d-48a2-8799-89b58d218255" providerId="ADAL" clId="{388EFDEE-447E-42B4-98EF-30C01AB2E8CD}" dt="2022-03-28T17:56:41.326" v="2262"/>
          <ac:spMkLst>
            <pc:docMk/>
            <pc:sldMk cId="0" sldId="261"/>
            <ac:spMk id="1385" creationId="{178DA878-C630-4BED-A095-BFC36CA4D747}"/>
          </ac:spMkLst>
        </pc:spChg>
        <pc:spChg chg="add del mod">
          <ac:chgData name="Kebba Jeng" userId="fe4cc296-ba7d-48a2-8799-89b58d218255" providerId="ADAL" clId="{388EFDEE-447E-42B4-98EF-30C01AB2E8CD}" dt="2022-03-28T17:56:41.326" v="2262"/>
          <ac:spMkLst>
            <pc:docMk/>
            <pc:sldMk cId="0" sldId="261"/>
            <ac:spMk id="1386" creationId="{C98E2A6A-44F1-4562-85BF-01D89BF4EEAC}"/>
          </ac:spMkLst>
        </pc:spChg>
        <pc:spChg chg="add del mod">
          <ac:chgData name="Kebba Jeng" userId="fe4cc296-ba7d-48a2-8799-89b58d218255" providerId="ADAL" clId="{388EFDEE-447E-42B4-98EF-30C01AB2E8CD}" dt="2022-03-28T17:56:41.326" v="2262"/>
          <ac:spMkLst>
            <pc:docMk/>
            <pc:sldMk cId="0" sldId="261"/>
            <ac:spMk id="1387" creationId="{5E0156BE-1026-40FF-BC51-6DFF4534DF26}"/>
          </ac:spMkLst>
        </pc:spChg>
        <pc:spChg chg="add del mod">
          <ac:chgData name="Kebba Jeng" userId="fe4cc296-ba7d-48a2-8799-89b58d218255" providerId="ADAL" clId="{388EFDEE-447E-42B4-98EF-30C01AB2E8CD}" dt="2022-03-28T17:56:41.326" v="2262"/>
          <ac:spMkLst>
            <pc:docMk/>
            <pc:sldMk cId="0" sldId="261"/>
            <ac:spMk id="1388" creationId="{B2F2D479-C54D-428D-9D3C-146EDC66D4F0}"/>
          </ac:spMkLst>
        </pc:spChg>
        <pc:spChg chg="add del mod">
          <ac:chgData name="Kebba Jeng" userId="fe4cc296-ba7d-48a2-8799-89b58d218255" providerId="ADAL" clId="{388EFDEE-447E-42B4-98EF-30C01AB2E8CD}" dt="2022-03-28T17:56:41.326" v="2262"/>
          <ac:spMkLst>
            <pc:docMk/>
            <pc:sldMk cId="0" sldId="261"/>
            <ac:spMk id="1389" creationId="{71C33FB0-BF44-4CAA-954C-F6A9B5099E97}"/>
          </ac:spMkLst>
        </pc:spChg>
        <pc:spChg chg="add del mod">
          <ac:chgData name="Kebba Jeng" userId="fe4cc296-ba7d-48a2-8799-89b58d218255" providerId="ADAL" clId="{388EFDEE-447E-42B4-98EF-30C01AB2E8CD}" dt="2022-03-28T17:56:41.326" v="2262"/>
          <ac:spMkLst>
            <pc:docMk/>
            <pc:sldMk cId="0" sldId="261"/>
            <ac:spMk id="1390" creationId="{67BE3D20-B487-4B87-9021-F223521F457C}"/>
          </ac:spMkLst>
        </pc:spChg>
        <pc:spChg chg="add del mod">
          <ac:chgData name="Kebba Jeng" userId="fe4cc296-ba7d-48a2-8799-89b58d218255" providerId="ADAL" clId="{388EFDEE-447E-42B4-98EF-30C01AB2E8CD}" dt="2022-03-28T17:56:41.326" v="2262"/>
          <ac:spMkLst>
            <pc:docMk/>
            <pc:sldMk cId="0" sldId="261"/>
            <ac:spMk id="1391" creationId="{0DF19AB4-AEBE-4D0C-BE15-AA437CFDBB1C}"/>
          </ac:spMkLst>
        </pc:spChg>
        <pc:spChg chg="add del mod">
          <ac:chgData name="Kebba Jeng" userId="fe4cc296-ba7d-48a2-8799-89b58d218255" providerId="ADAL" clId="{388EFDEE-447E-42B4-98EF-30C01AB2E8CD}" dt="2022-03-28T17:56:41.326" v="2262"/>
          <ac:spMkLst>
            <pc:docMk/>
            <pc:sldMk cId="0" sldId="261"/>
            <ac:spMk id="1392" creationId="{573A1F12-6026-4CE0-A1DF-5773BAC28212}"/>
          </ac:spMkLst>
        </pc:spChg>
        <pc:spChg chg="add del mod">
          <ac:chgData name="Kebba Jeng" userId="fe4cc296-ba7d-48a2-8799-89b58d218255" providerId="ADAL" clId="{388EFDEE-447E-42B4-98EF-30C01AB2E8CD}" dt="2022-03-28T17:56:41.326" v="2262"/>
          <ac:spMkLst>
            <pc:docMk/>
            <pc:sldMk cId="0" sldId="261"/>
            <ac:spMk id="1393" creationId="{3450E140-B2F0-475A-ACDD-95A80BD240F8}"/>
          </ac:spMkLst>
        </pc:spChg>
        <pc:spChg chg="add del mod">
          <ac:chgData name="Kebba Jeng" userId="fe4cc296-ba7d-48a2-8799-89b58d218255" providerId="ADAL" clId="{388EFDEE-447E-42B4-98EF-30C01AB2E8CD}" dt="2022-03-28T17:56:41.326" v="2262"/>
          <ac:spMkLst>
            <pc:docMk/>
            <pc:sldMk cId="0" sldId="261"/>
            <ac:spMk id="1394" creationId="{458F0A47-600E-4FDA-9A32-E19102FF8396}"/>
          </ac:spMkLst>
        </pc:spChg>
        <pc:spChg chg="add del mod">
          <ac:chgData name="Kebba Jeng" userId="fe4cc296-ba7d-48a2-8799-89b58d218255" providerId="ADAL" clId="{388EFDEE-447E-42B4-98EF-30C01AB2E8CD}" dt="2022-03-28T17:56:41.326" v="2262"/>
          <ac:spMkLst>
            <pc:docMk/>
            <pc:sldMk cId="0" sldId="261"/>
            <ac:spMk id="1395" creationId="{00518764-4B10-4D0B-8E56-1A330711C1DA}"/>
          </ac:spMkLst>
        </pc:spChg>
        <pc:spChg chg="add del mod">
          <ac:chgData name="Kebba Jeng" userId="fe4cc296-ba7d-48a2-8799-89b58d218255" providerId="ADAL" clId="{388EFDEE-447E-42B4-98EF-30C01AB2E8CD}" dt="2022-03-28T17:56:41.326" v="2262"/>
          <ac:spMkLst>
            <pc:docMk/>
            <pc:sldMk cId="0" sldId="261"/>
            <ac:spMk id="1396" creationId="{B7914470-33E8-4015-A508-D76EC2759AD1}"/>
          </ac:spMkLst>
        </pc:spChg>
        <pc:spChg chg="add del mod">
          <ac:chgData name="Kebba Jeng" userId="fe4cc296-ba7d-48a2-8799-89b58d218255" providerId="ADAL" clId="{388EFDEE-447E-42B4-98EF-30C01AB2E8CD}" dt="2022-03-28T17:56:41.326" v="2262"/>
          <ac:spMkLst>
            <pc:docMk/>
            <pc:sldMk cId="0" sldId="261"/>
            <ac:spMk id="1397" creationId="{EDCE33EE-394B-41CA-A184-BF9C4174C4A9}"/>
          </ac:spMkLst>
        </pc:spChg>
        <pc:spChg chg="add del mod">
          <ac:chgData name="Kebba Jeng" userId="fe4cc296-ba7d-48a2-8799-89b58d218255" providerId="ADAL" clId="{388EFDEE-447E-42B4-98EF-30C01AB2E8CD}" dt="2022-03-28T17:56:41.326" v="2262"/>
          <ac:spMkLst>
            <pc:docMk/>
            <pc:sldMk cId="0" sldId="261"/>
            <ac:spMk id="1398" creationId="{42F03B30-51A4-4FFA-8CFF-6B3E1AC2592E}"/>
          </ac:spMkLst>
        </pc:spChg>
        <pc:spChg chg="add del mod">
          <ac:chgData name="Kebba Jeng" userId="fe4cc296-ba7d-48a2-8799-89b58d218255" providerId="ADAL" clId="{388EFDEE-447E-42B4-98EF-30C01AB2E8CD}" dt="2022-03-28T17:56:41.326" v="2262"/>
          <ac:spMkLst>
            <pc:docMk/>
            <pc:sldMk cId="0" sldId="261"/>
            <ac:spMk id="1399" creationId="{08E9FEEE-F13E-4E7C-8BB0-1FF36A081FAD}"/>
          </ac:spMkLst>
        </pc:spChg>
        <pc:spChg chg="add del mod">
          <ac:chgData name="Kebba Jeng" userId="fe4cc296-ba7d-48a2-8799-89b58d218255" providerId="ADAL" clId="{388EFDEE-447E-42B4-98EF-30C01AB2E8CD}" dt="2022-03-28T17:56:41.326" v="2262"/>
          <ac:spMkLst>
            <pc:docMk/>
            <pc:sldMk cId="0" sldId="261"/>
            <ac:spMk id="1400" creationId="{D0B99815-7B8C-43AC-91B6-B053C71DC07A}"/>
          </ac:spMkLst>
        </pc:spChg>
        <pc:spChg chg="add del mod">
          <ac:chgData name="Kebba Jeng" userId="fe4cc296-ba7d-48a2-8799-89b58d218255" providerId="ADAL" clId="{388EFDEE-447E-42B4-98EF-30C01AB2E8CD}" dt="2022-03-28T17:56:41.326" v="2262"/>
          <ac:spMkLst>
            <pc:docMk/>
            <pc:sldMk cId="0" sldId="261"/>
            <ac:spMk id="1401" creationId="{9956D268-3D79-402F-A9A1-60B395BE88B6}"/>
          </ac:spMkLst>
        </pc:spChg>
        <pc:spChg chg="add del mod">
          <ac:chgData name="Kebba Jeng" userId="fe4cc296-ba7d-48a2-8799-89b58d218255" providerId="ADAL" clId="{388EFDEE-447E-42B4-98EF-30C01AB2E8CD}" dt="2022-03-28T17:56:41.326" v="2262"/>
          <ac:spMkLst>
            <pc:docMk/>
            <pc:sldMk cId="0" sldId="261"/>
            <ac:spMk id="1402" creationId="{1A244E44-8DB8-47D0-818F-436C9FF83ED7}"/>
          </ac:spMkLst>
        </pc:spChg>
        <pc:spChg chg="add del mod">
          <ac:chgData name="Kebba Jeng" userId="fe4cc296-ba7d-48a2-8799-89b58d218255" providerId="ADAL" clId="{388EFDEE-447E-42B4-98EF-30C01AB2E8CD}" dt="2022-03-28T17:56:41.326" v="2262"/>
          <ac:spMkLst>
            <pc:docMk/>
            <pc:sldMk cId="0" sldId="261"/>
            <ac:spMk id="1403" creationId="{F32F24D0-8CC1-4CF8-AFD9-6437362F0455}"/>
          </ac:spMkLst>
        </pc:spChg>
        <pc:spChg chg="add del mod">
          <ac:chgData name="Kebba Jeng" userId="fe4cc296-ba7d-48a2-8799-89b58d218255" providerId="ADAL" clId="{388EFDEE-447E-42B4-98EF-30C01AB2E8CD}" dt="2022-03-28T17:56:41.326" v="2262"/>
          <ac:spMkLst>
            <pc:docMk/>
            <pc:sldMk cId="0" sldId="261"/>
            <ac:spMk id="1404" creationId="{7317FC16-8E76-470F-8A09-243B069D0987}"/>
          </ac:spMkLst>
        </pc:spChg>
        <pc:spChg chg="add del mod">
          <ac:chgData name="Kebba Jeng" userId="fe4cc296-ba7d-48a2-8799-89b58d218255" providerId="ADAL" clId="{388EFDEE-447E-42B4-98EF-30C01AB2E8CD}" dt="2022-03-28T17:56:41.326" v="2262"/>
          <ac:spMkLst>
            <pc:docMk/>
            <pc:sldMk cId="0" sldId="261"/>
            <ac:spMk id="1405" creationId="{75CDFACF-8EC7-49D8-9C50-F128BF026A42}"/>
          </ac:spMkLst>
        </pc:spChg>
        <pc:spChg chg="add del mod">
          <ac:chgData name="Kebba Jeng" userId="fe4cc296-ba7d-48a2-8799-89b58d218255" providerId="ADAL" clId="{388EFDEE-447E-42B4-98EF-30C01AB2E8CD}" dt="2022-03-28T17:56:41.326" v="2262"/>
          <ac:spMkLst>
            <pc:docMk/>
            <pc:sldMk cId="0" sldId="261"/>
            <ac:spMk id="1406" creationId="{24978C04-4F66-4317-9618-0F24C9EE7842}"/>
          </ac:spMkLst>
        </pc:spChg>
        <pc:spChg chg="add del mod">
          <ac:chgData name="Kebba Jeng" userId="fe4cc296-ba7d-48a2-8799-89b58d218255" providerId="ADAL" clId="{388EFDEE-447E-42B4-98EF-30C01AB2E8CD}" dt="2022-03-28T17:56:41.326" v="2262"/>
          <ac:spMkLst>
            <pc:docMk/>
            <pc:sldMk cId="0" sldId="261"/>
            <ac:spMk id="1407" creationId="{325536D7-025F-44DB-8350-3C3E88E8BCE3}"/>
          </ac:spMkLst>
        </pc:spChg>
        <pc:spChg chg="add del mod">
          <ac:chgData name="Kebba Jeng" userId="fe4cc296-ba7d-48a2-8799-89b58d218255" providerId="ADAL" clId="{388EFDEE-447E-42B4-98EF-30C01AB2E8CD}" dt="2022-03-28T17:56:41.326" v="2262"/>
          <ac:spMkLst>
            <pc:docMk/>
            <pc:sldMk cId="0" sldId="261"/>
            <ac:spMk id="1408" creationId="{BA75B3F0-3FDF-4F56-A9D7-3984245371AF}"/>
          </ac:spMkLst>
        </pc:spChg>
        <pc:spChg chg="add del mod">
          <ac:chgData name="Kebba Jeng" userId="fe4cc296-ba7d-48a2-8799-89b58d218255" providerId="ADAL" clId="{388EFDEE-447E-42B4-98EF-30C01AB2E8CD}" dt="2022-03-28T17:56:41.326" v="2262"/>
          <ac:spMkLst>
            <pc:docMk/>
            <pc:sldMk cId="0" sldId="261"/>
            <ac:spMk id="1409" creationId="{AEC5D24F-2EB9-442B-92EE-4A968879B0E0}"/>
          </ac:spMkLst>
        </pc:spChg>
        <pc:spChg chg="add del mod">
          <ac:chgData name="Kebba Jeng" userId="fe4cc296-ba7d-48a2-8799-89b58d218255" providerId="ADAL" clId="{388EFDEE-447E-42B4-98EF-30C01AB2E8CD}" dt="2022-03-28T17:56:41.326" v="2262"/>
          <ac:spMkLst>
            <pc:docMk/>
            <pc:sldMk cId="0" sldId="261"/>
            <ac:spMk id="1410" creationId="{3EE984CE-6CC2-4949-A1E1-4DFFFDA0D846}"/>
          </ac:spMkLst>
        </pc:spChg>
        <pc:spChg chg="add del mod">
          <ac:chgData name="Kebba Jeng" userId="fe4cc296-ba7d-48a2-8799-89b58d218255" providerId="ADAL" clId="{388EFDEE-447E-42B4-98EF-30C01AB2E8CD}" dt="2022-03-28T17:56:41.326" v="2262"/>
          <ac:spMkLst>
            <pc:docMk/>
            <pc:sldMk cId="0" sldId="261"/>
            <ac:spMk id="1411" creationId="{E8759B7F-0B12-4EB7-A50B-16E7C8F7FD20}"/>
          </ac:spMkLst>
        </pc:spChg>
        <pc:spChg chg="add del mod">
          <ac:chgData name="Kebba Jeng" userId="fe4cc296-ba7d-48a2-8799-89b58d218255" providerId="ADAL" clId="{388EFDEE-447E-42B4-98EF-30C01AB2E8CD}" dt="2022-03-28T17:56:41.326" v="2262"/>
          <ac:spMkLst>
            <pc:docMk/>
            <pc:sldMk cId="0" sldId="261"/>
            <ac:spMk id="1412" creationId="{35B48F5C-167D-4F24-8ACE-C10764D70CEE}"/>
          </ac:spMkLst>
        </pc:spChg>
        <pc:spChg chg="add del mod">
          <ac:chgData name="Kebba Jeng" userId="fe4cc296-ba7d-48a2-8799-89b58d218255" providerId="ADAL" clId="{388EFDEE-447E-42B4-98EF-30C01AB2E8CD}" dt="2022-03-28T17:56:41.326" v="2262"/>
          <ac:spMkLst>
            <pc:docMk/>
            <pc:sldMk cId="0" sldId="261"/>
            <ac:spMk id="1413" creationId="{F570C7DF-2618-4B8D-B9D9-7841158CE5FC}"/>
          </ac:spMkLst>
        </pc:spChg>
        <pc:spChg chg="add del mod">
          <ac:chgData name="Kebba Jeng" userId="fe4cc296-ba7d-48a2-8799-89b58d218255" providerId="ADAL" clId="{388EFDEE-447E-42B4-98EF-30C01AB2E8CD}" dt="2022-03-28T17:56:41.326" v="2262"/>
          <ac:spMkLst>
            <pc:docMk/>
            <pc:sldMk cId="0" sldId="261"/>
            <ac:spMk id="1414" creationId="{76F7626E-DDBF-4512-8783-574DDE020709}"/>
          </ac:spMkLst>
        </pc:spChg>
        <pc:spChg chg="add del mod">
          <ac:chgData name="Kebba Jeng" userId="fe4cc296-ba7d-48a2-8799-89b58d218255" providerId="ADAL" clId="{388EFDEE-447E-42B4-98EF-30C01AB2E8CD}" dt="2022-03-28T17:56:41.326" v="2262"/>
          <ac:spMkLst>
            <pc:docMk/>
            <pc:sldMk cId="0" sldId="261"/>
            <ac:spMk id="1415" creationId="{28D8B673-62BE-488A-B097-14E591856410}"/>
          </ac:spMkLst>
        </pc:spChg>
        <pc:spChg chg="add del mod">
          <ac:chgData name="Kebba Jeng" userId="fe4cc296-ba7d-48a2-8799-89b58d218255" providerId="ADAL" clId="{388EFDEE-447E-42B4-98EF-30C01AB2E8CD}" dt="2022-03-28T17:56:41.326" v="2262"/>
          <ac:spMkLst>
            <pc:docMk/>
            <pc:sldMk cId="0" sldId="261"/>
            <ac:spMk id="1416" creationId="{BB808099-1E21-4C54-B86D-C4CB3FA6C681}"/>
          </ac:spMkLst>
        </pc:spChg>
        <pc:spChg chg="add del mod">
          <ac:chgData name="Kebba Jeng" userId="fe4cc296-ba7d-48a2-8799-89b58d218255" providerId="ADAL" clId="{388EFDEE-447E-42B4-98EF-30C01AB2E8CD}" dt="2022-03-28T17:56:41.326" v="2262"/>
          <ac:spMkLst>
            <pc:docMk/>
            <pc:sldMk cId="0" sldId="261"/>
            <ac:spMk id="1417" creationId="{91A4F5EE-AA9C-4190-99AE-9BDD598B6DA1}"/>
          </ac:spMkLst>
        </pc:spChg>
        <pc:spChg chg="add del mod">
          <ac:chgData name="Kebba Jeng" userId="fe4cc296-ba7d-48a2-8799-89b58d218255" providerId="ADAL" clId="{388EFDEE-447E-42B4-98EF-30C01AB2E8CD}" dt="2022-03-28T17:56:41.326" v="2262"/>
          <ac:spMkLst>
            <pc:docMk/>
            <pc:sldMk cId="0" sldId="261"/>
            <ac:spMk id="1418" creationId="{3E6BD743-68EE-4D35-B303-20C29F9287E6}"/>
          </ac:spMkLst>
        </pc:spChg>
        <pc:spChg chg="add del mod">
          <ac:chgData name="Kebba Jeng" userId="fe4cc296-ba7d-48a2-8799-89b58d218255" providerId="ADAL" clId="{388EFDEE-447E-42B4-98EF-30C01AB2E8CD}" dt="2022-03-28T17:56:41.326" v="2262"/>
          <ac:spMkLst>
            <pc:docMk/>
            <pc:sldMk cId="0" sldId="261"/>
            <ac:spMk id="1419" creationId="{F2AAEE32-11D2-43B2-B681-B510B65E5E66}"/>
          </ac:spMkLst>
        </pc:spChg>
        <pc:spChg chg="add del mod">
          <ac:chgData name="Kebba Jeng" userId="fe4cc296-ba7d-48a2-8799-89b58d218255" providerId="ADAL" clId="{388EFDEE-447E-42B4-98EF-30C01AB2E8CD}" dt="2022-03-28T17:56:41.326" v="2262"/>
          <ac:spMkLst>
            <pc:docMk/>
            <pc:sldMk cId="0" sldId="261"/>
            <ac:spMk id="1420" creationId="{CFFCA644-1E3C-419C-8904-311DB01D13DD}"/>
          </ac:spMkLst>
        </pc:spChg>
        <pc:spChg chg="add del mod">
          <ac:chgData name="Kebba Jeng" userId="fe4cc296-ba7d-48a2-8799-89b58d218255" providerId="ADAL" clId="{388EFDEE-447E-42B4-98EF-30C01AB2E8CD}" dt="2022-03-28T17:56:41.326" v="2262"/>
          <ac:spMkLst>
            <pc:docMk/>
            <pc:sldMk cId="0" sldId="261"/>
            <ac:spMk id="1421" creationId="{7FF0E0FA-EF1D-4062-8EA3-50E7B73275C1}"/>
          </ac:spMkLst>
        </pc:spChg>
        <pc:spChg chg="add del mod">
          <ac:chgData name="Kebba Jeng" userId="fe4cc296-ba7d-48a2-8799-89b58d218255" providerId="ADAL" clId="{388EFDEE-447E-42B4-98EF-30C01AB2E8CD}" dt="2022-03-28T17:56:41.326" v="2262"/>
          <ac:spMkLst>
            <pc:docMk/>
            <pc:sldMk cId="0" sldId="261"/>
            <ac:spMk id="1422" creationId="{8906EDA9-0B60-464F-829D-197148FD67E0}"/>
          </ac:spMkLst>
        </pc:spChg>
        <pc:spChg chg="add del mod">
          <ac:chgData name="Kebba Jeng" userId="fe4cc296-ba7d-48a2-8799-89b58d218255" providerId="ADAL" clId="{388EFDEE-447E-42B4-98EF-30C01AB2E8CD}" dt="2022-03-28T17:56:41.326" v="2262"/>
          <ac:spMkLst>
            <pc:docMk/>
            <pc:sldMk cId="0" sldId="261"/>
            <ac:spMk id="1423" creationId="{65E78D3E-A852-4B40-8343-52DF858D76D8}"/>
          </ac:spMkLst>
        </pc:spChg>
        <pc:spChg chg="add del mod">
          <ac:chgData name="Kebba Jeng" userId="fe4cc296-ba7d-48a2-8799-89b58d218255" providerId="ADAL" clId="{388EFDEE-447E-42B4-98EF-30C01AB2E8CD}" dt="2022-03-28T17:56:41.326" v="2262"/>
          <ac:spMkLst>
            <pc:docMk/>
            <pc:sldMk cId="0" sldId="261"/>
            <ac:spMk id="1424" creationId="{B2F8E126-6467-4AAD-A5D3-6DC681F1379D}"/>
          </ac:spMkLst>
        </pc:spChg>
        <pc:spChg chg="add del mod">
          <ac:chgData name="Kebba Jeng" userId="fe4cc296-ba7d-48a2-8799-89b58d218255" providerId="ADAL" clId="{388EFDEE-447E-42B4-98EF-30C01AB2E8CD}" dt="2022-03-28T17:56:41.326" v="2262"/>
          <ac:spMkLst>
            <pc:docMk/>
            <pc:sldMk cId="0" sldId="261"/>
            <ac:spMk id="1425" creationId="{677A7CDA-0E50-41AA-BCA2-27DAA1428B90}"/>
          </ac:spMkLst>
        </pc:spChg>
        <pc:spChg chg="add del mod">
          <ac:chgData name="Kebba Jeng" userId="fe4cc296-ba7d-48a2-8799-89b58d218255" providerId="ADAL" clId="{388EFDEE-447E-42B4-98EF-30C01AB2E8CD}" dt="2022-03-28T17:56:41.326" v="2262"/>
          <ac:spMkLst>
            <pc:docMk/>
            <pc:sldMk cId="0" sldId="261"/>
            <ac:spMk id="1426" creationId="{1D2C5186-BD1A-469F-8D5A-ACD3EF0C1E97}"/>
          </ac:spMkLst>
        </pc:spChg>
        <pc:spChg chg="add del mod">
          <ac:chgData name="Kebba Jeng" userId="fe4cc296-ba7d-48a2-8799-89b58d218255" providerId="ADAL" clId="{388EFDEE-447E-42B4-98EF-30C01AB2E8CD}" dt="2022-03-28T17:56:41.326" v="2262"/>
          <ac:spMkLst>
            <pc:docMk/>
            <pc:sldMk cId="0" sldId="261"/>
            <ac:spMk id="1427" creationId="{6B844790-09E6-41F2-A7D5-55D72F5EF318}"/>
          </ac:spMkLst>
        </pc:spChg>
        <pc:spChg chg="add del mod">
          <ac:chgData name="Kebba Jeng" userId="fe4cc296-ba7d-48a2-8799-89b58d218255" providerId="ADAL" clId="{388EFDEE-447E-42B4-98EF-30C01AB2E8CD}" dt="2022-03-28T17:56:41.326" v="2262"/>
          <ac:spMkLst>
            <pc:docMk/>
            <pc:sldMk cId="0" sldId="261"/>
            <ac:spMk id="1428" creationId="{1D73D706-F9E5-49C7-B9E7-FA436BA66C60}"/>
          </ac:spMkLst>
        </pc:spChg>
        <pc:spChg chg="add del mod">
          <ac:chgData name="Kebba Jeng" userId="fe4cc296-ba7d-48a2-8799-89b58d218255" providerId="ADAL" clId="{388EFDEE-447E-42B4-98EF-30C01AB2E8CD}" dt="2022-03-28T17:56:41.326" v="2262"/>
          <ac:spMkLst>
            <pc:docMk/>
            <pc:sldMk cId="0" sldId="261"/>
            <ac:spMk id="1429" creationId="{9BC891CE-EFDB-4A2D-AB4D-DDA7C8E82B95}"/>
          </ac:spMkLst>
        </pc:spChg>
        <pc:spChg chg="add del mod">
          <ac:chgData name="Kebba Jeng" userId="fe4cc296-ba7d-48a2-8799-89b58d218255" providerId="ADAL" clId="{388EFDEE-447E-42B4-98EF-30C01AB2E8CD}" dt="2022-03-28T17:56:41.326" v="2262"/>
          <ac:spMkLst>
            <pc:docMk/>
            <pc:sldMk cId="0" sldId="261"/>
            <ac:spMk id="1430" creationId="{52DA02C8-4E03-42A8-93B5-DF44DE03913E}"/>
          </ac:spMkLst>
        </pc:spChg>
        <pc:spChg chg="add del mod">
          <ac:chgData name="Kebba Jeng" userId="fe4cc296-ba7d-48a2-8799-89b58d218255" providerId="ADAL" clId="{388EFDEE-447E-42B4-98EF-30C01AB2E8CD}" dt="2022-03-28T17:56:41.326" v="2262"/>
          <ac:spMkLst>
            <pc:docMk/>
            <pc:sldMk cId="0" sldId="261"/>
            <ac:spMk id="1431" creationId="{9CAB85E4-F45F-4E2A-BC91-026715972780}"/>
          </ac:spMkLst>
        </pc:spChg>
        <pc:spChg chg="add del mod">
          <ac:chgData name="Kebba Jeng" userId="fe4cc296-ba7d-48a2-8799-89b58d218255" providerId="ADAL" clId="{388EFDEE-447E-42B4-98EF-30C01AB2E8CD}" dt="2022-03-28T17:56:41.326" v="2262"/>
          <ac:spMkLst>
            <pc:docMk/>
            <pc:sldMk cId="0" sldId="261"/>
            <ac:spMk id="1432" creationId="{CA3546BD-8932-465C-920D-A6130BB36D77}"/>
          </ac:spMkLst>
        </pc:spChg>
        <pc:spChg chg="add del mod">
          <ac:chgData name="Kebba Jeng" userId="fe4cc296-ba7d-48a2-8799-89b58d218255" providerId="ADAL" clId="{388EFDEE-447E-42B4-98EF-30C01AB2E8CD}" dt="2022-03-28T17:56:41.326" v="2262"/>
          <ac:spMkLst>
            <pc:docMk/>
            <pc:sldMk cId="0" sldId="261"/>
            <ac:spMk id="1433" creationId="{412D9016-FF95-4BD8-84AD-0D67ABE0EEF5}"/>
          </ac:spMkLst>
        </pc:spChg>
        <pc:spChg chg="add del mod">
          <ac:chgData name="Kebba Jeng" userId="fe4cc296-ba7d-48a2-8799-89b58d218255" providerId="ADAL" clId="{388EFDEE-447E-42B4-98EF-30C01AB2E8CD}" dt="2022-03-28T17:56:41.326" v="2262"/>
          <ac:spMkLst>
            <pc:docMk/>
            <pc:sldMk cId="0" sldId="261"/>
            <ac:spMk id="1434" creationId="{7C4B3922-5D11-4A40-AFB7-E33D99416D71}"/>
          </ac:spMkLst>
        </pc:spChg>
        <pc:spChg chg="add del mod">
          <ac:chgData name="Kebba Jeng" userId="fe4cc296-ba7d-48a2-8799-89b58d218255" providerId="ADAL" clId="{388EFDEE-447E-42B4-98EF-30C01AB2E8CD}" dt="2022-03-28T17:56:41.326" v="2262"/>
          <ac:spMkLst>
            <pc:docMk/>
            <pc:sldMk cId="0" sldId="261"/>
            <ac:spMk id="1435" creationId="{7F3E13D8-F56A-4581-9C01-AA80653A174C}"/>
          </ac:spMkLst>
        </pc:spChg>
        <pc:spChg chg="add del mod">
          <ac:chgData name="Kebba Jeng" userId="fe4cc296-ba7d-48a2-8799-89b58d218255" providerId="ADAL" clId="{388EFDEE-447E-42B4-98EF-30C01AB2E8CD}" dt="2022-03-28T17:56:41.326" v="2262"/>
          <ac:spMkLst>
            <pc:docMk/>
            <pc:sldMk cId="0" sldId="261"/>
            <ac:spMk id="1436" creationId="{61D2CA40-698F-4755-B998-883B88C24AA0}"/>
          </ac:spMkLst>
        </pc:spChg>
        <pc:spChg chg="add del mod">
          <ac:chgData name="Kebba Jeng" userId="fe4cc296-ba7d-48a2-8799-89b58d218255" providerId="ADAL" clId="{388EFDEE-447E-42B4-98EF-30C01AB2E8CD}" dt="2022-03-28T17:56:41.326" v="2262"/>
          <ac:spMkLst>
            <pc:docMk/>
            <pc:sldMk cId="0" sldId="261"/>
            <ac:spMk id="1437" creationId="{417442FE-4A07-4A4F-B0C4-B33328D81AB6}"/>
          </ac:spMkLst>
        </pc:spChg>
        <pc:spChg chg="add del mod">
          <ac:chgData name="Kebba Jeng" userId="fe4cc296-ba7d-48a2-8799-89b58d218255" providerId="ADAL" clId="{388EFDEE-447E-42B4-98EF-30C01AB2E8CD}" dt="2022-03-28T17:56:41.326" v="2262"/>
          <ac:spMkLst>
            <pc:docMk/>
            <pc:sldMk cId="0" sldId="261"/>
            <ac:spMk id="1438" creationId="{A68B6886-D1F4-4D17-A423-459E21BCF3CA}"/>
          </ac:spMkLst>
        </pc:spChg>
        <pc:spChg chg="add del mod">
          <ac:chgData name="Kebba Jeng" userId="fe4cc296-ba7d-48a2-8799-89b58d218255" providerId="ADAL" clId="{388EFDEE-447E-42B4-98EF-30C01AB2E8CD}" dt="2022-03-28T17:56:41.326" v="2262"/>
          <ac:spMkLst>
            <pc:docMk/>
            <pc:sldMk cId="0" sldId="261"/>
            <ac:spMk id="1439" creationId="{986B64EF-DAE7-497D-950F-383A9E16B0EE}"/>
          </ac:spMkLst>
        </pc:spChg>
        <pc:spChg chg="add del mod">
          <ac:chgData name="Kebba Jeng" userId="fe4cc296-ba7d-48a2-8799-89b58d218255" providerId="ADAL" clId="{388EFDEE-447E-42B4-98EF-30C01AB2E8CD}" dt="2022-03-28T17:56:41.326" v="2262"/>
          <ac:spMkLst>
            <pc:docMk/>
            <pc:sldMk cId="0" sldId="261"/>
            <ac:spMk id="1440" creationId="{72B569AB-DECF-4C6A-B2CA-E3BF27671146}"/>
          </ac:spMkLst>
        </pc:spChg>
        <pc:spChg chg="add del mod">
          <ac:chgData name="Kebba Jeng" userId="fe4cc296-ba7d-48a2-8799-89b58d218255" providerId="ADAL" clId="{388EFDEE-447E-42B4-98EF-30C01AB2E8CD}" dt="2022-03-28T17:56:41.326" v="2262"/>
          <ac:spMkLst>
            <pc:docMk/>
            <pc:sldMk cId="0" sldId="261"/>
            <ac:spMk id="1441" creationId="{3107E3B5-4BA2-422D-A035-2ACBF1D60F92}"/>
          </ac:spMkLst>
        </pc:spChg>
        <pc:spChg chg="add del mod">
          <ac:chgData name="Kebba Jeng" userId="fe4cc296-ba7d-48a2-8799-89b58d218255" providerId="ADAL" clId="{388EFDEE-447E-42B4-98EF-30C01AB2E8CD}" dt="2022-03-28T17:56:41.326" v="2262"/>
          <ac:spMkLst>
            <pc:docMk/>
            <pc:sldMk cId="0" sldId="261"/>
            <ac:spMk id="1442" creationId="{21D5A882-1F89-4667-8CE2-9F3AF27619BF}"/>
          </ac:spMkLst>
        </pc:spChg>
        <pc:spChg chg="add del mod">
          <ac:chgData name="Kebba Jeng" userId="fe4cc296-ba7d-48a2-8799-89b58d218255" providerId="ADAL" clId="{388EFDEE-447E-42B4-98EF-30C01AB2E8CD}" dt="2022-03-28T17:56:41.326" v="2262"/>
          <ac:spMkLst>
            <pc:docMk/>
            <pc:sldMk cId="0" sldId="261"/>
            <ac:spMk id="1443" creationId="{2E851DDF-C797-4435-B370-BA74DBAC9363}"/>
          </ac:spMkLst>
        </pc:spChg>
        <pc:spChg chg="add del mod">
          <ac:chgData name="Kebba Jeng" userId="fe4cc296-ba7d-48a2-8799-89b58d218255" providerId="ADAL" clId="{388EFDEE-447E-42B4-98EF-30C01AB2E8CD}" dt="2022-03-28T17:56:41.326" v="2262"/>
          <ac:spMkLst>
            <pc:docMk/>
            <pc:sldMk cId="0" sldId="261"/>
            <ac:spMk id="1444" creationId="{EE730940-8ADB-46EF-89A0-56EEAC86188E}"/>
          </ac:spMkLst>
        </pc:spChg>
        <pc:spChg chg="add del mod">
          <ac:chgData name="Kebba Jeng" userId="fe4cc296-ba7d-48a2-8799-89b58d218255" providerId="ADAL" clId="{388EFDEE-447E-42B4-98EF-30C01AB2E8CD}" dt="2022-03-28T17:56:41.326" v="2262"/>
          <ac:spMkLst>
            <pc:docMk/>
            <pc:sldMk cId="0" sldId="261"/>
            <ac:spMk id="1445" creationId="{CDC7AF03-DE64-401D-B9B0-9209C82323D3}"/>
          </ac:spMkLst>
        </pc:spChg>
        <pc:spChg chg="add del mod">
          <ac:chgData name="Kebba Jeng" userId="fe4cc296-ba7d-48a2-8799-89b58d218255" providerId="ADAL" clId="{388EFDEE-447E-42B4-98EF-30C01AB2E8CD}" dt="2022-03-28T17:56:41.326" v="2262"/>
          <ac:spMkLst>
            <pc:docMk/>
            <pc:sldMk cId="0" sldId="261"/>
            <ac:spMk id="1446" creationId="{575671E5-8B57-461D-A450-DC840727814C}"/>
          </ac:spMkLst>
        </pc:spChg>
        <pc:spChg chg="add del mod">
          <ac:chgData name="Kebba Jeng" userId="fe4cc296-ba7d-48a2-8799-89b58d218255" providerId="ADAL" clId="{388EFDEE-447E-42B4-98EF-30C01AB2E8CD}" dt="2022-03-28T17:56:41.326" v="2262"/>
          <ac:spMkLst>
            <pc:docMk/>
            <pc:sldMk cId="0" sldId="261"/>
            <ac:spMk id="1447" creationId="{325A2026-BF32-4471-AA58-3DD9AFFE0190}"/>
          </ac:spMkLst>
        </pc:spChg>
        <pc:spChg chg="add del mod">
          <ac:chgData name="Kebba Jeng" userId="fe4cc296-ba7d-48a2-8799-89b58d218255" providerId="ADAL" clId="{388EFDEE-447E-42B4-98EF-30C01AB2E8CD}" dt="2022-03-28T17:56:41.326" v="2262"/>
          <ac:spMkLst>
            <pc:docMk/>
            <pc:sldMk cId="0" sldId="261"/>
            <ac:spMk id="1448" creationId="{2D583CF5-C641-4AA2-9C31-E767C7477A62}"/>
          </ac:spMkLst>
        </pc:spChg>
        <pc:spChg chg="add del mod">
          <ac:chgData name="Kebba Jeng" userId="fe4cc296-ba7d-48a2-8799-89b58d218255" providerId="ADAL" clId="{388EFDEE-447E-42B4-98EF-30C01AB2E8CD}" dt="2022-03-28T17:56:41.326" v="2262"/>
          <ac:spMkLst>
            <pc:docMk/>
            <pc:sldMk cId="0" sldId="261"/>
            <ac:spMk id="1449" creationId="{21101F3E-9CF6-48A9-AF0A-927782B7FED1}"/>
          </ac:spMkLst>
        </pc:spChg>
        <pc:spChg chg="add del mod">
          <ac:chgData name="Kebba Jeng" userId="fe4cc296-ba7d-48a2-8799-89b58d218255" providerId="ADAL" clId="{388EFDEE-447E-42B4-98EF-30C01AB2E8CD}" dt="2022-03-28T17:56:41.326" v="2262"/>
          <ac:spMkLst>
            <pc:docMk/>
            <pc:sldMk cId="0" sldId="261"/>
            <ac:spMk id="1450" creationId="{CE813573-E1BE-4618-A230-52362FC3322B}"/>
          </ac:spMkLst>
        </pc:spChg>
        <pc:spChg chg="add del mod">
          <ac:chgData name="Kebba Jeng" userId="fe4cc296-ba7d-48a2-8799-89b58d218255" providerId="ADAL" clId="{388EFDEE-447E-42B4-98EF-30C01AB2E8CD}" dt="2022-03-28T17:56:41.326" v="2262"/>
          <ac:spMkLst>
            <pc:docMk/>
            <pc:sldMk cId="0" sldId="261"/>
            <ac:spMk id="1451" creationId="{A29C5A4E-EB1D-4FA8-931F-656BBFC435C2}"/>
          </ac:spMkLst>
        </pc:spChg>
        <pc:spChg chg="add del mod">
          <ac:chgData name="Kebba Jeng" userId="fe4cc296-ba7d-48a2-8799-89b58d218255" providerId="ADAL" clId="{388EFDEE-447E-42B4-98EF-30C01AB2E8CD}" dt="2022-03-28T17:56:41.326" v="2262"/>
          <ac:spMkLst>
            <pc:docMk/>
            <pc:sldMk cId="0" sldId="261"/>
            <ac:spMk id="1452" creationId="{14AD93A4-A483-46E1-B253-554C63CCEFE9}"/>
          </ac:spMkLst>
        </pc:spChg>
        <pc:spChg chg="add del mod">
          <ac:chgData name="Kebba Jeng" userId="fe4cc296-ba7d-48a2-8799-89b58d218255" providerId="ADAL" clId="{388EFDEE-447E-42B4-98EF-30C01AB2E8CD}" dt="2022-03-28T17:56:41.326" v="2262"/>
          <ac:spMkLst>
            <pc:docMk/>
            <pc:sldMk cId="0" sldId="261"/>
            <ac:spMk id="1453" creationId="{11D0105F-FB24-4D16-B300-7594F204EDC1}"/>
          </ac:spMkLst>
        </pc:spChg>
        <pc:spChg chg="add del mod">
          <ac:chgData name="Kebba Jeng" userId="fe4cc296-ba7d-48a2-8799-89b58d218255" providerId="ADAL" clId="{388EFDEE-447E-42B4-98EF-30C01AB2E8CD}" dt="2022-03-28T17:56:41.326" v="2262"/>
          <ac:spMkLst>
            <pc:docMk/>
            <pc:sldMk cId="0" sldId="261"/>
            <ac:spMk id="1454" creationId="{2C91983F-4924-4FA3-8F1D-CF699116001E}"/>
          </ac:spMkLst>
        </pc:spChg>
        <pc:spChg chg="add del mod">
          <ac:chgData name="Kebba Jeng" userId="fe4cc296-ba7d-48a2-8799-89b58d218255" providerId="ADAL" clId="{388EFDEE-447E-42B4-98EF-30C01AB2E8CD}" dt="2022-03-28T17:56:41.326" v="2262"/>
          <ac:spMkLst>
            <pc:docMk/>
            <pc:sldMk cId="0" sldId="261"/>
            <ac:spMk id="1455" creationId="{75392FDB-1829-4F4B-B3B0-D0B933840A55}"/>
          </ac:spMkLst>
        </pc:spChg>
        <pc:spChg chg="add del mod">
          <ac:chgData name="Kebba Jeng" userId="fe4cc296-ba7d-48a2-8799-89b58d218255" providerId="ADAL" clId="{388EFDEE-447E-42B4-98EF-30C01AB2E8CD}" dt="2022-03-28T17:56:41.326" v="2262"/>
          <ac:spMkLst>
            <pc:docMk/>
            <pc:sldMk cId="0" sldId="261"/>
            <ac:spMk id="1456" creationId="{27BA5AB4-2F0F-4DA5-BF7E-11E74D30A24C}"/>
          </ac:spMkLst>
        </pc:spChg>
        <pc:spChg chg="add del mod">
          <ac:chgData name="Kebba Jeng" userId="fe4cc296-ba7d-48a2-8799-89b58d218255" providerId="ADAL" clId="{388EFDEE-447E-42B4-98EF-30C01AB2E8CD}" dt="2022-03-28T17:56:41.326" v="2262"/>
          <ac:spMkLst>
            <pc:docMk/>
            <pc:sldMk cId="0" sldId="261"/>
            <ac:spMk id="1457" creationId="{65BF8F35-9284-4F46-BE9D-6402D82C0945}"/>
          </ac:spMkLst>
        </pc:spChg>
        <pc:spChg chg="add del mod">
          <ac:chgData name="Kebba Jeng" userId="fe4cc296-ba7d-48a2-8799-89b58d218255" providerId="ADAL" clId="{388EFDEE-447E-42B4-98EF-30C01AB2E8CD}" dt="2022-03-28T17:56:41.326" v="2262"/>
          <ac:spMkLst>
            <pc:docMk/>
            <pc:sldMk cId="0" sldId="261"/>
            <ac:spMk id="1458" creationId="{464AA672-D745-4287-BAD9-9619059361F3}"/>
          </ac:spMkLst>
        </pc:spChg>
        <pc:spChg chg="add del mod">
          <ac:chgData name="Kebba Jeng" userId="fe4cc296-ba7d-48a2-8799-89b58d218255" providerId="ADAL" clId="{388EFDEE-447E-42B4-98EF-30C01AB2E8CD}" dt="2022-03-28T17:56:41.326" v="2262"/>
          <ac:spMkLst>
            <pc:docMk/>
            <pc:sldMk cId="0" sldId="261"/>
            <ac:spMk id="1459" creationId="{1D477B66-AA19-4C75-94A9-6A546F3F39D9}"/>
          </ac:spMkLst>
        </pc:spChg>
        <pc:spChg chg="add del mod">
          <ac:chgData name="Kebba Jeng" userId="fe4cc296-ba7d-48a2-8799-89b58d218255" providerId="ADAL" clId="{388EFDEE-447E-42B4-98EF-30C01AB2E8CD}" dt="2022-03-28T17:56:41.326" v="2262"/>
          <ac:spMkLst>
            <pc:docMk/>
            <pc:sldMk cId="0" sldId="261"/>
            <ac:spMk id="1460" creationId="{28C778A6-91A1-4C85-BE5B-04A76A6578C8}"/>
          </ac:spMkLst>
        </pc:spChg>
        <pc:spChg chg="add del mod">
          <ac:chgData name="Kebba Jeng" userId="fe4cc296-ba7d-48a2-8799-89b58d218255" providerId="ADAL" clId="{388EFDEE-447E-42B4-98EF-30C01AB2E8CD}" dt="2022-03-28T17:56:41.326" v="2262"/>
          <ac:spMkLst>
            <pc:docMk/>
            <pc:sldMk cId="0" sldId="261"/>
            <ac:spMk id="1461" creationId="{22913E4D-E12C-40BA-BB4F-9114A9B7CC36}"/>
          </ac:spMkLst>
        </pc:spChg>
        <pc:spChg chg="add del mod">
          <ac:chgData name="Kebba Jeng" userId="fe4cc296-ba7d-48a2-8799-89b58d218255" providerId="ADAL" clId="{388EFDEE-447E-42B4-98EF-30C01AB2E8CD}" dt="2022-03-28T17:56:41.326" v="2262"/>
          <ac:spMkLst>
            <pc:docMk/>
            <pc:sldMk cId="0" sldId="261"/>
            <ac:spMk id="1462" creationId="{6F2F8A91-74C4-48E5-8FCF-10D8F88B83B0}"/>
          </ac:spMkLst>
        </pc:spChg>
        <pc:spChg chg="add del mod">
          <ac:chgData name="Kebba Jeng" userId="fe4cc296-ba7d-48a2-8799-89b58d218255" providerId="ADAL" clId="{388EFDEE-447E-42B4-98EF-30C01AB2E8CD}" dt="2022-03-28T17:56:41.326" v="2262"/>
          <ac:spMkLst>
            <pc:docMk/>
            <pc:sldMk cId="0" sldId="261"/>
            <ac:spMk id="1463" creationId="{B35799C5-19C4-463B-BC8A-3F12C0BDD70A}"/>
          </ac:spMkLst>
        </pc:spChg>
        <pc:spChg chg="add del mod">
          <ac:chgData name="Kebba Jeng" userId="fe4cc296-ba7d-48a2-8799-89b58d218255" providerId="ADAL" clId="{388EFDEE-447E-42B4-98EF-30C01AB2E8CD}" dt="2022-03-28T17:56:41.326" v="2262"/>
          <ac:spMkLst>
            <pc:docMk/>
            <pc:sldMk cId="0" sldId="261"/>
            <ac:spMk id="1464" creationId="{71A580F8-53F0-45B1-8E9A-B12E137202B8}"/>
          </ac:spMkLst>
        </pc:spChg>
        <pc:spChg chg="add del mod">
          <ac:chgData name="Kebba Jeng" userId="fe4cc296-ba7d-48a2-8799-89b58d218255" providerId="ADAL" clId="{388EFDEE-447E-42B4-98EF-30C01AB2E8CD}" dt="2022-03-28T17:56:41.326" v="2262"/>
          <ac:spMkLst>
            <pc:docMk/>
            <pc:sldMk cId="0" sldId="261"/>
            <ac:spMk id="1465" creationId="{3E9F63ED-7711-40AA-9687-2CE1234D6FE2}"/>
          </ac:spMkLst>
        </pc:spChg>
        <pc:spChg chg="add del mod">
          <ac:chgData name="Kebba Jeng" userId="fe4cc296-ba7d-48a2-8799-89b58d218255" providerId="ADAL" clId="{388EFDEE-447E-42B4-98EF-30C01AB2E8CD}" dt="2022-03-28T17:56:41.326" v="2262"/>
          <ac:spMkLst>
            <pc:docMk/>
            <pc:sldMk cId="0" sldId="261"/>
            <ac:spMk id="1466" creationId="{62A83497-ED07-4450-8B94-CE7ABCC27AE9}"/>
          </ac:spMkLst>
        </pc:spChg>
        <pc:spChg chg="add del mod">
          <ac:chgData name="Kebba Jeng" userId="fe4cc296-ba7d-48a2-8799-89b58d218255" providerId="ADAL" clId="{388EFDEE-447E-42B4-98EF-30C01AB2E8CD}" dt="2022-03-28T17:56:41.326" v="2262"/>
          <ac:spMkLst>
            <pc:docMk/>
            <pc:sldMk cId="0" sldId="261"/>
            <ac:spMk id="1467" creationId="{CFA4DD7D-757D-4382-AB1E-10351A9A71C2}"/>
          </ac:spMkLst>
        </pc:spChg>
        <pc:spChg chg="add del mod">
          <ac:chgData name="Kebba Jeng" userId="fe4cc296-ba7d-48a2-8799-89b58d218255" providerId="ADAL" clId="{388EFDEE-447E-42B4-98EF-30C01AB2E8CD}" dt="2022-03-28T17:56:41.326" v="2262"/>
          <ac:spMkLst>
            <pc:docMk/>
            <pc:sldMk cId="0" sldId="261"/>
            <ac:spMk id="1468" creationId="{9B513104-639D-4CA0-938D-454D5388025F}"/>
          </ac:spMkLst>
        </pc:spChg>
        <pc:spChg chg="add del mod">
          <ac:chgData name="Kebba Jeng" userId="fe4cc296-ba7d-48a2-8799-89b58d218255" providerId="ADAL" clId="{388EFDEE-447E-42B4-98EF-30C01AB2E8CD}" dt="2022-03-28T17:56:41.326" v="2262"/>
          <ac:spMkLst>
            <pc:docMk/>
            <pc:sldMk cId="0" sldId="261"/>
            <ac:spMk id="1469" creationId="{59721A47-7CE7-43ED-9FBA-DF4E8542C98A}"/>
          </ac:spMkLst>
        </pc:spChg>
        <pc:spChg chg="add del mod">
          <ac:chgData name="Kebba Jeng" userId="fe4cc296-ba7d-48a2-8799-89b58d218255" providerId="ADAL" clId="{388EFDEE-447E-42B4-98EF-30C01AB2E8CD}" dt="2022-03-28T17:56:41.326" v="2262"/>
          <ac:spMkLst>
            <pc:docMk/>
            <pc:sldMk cId="0" sldId="261"/>
            <ac:spMk id="1470" creationId="{A7523ED7-047F-44D4-A173-ACB77A3BCC13}"/>
          </ac:spMkLst>
        </pc:spChg>
        <pc:spChg chg="add del mod">
          <ac:chgData name="Kebba Jeng" userId="fe4cc296-ba7d-48a2-8799-89b58d218255" providerId="ADAL" clId="{388EFDEE-447E-42B4-98EF-30C01AB2E8CD}" dt="2022-03-28T17:56:41.326" v="2262"/>
          <ac:spMkLst>
            <pc:docMk/>
            <pc:sldMk cId="0" sldId="261"/>
            <ac:spMk id="1471" creationId="{5174187D-5B82-4341-B47C-0AB4DF35A4AB}"/>
          </ac:spMkLst>
        </pc:spChg>
        <pc:spChg chg="add del mod">
          <ac:chgData name="Kebba Jeng" userId="fe4cc296-ba7d-48a2-8799-89b58d218255" providerId="ADAL" clId="{388EFDEE-447E-42B4-98EF-30C01AB2E8CD}" dt="2022-03-28T17:56:41.326" v="2262"/>
          <ac:spMkLst>
            <pc:docMk/>
            <pc:sldMk cId="0" sldId="261"/>
            <ac:spMk id="1472" creationId="{2D3862F4-7D94-4367-96C2-E9EB8CDE91B9}"/>
          </ac:spMkLst>
        </pc:spChg>
        <pc:spChg chg="add del mod">
          <ac:chgData name="Kebba Jeng" userId="fe4cc296-ba7d-48a2-8799-89b58d218255" providerId="ADAL" clId="{388EFDEE-447E-42B4-98EF-30C01AB2E8CD}" dt="2022-03-28T17:56:41.326" v="2262"/>
          <ac:spMkLst>
            <pc:docMk/>
            <pc:sldMk cId="0" sldId="261"/>
            <ac:spMk id="1473" creationId="{8D73FAE5-ABD1-43D3-BA7D-E99249670639}"/>
          </ac:spMkLst>
        </pc:spChg>
        <pc:spChg chg="add del mod">
          <ac:chgData name="Kebba Jeng" userId="fe4cc296-ba7d-48a2-8799-89b58d218255" providerId="ADAL" clId="{388EFDEE-447E-42B4-98EF-30C01AB2E8CD}" dt="2022-03-28T17:56:41.326" v="2262"/>
          <ac:spMkLst>
            <pc:docMk/>
            <pc:sldMk cId="0" sldId="261"/>
            <ac:spMk id="1474" creationId="{8A2CB9BB-1B78-4C31-9B28-28FCBBD40128}"/>
          </ac:spMkLst>
        </pc:spChg>
        <pc:spChg chg="add del mod">
          <ac:chgData name="Kebba Jeng" userId="fe4cc296-ba7d-48a2-8799-89b58d218255" providerId="ADAL" clId="{388EFDEE-447E-42B4-98EF-30C01AB2E8CD}" dt="2022-03-28T17:56:41.326" v="2262"/>
          <ac:spMkLst>
            <pc:docMk/>
            <pc:sldMk cId="0" sldId="261"/>
            <ac:spMk id="1475" creationId="{60522DDC-C330-406E-B4DC-B052FB1862F8}"/>
          </ac:spMkLst>
        </pc:spChg>
        <pc:spChg chg="add del mod">
          <ac:chgData name="Kebba Jeng" userId="fe4cc296-ba7d-48a2-8799-89b58d218255" providerId="ADAL" clId="{388EFDEE-447E-42B4-98EF-30C01AB2E8CD}" dt="2022-03-28T17:56:41.326" v="2262"/>
          <ac:spMkLst>
            <pc:docMk/>
            <pc:sldMk cId="0" sldId="261"/>
            <ac:spMk id="1476" creationId="{784D46D5-320D-44CD-B789-FE108DCBA532}"/>
          </ac:spMkLst>
        </pc:spChg>
        <pc:spChg chg="add del mod">
          <ac:chgData name="Kebba Jeng" userId="fe4cc296-ba7d-48a2-8799-89b58d218255" providerId="ADAL" clId="{388EFDEE-447E-42B4-98EF-30C01AB2E8CD}" dt="2022-03-28T17:56:41.326" v="2262"/>
          <ac:spMkLst>
            <pc:docMk/>
            <pc:sldMk cId="0" sldId="261"/>
            <ac:spMk id="1477" creationId="{EE90BA7F-E211-4400-84C0-9EDD1006A84D}"/>
          </ac:spMkLst>
        </pc:spChg>
        <pc:spChg chg="add del mod">
          <ac:chgData name="Kebba Jeng" userId="fe4cc296-ba7d-48a2-8799-89b58d218255" providerId="ADAL" clId="{388EFDEE-447E-42B4-98EF-30C01AB2E8CD}" dt="2022-03-28T17:56:41.326" v="2262"/>
          <ac:spMkLst>
            <pc:docMk/>
            <pc:sldMk cId="0" sldId="261"/>
            <ac:spMk id="1478" creationId="{3339C442-D829-4773-AD60-6A2422764217}"/>
          </ac:spMkLst>
        </pc:spChg>
        <pc:spChg chg="add del mod">
          <ac:chgData name="Kebba Jeng" userId="fe4cc296-ba7d-48a2-8799-89b58d218255" providerId="ADAL" clId="{388EFDEE-447E-42B4-98EF-30C01AB2E8CD}" dt="2022-03-28T17:56:41.326" v="2262"/>
          <ac:spMkLst>
            <pc:docMk/>
            <pc:sldMk cId="0" sldId="261"/>
            <ac:spMk id="1479" creationId="{C90E2814-0656-420E-A8E4-A56DAA4D7AD7}"/>
          </ac:spMkLst>
        </pc:spChg>
        <pc:spChg chg="add del mod">
          <ac:chgData name="Kebba Jeng" userId="fe4cc296-ba7d-48a2-8799-89b58d218255" providerId="ADAL" clId="{388EFDEE-447E-42B4-98EF-30C01AB2E8CD}" dt="2022-03-28T17:56:41.326" v="2262"/>
          <ac:spMkLst>
            <pc:docMk/>
            <pc:sldMk cId="0" sldId="261"/>
            <ac:spMk id="1480" creationId="{E0C62BF8-6519-489A-BF37-F951FB47A9D2}"/>
          </ac:spMkLst>
        </pc:spChg>
        <pc:spChg chg="add del mod">
          <ac:chgData name="Kebba Jeng" userId="fe4cc296-ba7d-48a2-8799-89b58d218255" providerId="ADAL" clId="{388EFDEE-447E-42B4-98EF-30C01AB2E8CD}" dt="2022-03-28T17:56:41.326" v="2262"/>
          <ac:spMkLst>
            <pc:docMk/>
            <pc:sldMk cId="0" sldId="261"/>
            <ac:spMk id="1481" creationId="{7F614649-242A-4127-88F3-F1790CFECFD7}"/>
          </ac:spMkLst>
        </pc:spChg>
        <pc:spChg chg="add del mod">
          <ac:chgData name="Kebba Jeng" userId="fe4cc296-ba7d-48a2-8799-89b58d218255" providerId="ADAL" clId="{388EFDEE-447E-42B4-98EF-30C01AB2E8CD}" dt="2022-03-28T17:56:41.326" v="2262"/>
          <ac:spMkLst>
            <pc:docMk/>
            <pc:sldMk cId="0" sldId="261"/>
            <ac:spMk id="1482" creationId="{36F4BBBE-BA88-45A5-9F53-A6493913B74A}"/>
          </ac:spMkLst>
        </pc:spChg>
        <pc:spChg chg="add del mod">
          <ac:chgData name="Kebba Jeng" userId="fe4cc296-ba7d-48a2-8799-89b58d218255" providerId="ADAL" clId="{388EFDEE-447E-42B4-98EF-30C01AB2E8CD}" dt="2022-03-28T17:56:41.326" v="2262"/>
          <ac:spMkLst>
            <pc:docMk/>
            <pc:sldMk cId="0" sldId="261"/>
            <ac:spMk id="1483" creationId="{2966762E-093E-4F57-9ED2-87ACB68205E2}"/>
          </ac:spMkLst>
        </pc:spChg>
        <pc:spChg chg="add del mod">
          <ac:chgData name="Kebba Jeng" userId="fe4cc296-ba7d-48a2-8799-89b58d218255" providerId="ADAL" clId="{388EFDEE-447E-42B4-98EF-30C01AB2E8CD}" dt="2022-03-28T17:56:41.326" v="2262"/>
          <ac:spMkLst>
            <pc:docMk/>
            <pc:sldMk cId="0" sldId="261"/>
            <ac:spMk id="1484" creationId="{2D58D102-D2CF-4695-80F4-5A5BB87AEE13}"/>
          </ac:spMkLst>
        </pc:spChg>
        <pc:spChg chg="add del mod">
          <ac:chgData name="Kebba Jeng" userId="fe4cc296-ba7d-48a2-8799-89b58d218255" providerId="ADAL" clId="{388EFDEE-447E-42B4-98EF-30C01AB2E8CD}" dt="2022-03-28T17:56:41.326" v="2262"/>
          <ac:spMkLst>
            <pc:docMk/>
            <pc:sldMk cId="0" sldId="261"/>
            <ac:spMk id="1485" creationId="{935C0685-7F4E-45FC-8C43-BEA86971F1DE}"/>
          </ac:spMkLst>
        </pc:spChg>
        <pc:spChg chg="add del mod">
          <ac:chgData name="Kebba Jeng" userId="fe4cc296-ba7d-48a2-8799-89b58d218255" providerId="ADAL" clId="{388EFDEE-447E-42B4-98EF-30C01AB2E8CD}" dt="2022-03-28T17:56:41.326" v="2262"/>
          <ac:spMkLst>
            <pc:docMk/>
            <pc:sldMk cId="0" sldId="261"/>
            <ac:spMk id="1486" creationId="{D5B6BB9E-E596-4285-BFA5-ECFB33BE2F5C}"/>
          </ac:spMkLst>
        </pc:spChg>
        <pc:spChg chg="add del mod">
          <ac:chgData name="Kebba Jeng" userId="fe4cc296-ba7d-48a2-8799-89b58d218255" providerId="ADAL" clId="{388EFDEE-447E-42B4-98EF-30C01AB2E8CD}" dt="2022-03-28T17:56:41.326" v="2262"/>
          <ac:spMkLst>
            <pc:docMk/>
            <pc:sldMk cId="0" sldId="261"/>
            <ac:spMk id="1487" creationId="{9636A78F-2ACE-45FD-B87E-589A11345BE8}"/>
          </ac:spMkLst>
        </pc:spChg>
        <pc:spChg chg="add del mod">
          <ac:chgData name="Kebba Jeng" userId="fe4cc296-ba7d-48a2-8799-89b58d218255" providerId="ADAL" clId="{388EFDEE-447E-42B4-98EF-30C01AB2E8CD}" dt="2022-03-28T17:56:41.326" v="2262"/>
          <ac:spMkLst>
            <pc:docMk/>
            <pc:sldMk cId="0" sldId="261"/>
            <ac:spMk id="1488" creationId="{0E80FF94-2B9A-4F74-8731-DBB436380633}"/>
          </ac:spMkLst>
        </pc:spChg>
        <pc:spChg chg="add del mod">
          <ac:chgData name="Kebba Jeng" userId="fe4cc296-ba7d-48a2-8799-89b58d218255" providerId="ADAL" clId="{388EFDEE-447E-42B4-98EF-30C01AB2E8CD}" dt="2022-03-28T17:56:41.326" v="2262"/>
          <ac:spMkLst>
            <pc:docMk/>
            <pc:sldMk cId="0" sldId="261"/>
            <ac:spMk id="1489" creationId="{2B1ABBB0-CF17-4172-874F-DCE67D61DEF7}"/>
          </ac:spMkLst>
        </pc:spChg>
        <pc:spChg chg="add del mod">
          <ac:chgData name="Kebba Jeng" userId="fe4cc296-ba7d-48a2-8799-89b58d218255" providerId="ADAL" clId="{388EFDEE-447E-42B4-98EF-30C01AB2E8CD}" dt="2022-03-28T17:56:41.326" v="2262"/>
          <ac:spMkLst>
            <pc:docMk/>
            <pc:sldMk cId="0" sldId="261"/>
            <ac:spMk id="1490" creationId="{0D90BBAC-8346-4786-A78F-1790B0FA4FFB}"/>
          </ac:spMkLst>
        </pc:spChg>
        <pc:spChg chg="add del mod">
          <ac:chgData name="Kebba Jeng" userId="fe4cc296-ba7d-48a2-8799-89b58d218255" providerId="ADAL" clId="{388EFDEE-447E-42B4-98EF-30C01AB2E8CD}" dt="2022-03-28T17:56:41.326" v="2262"/>
          <ac:spMkLst>
            <pc:docMk/>
            <pc:sldMk cId="0" sldId="261"/>
            <ac:spMk id="1491" creationId="{927AD731-6B7D-4A6C-AD81-4892B386320D}"/>
          </ac:spMkLst>
        </pc:spChg>
        <pc:spChg chg="add del mod">
          <ac:chgData name="Kebba Jeng" userId="fe4cc296-ba7d-48a2-8799-89b58d218255" providerId="ADAL" clId="{388EFDEE-447E-42B4-98EF-30C01AB2E8CD}" dt="2022-03-28T17:56:41.326" v="2262"/>
          <ac:spMkLst>
            <pc:docMk/>
            <pc:sldMk cId="0" sldId="261"/>
            <ac:spMk id="1492" creationId="{1118E0E0-84AB-422C-AFDD-F9C0BE7F4595}"/>
          </ac:spMkLst>
        </pc:spChg>
        <pc:spChg chg="add del mod">
          <ac:chgData name="Kebba Jeng" userId="fe4cc296-ba7d-48a2-8799-89b58d218255" providerId="ADAL" clId="{388EFDEE-447E-42B4-98EF-30C01AB2E8CD}" dt="2022-03-28T17:56:41.326" v="2262"/>
          <ac:spMkLst>
            <pc:docMk/>
            <pc:sldMk cId="0" sldId="261"/>
            <ac:spMk id="1493" creationId="{D7800404-CD50-4D11-923B-92E768819AA8}"/>
          </ac:spMkLst>
        </pc:spChg>
        <pc:spChg chg="add del mod">
          <ac:chgData name="Kebba Jeng" userId="fe4cc296-ba7d-48a2-8799-89b58d218255" providerId="ADAL" clId="{388EFDEE-447E-42B4-98EF-30C01AB2E8CD}" dt="2022-03-28T17:56:41.326" v="2262"/>
          <ac:spMkLst>
            <pc:docMk/>
            <pc:sldMk cId="0" sldId="261"/>
            <ac:spMk id="1494" creationId="{03527044-8DC4-4AA8-9FCB-B5BF5A223129}"/>
          </ac:spMkLst>
        </pc:spChg>
        <pc:spChg chg="add del mod">
          <ac:chgData name="Kebba Jeng" userId="fe4cc296-ba7d-48a2-8799-89b58d218255" providerId="ADAL" clId="{388EFDEE-447E-42B4-98EF-30C01AB2E8CD}" dt="2022-03-28T17:56:41.326" v="2262"/>
          <ac:spMkLst>
            <pc:docMk/>
            <pc:sldMk cId="0" sldId="261"/>
            <ac:spMk id="1495" creationId="{AF01C2AB-D2C7-432E-BE52-88D39F71B1CE}"/>
          </ac:spMkLst>
        </pc:spChg>
        <pc:spChg chg="add del mod">
          <ac:chgData name="Kebba Jeng" userId="fe4cc296-ba7d-48a2-8799-89b58d218255" providerId="ADAL" clId="{388EFDEE-447E-42B4-98EF-30C01AB2E8CD}" dt="2022-03-28T17:56:41.326" v="2262"/>
          <ac:spMkLst>
            <pc:docMk/>
            <pc:sldMk cId="0" sldId="261"/>
            <ac:spMk id="1496" creationId="{30A4BACE-1800-494F-AF31-6CAC03A49D0F}"/>
          </ac:spMkLst>
        </pc:spChg>
        <pc:spChg chg="add del mod">
          <ac:chgData name="Kebba Jeng" userId="fe4cc296-ba7d-48a2-8799-89b58d218255" providerId="ADAL" clId="{388EFDEE-447E-42B4-98EF-30C01AB2E8CD}" dt="2022-03-28T17:56:41.326" v="2262"/>
          <ac:spMkLst>
            <pc:docMk/>
            <pc:sldMk cId="0" sldId="261"/>
            <ac:spMk id="1497" creationId="{7AA4F441-5F53-4CD5-B969-664BE2C5F81C}"/>
          </ac:spMkLst>
        </pc:spChg>
        <pc:spChg chg="add del mod">
          <ac:chgData name="Kebba Jeng" userId="fe4cc296-ba7d-48a2-8799-89b58d218255" providerId="ADAL" clId="{388EFDEE-447E-42B4-98EF-30C01AB2E8CD}" dt="2022-03-28T17:56:41.326" v="2262"/>
          <ac:spMkLst>
            <pc:docMk/>
            <pc:sldMk cId="0" sldId="261"/>
            <ac:spMk id="1498" creationId="{DB52AEFE-C78A-41B9-AF35-01AE66F54508}"/>
          </ac:spMkLst>
        </pc:spChg>
        <pc:spChg chg="add del mod">
          <ac:chgData name="Kebba Jeng" userId="fe4cc296-ba7d-48a2-8799-89b58d218255" providerId="ADAL" clId="{388EFDEE-447E-42B4-98EF-30C01AB2E8CD}" dt="2022-03-28T17:56:41.326" v="2262"/>
          <ac:spMkLst>
            <pc:docMk/>
            <pc:sldMk cId="0" sldId="261"/>
            <ac:spMk id="1499" creationId="{BF80CBD8-9DC4-4F55-A9F8-007940DFEFC5}"/>
          </ac:spMkLst>
        </pc:spChg>
        <pc:spChg chg="add del mod">
          <ac:chgData name="Kebba Jeng" userId="fe4cc296-ba7d-48a2-8799-89b58d218255" providerId="ADAL" clId="{388EFDEE-447E-42B4-98EF-30C01AB2E8CD}" dt="2022-03-28T17:56:41.326" v="2262"/>
          <ac:spMkLst>
            <pc:docMk/>
            <pc:sldMk cId="0" sldId="261"/>
            <ac:spMk id="1500" creationId="{BEB51AA6-F88D-4079-B88A-E5DB760D431B}"/>
          </ac:spMkLst>
        </pc:spChg>
        <pc:spChg chg="add del mod">
          <ac:chgData name="Kebba Jeng" userId="fe4cc296-ba7d-48a2-8799-89b58d218255" providerId="ADAL" clId="{388EFDEE-447E-42B4-98EF-30C01AB2E8CD}" dt="2022-03-28T17:57:00.220" v="2268"/>
          <ac:spMkLst>
            <pc:docMk/>
            <pc:sldMk cId="0" sldId="261"/>
            <ac:spMk id="1501" creationId="{3D331C73-DD09-4C65-8161-1840B35B687B}"/>
          </ac:spMkLst>
        </pc:spChg>
        <pc:spChg chg="add del mod">
          <ac:chgData name="Kebba Jeng" userId="fe4cc296-ba7d-48a2-8799-89b58d218255" providerId="ADAL" clId="{388EFDEE-447E-42B4-98EF-30C01AB2E8CD}" dt="2022-03-28T17:57:00.220" v="2268"/>
          <ac:spMkLst>
            <pc:docMk/>
            <pc:sldMk cId="0" sldId="261"/>
            <ac:spMk id="1502" creationId="{2311F01E-46D0-4167-921D-BE6594232B59}"/>
          </ac:spMkLst>
        </pc:spChg>
        <pc:spChg chg="add del mod">
          <ac:chgData name="Kebba Jeng" userId="fe4cc296-ba7d-48a2-8799-89b58d218255" providerId="ADAL" clId="{388EFDEE-447E-42B4-98EF-30C01AB2E8CD}" dt="2022-03-28T17:57:00.220" v="2268"/>
          <ac:spMkLst>
            <pc:docMk/>
            <pc:sldMk cId="0" sldId="261"/>
            <ac:spMk id="1503" creationId="{E3142C54-8075-474F-8813-8AB49CDD53A3}"/>
          </ac:spMkLst>
        </pc:spChg>
        <pc:spChg chg="add del mod">
          <ac:chgData name="Kebba Jeng" userId="fe4cc296-ba7d-48a2-8799-89b58d218255" providerId="ADAL" clId="{388EFDEE-447E-42B4-98EF-30C01AB2E8CD}" dt="2022-03-28T17:57:00.220" v="2268"/>
          <ac:spMkLst>
            <pc:docMk/>
            <pc:sldMk cId="0" sldId="261"/>
            <ac:spMk id="1504" creationId="{DE11E6B4-52B2-4A8E-BF1D-09CF65FB0F88}"/>
          </ac:spMkLst>
        </pc:spChg>
        <pc:spChg chg="add del mod">
          <ac:chgData name="Kebba Jeng" userId="fe4cc296-ba7d-48a2-8799-89b58d218255" providerId="ADAL" clId="{388EFDEE-447E-42B4-98EF-30C01AB2E8CD}" dt="2022-03-28T17:57:00.220" v="2268"/>
          <ac:spMkLst>
            <pc:docMk/>
            <pc:sldMk cId="0" sldId="261"/>
            <ac:spMk id="1505" creationId="{CD22029E-002A-4E2B-8B57-B276706AA4F4}"/>
          </ac:spMkLst>
        </pc:spChg>
        <pc:spChg chg="add del mod">
          <ac:chgData name="Kebba Jeng" userId="fe4cc296-ba7d-48a2-8799-89b58d218255" providerId="ADAL" clId="{388EFDEE-447E-42B4-98EF-30C01AB2E8CD}" dt="2022-03-28T17:57:00.220" v="2268"/>
          <ac:spMkLst>
            <pc:docMk/>
            <pc:sldMk cId="0" sldId="261"/>
            <ac:spMk id="1506" creationId="{4449B0F8-B771-469B-BF4B-C3D17766E808}"/>
          </ac:spMkLst>
        </pc:spChg>
        <pc:spChg chg="add del mod">
          <ac:chgData name="Kebba Jeng" userId="fe4cc296-ba7d-48a2-8799-89b58d218255" providerId="ADAL" clId="{388EFDEE-447E-42B4-98EF-30C01AB2E8CD}" dt="2022-03-28T17:57:00.220" v="2268"/>
          <ac:spMkLst>
            <pc:docMk/>
            <pc:sldMk cId="0" sldId="261"/>
            <ac:spMk id="1507" creationId="{6D872F26-F05B-42A7-826D-F1845807C837}"/>
          </ac:spMkLst>
        </pc:spChg>
        <pc:spChg chg="add del mod">
          <ac:chgData name="Kebba Jeng" userId="fe4cc296-ba7d-48a2-8799-89b58d218255" providerId="ADAL" clId="{388EFDEE-447E-42B4-98EF-30C01AB2E8CD}" dt="2022-03-28T17:57:00.220" v="2268"/>
          <ac:spMkLst>
            <pc:docMk/>
            <pc:sldMk cId="0" sldId="261"/>
            <ac:spMk id="1508" creationId="{0CC1841C-69A0-40C4-BF38-65B37BF93960}"/>
          </ac:spMkLst>
        </pc:spChg>
        <pc:spChg chg="add del mod">
          <ac:chgData name="Kebba Jeng" userId="fe4cc296-ba7d-48a2-8799-89b58d218255" providerId="ADAL" clId="{388EFDEE-447E-42B4-98EF-30C01AB2E8CD}" dt="2022-03-28T17:57:00.220" v="2268"/>
          <ac:spMkLst>
            <pc:docMk/>
            <pc:sldMk cId="0" sldId="261"/>
            <ac:spMk id="1509" creationId="{325D7950-F07B-40EC-9630-13921C630B58}"/>
          </ac:spMkLst>
        </pc:spChg>
        <pc:spChg chg="add del mod">
          <ac:chgData name="Kebba Jeng" userId="fe4cc296-ba7d-48a2-8799-89b58d218255" providerId="ADAL" clId="{388EFDEE-447E-42B4-98EF-30C01AB2E8CD}" dt="2022-03-28T17:57:00.220" v="2268"/>
          <ac:spMkLst>
            <pc:docMk/>
            <pc:sldMk cId="0" sldId="261"/>
            <ac:spMk id="1510" creationId="{8A664BEB-6B96-4318-9C62-9DFDACA67086}"/>
          </ac:spMkLst>
        </pc:spChg>
        <pc:spChg chg="add del mod">
          <ac:chgData name="Kebba Jeng" userId="fe4cc296-ba7d-48a2-8799-89b58d218255" providerId="ADAL" clId="{388EFDEE-447E-42B4-98EF-30C01AB2E8CD}" dt="2022-03-28T17:57:00.220" v="2268"/>
          <ac:spMkLst>
            <pc:docMk/>
            <pc:sldMk cId="0" sldId="261"/>
            <ac:spMk id="1511" creationId="{479CCC59-F29E-46AA-A7EF-199EBD6D7D0D}"/>
          </ac:spMkLst>
        </pc:spChg>
        <pc:spChg chg="add del mod">
          <ac:chgData name="Kebba Jeng" userId="fe4cc296-ba7d-48a2-8799-89b58d218255" providerId="ADAL" clId="{388EFDEE-447E-42B4-98EF-30C01AB2E8CD}" dt="2022-03-28T17:57:00.220" v="2268"/>
          <ac:spMkLst>
            <pc:docMk/>
            <pc:sldMk cId="0" sldId="261"/>
            <ac:spMk id="1512" creationId="{2CBA815C-AFC7-48E6-8F73-61599863415E}"/>
          </ac:spMkLst>
        </pc:spChg>
        <pc:spChg chg="add del mod">
          <ac:chgData name="Kebba Jeng" userId="fe4cc296-ba7d-48a2-8799-89b58d218255" providerId="ADAL" clId="{388EFDEE-447E-42B4-98EF-30C01AB2E8CD}" dt="2022-03-28T17:57:00.220" v="2268"/>
          <ac:spMkLst>
            <pc:docMk/>
            <pc:sldMk cId="0" sldId="261"/>
            <ac:spMk id="1513" creationId="{0F842EC2-1BEF-4839-835B-577D4B7A88E1}"/>
          </ac:spMkLst>
        </pc:spChg>
        <pc:spChg chg="add del mod">
          <ac:chgData name="Kebba Jeng" userId="fe4cc296-ba7d-48a2-8799-89b58d218255" providerId="ADAL" clId="{388EFDEE-447E-42B4-98EF-30C01AB2E8CD}" dt="2022-03-28T17:57:00.220" v="2268"/>
          <ac:spMkLst>
            <pc:docMk/>
            <pc:sldMk cId="0" sldId="261"/>
            <ac:spMk id="1514" creationId="{8C018E8C-B963-40B9-A30D-7463D19A1711}"/>
          </ac:spMkLst>
        </pc:spChg>
        <pc:spChg chg="add del mod">
          <ac:chgData name="Kebba Jeng" userId="fe4cc296-ba7d-48a2-8799-89b58d218255" providerId="ADAL" clId="{388EFDEE-447E-42B4-98EF-30C01AB2E8CD}" dt="2022-03-28T17:57:00.220" v="2268"/>
          <ac:spMkLst>
            <pc:docMk/>
            <pc:sldMk cId="0" sldId="261"/>
            <ac:spMk id="1515" creationId="{97B6B603-372C-44EB-9F27-1BDCAEE5A984}"/>
          </ac:spMkLst>
        </pc:spChg>
        <pc:spChg chg="add del mod">
          <ac:chgData name="Kebba Jeng" userId="fe4cc296-ba7d-48a2-8799-89b58d218255" providerId="ADAL" clId="{388EFDEE-447E-42B4-98EF-30C01AB2E8CD}" dt="2022-03-28T17:57:00.220" v="2268"/>
          <ac:spMkLst>
            <pc:docMk/>
            <pc:sldMk cId="0" sldId="261"/>
            <ac:spMk id="1516" creationId="{7F1BCFC5-3968-46C6-9020-68625851B3C4}"/>
          </ac:spMkLst>
        </pc:spChg>
        <pc:spChg chg="add del mod">
          <ac:chgData name="Kebba Jeng" userId="fe4cc296-ba7d-48a2-8799-89b58d218255" providerId="ADAL" clId="{388EFDEE-447E-42B4-98EF-30C01AB2E8CD}" dt="2022-03-28T17:57:00.220" v="2268"/>
          <ac:spMkLst>
            <pc:docMk/>
            <pc:sldMk cId="0" sldId="261"/>
            <ac:spMk id="1517" creationId="{56D2AEB3-2F3C-4161-8F34-095F1106BAB6}"/>
          </ac:spMkLst>
        </pc:spChg>
        <pc:spChg chg="add del mod">
          <ac:chgData name="Kebba Jeng" userId="fe4cc296-ba7d-48a2-8799-89b58d218255" providerId="ADAL" clId="{388EFDEE-447E-42B4-98EF-30C01AB2E8CD}" dt="2022-03-28T17:57:00.220" v="2268"/>
          <ac:spMkLst>
            <pc:docMk/>
            <pc:sldMk cId="0" sldId="261"/>
            <ac:spMk id="1518" creationId="{0E8665E6-0D69-4838-BFE6-D357F79E1540}"/>
          </ac:spMkLst>
        </pc:spChg>
        <pc:spChg chg="add del mod">
          <ac:chgData name="Kebba Jeng" userId="fe4cc296-ba7d-48a2-8799-89b58d218255" providerId="ADAL" clId="{388EFDEE-447E-42B4-98EF-30C01AB2E8CD}" dt="2022-03-28T17:57:00.220" v="2268"/>
          <ac:spMkLst>
            <pc:docMk/>
            <pc:sldMk cId="0" sldId="261"/>
            <ac:spMk id="1519" creationId="{FE2DD1AA-E75A-407A-94A2-74A2211099A3}"/>
          </ac:spMkLst>
        </pc:spChg>
        <pc:spChg chg="add del mod">
          <ac:chgData name="Kebba Jeng" userId="fe4cc296-ba7d-48a2-8799-89b58d218255" providerId="ADAL" clId="{388EFDEE-447E-42B4-98EF-30C01AB2E8CD}" dt="2022-03-28T17:57:00.220" v="2268"/>
          <ac:spMkLst>
            <pc:docMk/>
            <pc:sldMk cId="0" sldId="261"/>
            <ac:spMk id="1520" creationId="{94E3AD40-D0AF-42E8-972C-5D21BDB774F0}"/>
          </ac:spMkLst>
        </pc:spChg>
        <pc:spChg chg="add del mod">
          <ac:chgData name="Kebba Jeng" userId="fe4cc296-ba7d-48a2-8799-89b58d218255" providerId="ADAL" clId="{388EFDEE-447E-42B4-98EF-30C01AB2E8CD}" dt="2022-03-28T17:57:00.220" v="2268"/>
          <ac:spMkLst>
            <pc:docMk/>
            <pc:sldMk cId="0" sldId="261"/>
            <ac:spMk id="1521" creationId="{32A360A0-CD2D-4E5C-8B37-AC5AA2671ECD}"/>
          </ac:spMkLst>
        </pc:spChg>
        <pc:spChg chg="add del mod">
          <ac:chgData name="Kebba Jeng" userId="fe4cc296-ba7d-48a2-8799-89b58d218255" providerId="ADAL" clId="{388EFDEE-447E-42B4-98EF-30C01AB2E8CD}" dt="2022-03-28T17:57:00.220" v="2268"/>
          <ac:spMkLst>
            <pc:docMk/>
            <pc:sldMk cId="0" sldId="261"/>
            <ac:spMk id="1522" creationId="{66DF83E4-4939-4DBB-A602-E7804B5AA80E}"/>
          </ac:spMkLst>
        </pc:spChg>
        <pc:spChg chg="add del mod">
          <ac:chgData name="Kebba Jeng" userId="fe4cc296-ba7d-48a2-8799-89b58d218255" providerId="ADAL" clId="{388EFDEE-447E-42B4-98EF-30C01AB2E8CD}" dt="2022-03-28T17:57:00.220" v="2268"/>
          <ac:spMkLst>
            <pc:docMk/>
            <pc:sldMk cId="0" sldId="261"/>
            <ac:spMk id="1523" creationId="{C3F760AC-B1C0-4E64-A2E8-6AB448C6A6F7}"/>
          </ac:spMkLst>
        </pc:spChg>
        <pc:spChg chg="add del mod">
          <ac:chgData name="Kebba Jeng" userId="fe4cc296-ba7d-48a2-8799-89b58d218255" providerId="ADAL" clId="{388EFDEE-447E-42B4-98EF-30C01AB2E8CD}" dt="2022-03-28T17:57:00.220" v="2268"/>
          <ac:spMkLst>
            <pc:docMk/>
            <pc:sldMk cId="0" sldId="261"/>
            <ac:spMk id="1524" creationId="{82978A5B-F105-4FB7-A9BB-6D8EBD427EC5}"/>
          </ac:spMkLst>
        </pc:spChg>
        <pc:spChg chg="add del mod">
          <ac:chgData name="Kebba Jeng" userId="fe4cc296-ba7d-48a2-8799-89b58d218255" providerId="ADAL" clId="{388EFDEE-447E-42B4-98EF-30C01AB2E8CD}" dt="2022-03-28T17:57:00.220" v="2268"/>
          <ac:spMkLst>
            <pc:docMk/>
            <pc:sldMk cId="0" sldId="261"/>
            <ac:spMk id="1525" creationId="{C4529A6C-A289-4224-B253-22349A6AB090}"/>
          </ac:spMkLst>
        </pc:spChg>
        <pc:spChg chg="add del mod">
          <ac:chgData name="Kebba Jeng" userId="fe4cc296-ba7d-48a2-8799-89b58d218255" providerId="ADAL" clId="{388EFDEE-447E-42B4-98EF-30C01AB2E8CD}" dt="2022-03-28T17:57:00.220" v="2268"/>
          <ac:spMkLst>
            <pc:docMk/>
            <pc:sldMk cId="0" sldId="261"/>
            <ac:spMk id="1526" creationId="{E093DD82-19C0-4A93-A030-BF60025CAB0A}"/>
          </ac:spMkLst>
        </pc:spChg>
        <pc:spChg chg="add del mod">
          <ac:chgData name="Kebba Jeng" userId="fe4cc296-ba7d-48a2-8799-89b58d218255" providerId="ADAL" clId="{388EFDEE-447E-42B4-98EF-30C01AB2E8CD}" dt="2022-03-28T17:57:00.220" v="2268"/>
          <ac:spMkLst>
            <pc:docMk/>
            <pc:sldMk cId="0" sldId="261"/>
            <ac:spMk id="1527" creationId="{7CA7EE99-B8A9-47DE-A45E-3A272F939E32}"/>
          </ac:spMkLst>
        </pc:spChg>
        <pc:spChg chg="add del mod">
          <ac:chgData name="Kebba Jeng" userId="fe4cc296-ba7d-48a2-8799-89b58d218255" providerId="ADAL" clId="{388EFDEE-447E-42B4-98EF-30C01AB2E8CD}" dt="2022-03-28T17:57:00.220" v="2268"/>
          <ac:spMkLst>
            <pc:docMk/>
            <pc:sldMk cId="0" sldId="261"/>
            <ac:spMk id="1528" creationId="{50892F7D-A3F7-4A66-AD8B-0F5A2C73EF3E}"/>
          </ac:spMkLst>
        </pc:spChg>
        <pc:spChg chg="add del mod">
          <ac:chgData name="Kebba Jeng" userId="fe4cc296-ba7d-48a2-8799-89b58d218255" providerId="ADAL" clId="{388EFDEE-447E-42B4-98EF-30C01AB2E8CD}" dt="2022-03-28T17:57:00.220" v="2268"/>
          <ac:spMkLst>
            <pc:docMk/>
            <pc:sldMk cId="0" sldId="261"/>
            <ac:spMk id="1529" creationId="{6D926798-B322-4D29-87CD-E73FD8D0246C}"/>
          </ac:spMkLst>
        </pc:spChg>
        <pc:spChg chg="add del mod">
          <ac:chgData name="Kebba Jeng" userId="fe4cc296-ba7d-48a2-8799-89b58d218255" providerId="ADAL" clId="{388EFDEE-447E-42B4-98EF-30C01AB2E8CD}" dt="2022-03-28T17:57:00.220" v="2268"/>
          <ac:spMkLst>
            <pc:docMk/>
            <pc:sldMk cId="0" sldId="261"/>
            <ac:spMk id="1530" creationId="{911A7B61-7A40-4511-BEA4-E86A41FFBDEF}"/>
          </ac:spMkLst>
        </pc:spChg>
        <pc:spChg chg="add del mod">
          <ac:chgData name="Kebba Jeng" userId="fe4cc296-ba7d-48a2-8799-89b58d218255" providerId="ADAL" clId="{388EFDEE-447E-42B4-98EF-30C01AB2E8CD}" dt="2022-03-28T17:57:00.220" v="2268"/>
          <ac:spMkLst>
            <pc:docMk/>
            <pc:sldMk cId="0" sldId="261"/>
            <ac:spMk id="1531" creationId="{117043CB-CDC4-4524-8913-79FCB6A8A18E}"/>
          </ac:spMkLst>
        </pc:spChg>
        <pc:spChg chg="add del mod">
          <ac:chgData name="Kebba Jeng" userId="fe4cc296-ba7d-48a2-8799-89b58d218255" providerId="ADAL" clId="{388EFDEE-447E-42B4-98EF-30C01AB2E8CD}" dt="2022-03-28T17:57:00.220" v="2268"/>
          <ac:spMkLst>
            <pc:docMk/>
            <pc:sldMk cId="0" sldId="261"/>
            <ac:spMk id="1532" creationId="{CA8588F9-7EE7-4F30-9906-E9D61701726E}"/>
          </ac:spMkLst>
        </pc:spChg>
        <pc:spChg chg="add del mod">
          <ac:chgData name="Kebba Jeng" userId="fe4cc296-ba7d-48a2-8799-89b58d218255" providerId="ADAL" clId="{388EFDEE-447E-42B4-98EF-30C01AB2E8CD}" dt="2022-03-28T17:57:00.220" v="2268"/>
          <ac:spMkLst>
            <pc:docMk/>
            <pc:sldMk cId="0" sldId="261"/>
            <ac:spMk id="1533" creationId="{E1B86668-A7FD-4DF7-A99B-CA2ADC7312AC}"/>
          </ac:spMkLst>
        </pc:spChg>
        <pc:spChg chg="add del mod">
          <ac:chgData name="Kebba Jeng" userId="fe4cc296-ba7d-48a2-8799-89b58d218255" providerId="ADAL" clId="{388EFDEE-447E-42B4-98EF-30C01AB2E8CD}" dt="2022-03-28T17:57:00.220" v="2268"/>
          <ac:spMkLst>
            <pc:docMk/>
            <pc:sldMk cId="0" sldId="261"/>
            <ac:spMk id="1534" creationId="{C383D7DB-3D93-497A-92B6-EA57B52C6408}"/>
          </ac:spMkLst>
        </pc:spChg>
        <pc:spChg chg="add del mod">
          <ac:chgData name="Kebba Jeng" userId="fe4cc296-ba7d-48a2-8799-89b58d218255" providerId="ADAL" clId="{388EFDEE-447E-42B4-98EF-30C01AB2E8CD}" dt="2022-03-28T17:57:00.220" v="2268"/>
          <ac:spMkLst>
            <pc:docMk/>
            <pc:sldMk cId="0" sldId="261"/>
            <ac:spMk id="1535" creationId="{32916FBC-622E-4F70-8DEE-B5A1BAAA2C9A}"/>
          </ac:spMkLst>
        </pc:spChg>
        <pc:spChg chg="add del mod">
          <ac:chgData name="Kebba Jeng" userId="fe4cc296-ba7d-48a2-8799-89b58d218255" providerId="ADAL" clId="{388EFDEE-447E-42B4-98EF-30C01AB2E8CD}" dt="2022-03-28T17:57:00.220" v="2268"/>
          <ac:spMkLst>
            <pc:docMk/>
            <pc:sldMk cId="0" sldId="261"/>
            <ac:spMk id="1536" creationId="{83A4D673-098C-476F-911E-46E02AA4FF70}"/>
          </ac:spMkLst>
        </pc:spChg>
        <pc:spChg chg="add del mod">
          <ac:chgData name="Kebba Jeng" userId="fe4cc296-ba7d-48a2-8799-89b58d218255" providerId="ADAL" clId="{388EFDEE-447E-42B4-98EF-30C01AB2E8CD}" dt="2022-03-28T17:57:00.220" v="2268"/>
          <ac:spMkLst>
            <pc:docMk/>
            <pc:sldMk cId="0" sldId="261"/>
            <ac:spMk id="1537" creationId="{248DA273-3A40-4DCE-9F9D-D76BFB8CE533}"/>
          </ac:spMkLst>
        </pc:spChg>
        <pc:spChg chg="add del mod">
          <ac:chgData name="Kebba Jeng" userId="fe4cc296-ba7d-48a2-8799-89b58d218255" providerId="ADAL" clId="{388EFDEE-447E-42B4-98EF-30C01AB2E8CD}" dt="2022-03-28T17:57:00.220" v="2268"/>
          <ac:spMkLst>
            <pc:docMk/>
            <pc:sldMk cId="0" sldId="261"/>
            <ac:spMk id="1538" creationId="{43BB0391-B123-4072-B86F-2A0928ADCFFC}"/>
          </ac:spMkLst>
        </pc:spChg>
        <pc:spChg chg="add del mod">
          <ac:chgData name="Kebba Jeng" userId="fe4cc296-ba7d-48a2-8799-89b58d218255" providerId="ADAL" clId="{388EFDEE-447E-42B4-98EF-30C01AB2E8CD}" dt="2022-03-28T17:57:00.220" v="2268"/>
          <ac:spMkLst>
            <pc:docMk/>
            <pc:sldMk cId="0" sldId="261"/>
            <ac:spMk id="1539" creationId="{09CB1408-F899-4C7B-87DB-489FB3FFE4AB}"/>
          </ac:spMkLst>
        </pc:spChg>
        <pc:spChg chg="add del mod">
          <ac:chgData name="Kebba Jeng" userId="fe4cc296-ba7d-48a2-8799-89b58d218255" providerId="ADAL" clId="{388EFDEE-447E-42B4-98EF-30C01AB2E8CD}" dt="2022-03-28T17:57:00.220" v="2268"/>
          <ac:spMkLst>
            <pc:docMk/>
            <pc:sldMk cId="0" sldId="261"/>
            <ac:spMk id="1540" creationId="{906280B8-E413-42B2-8402-FE9685D5E9E2}"/>
          </ac:spMkLst>
        </pc:spChg>
        <pc:spChg chg="add del mod">
          <ac:chgData name="Kebba Jeng" userId="fe4cc296-ba7d-48a2-8799-89b58d218255" providerId="ADAL" clId="{388EFDEE-447E-42B4-98EF-30C01AB2E8CD}" dt="2022-03-28T17:57:00.220" v="2268"/>
          <ac:spMkLst>
            <pc:docMk/>
            <pc:sldMk cId="0" sldId="261"/>
            <ac:spMk id="1541" creationId="{25ED8D1E-005B-4692-8AD6-707D18BF5593}"/>
          </ac:spMkLst>
        </pc:spChg>
        <pc:spChg chg="add del mod">
          <ac:chgData name="Kebba Jeng" userId="fe4cc296-ba7d-48a2-8799-89b58d218255" providerId="ADAL" clId="{388EFDEE-447E-42B4-98EF-30C01AB2E8CD}" dt="2022-03-28T17:57:00.220" v="2268"/>
          <ac:spMkLst>
            <pc:docMk/>
            <pc:sldMk cId="0" sldId="261"/>
            <ac:spMk id="1542" creationId="{EAFB5E24-1B93-4CBD-B83C-64B2E8A9B8D3}"/>
          </ac:spMkLst>
        </pc:spChg>
        <pc:spChg chg="add del mod">
          <ac:chgData name="Kebba Jeng" userId="fe4cc296-ba7d-48a2-8799-89b58d218255" providerId="ADAL" clId="{388EFDEE-447E-42B4-98EF-30C01AB2E8CD}" dt="2022-03-28T17:57:00.220" v="2268"/>
          <ac:spMkLst>
            <pc:docMk/>
            <pc:sldMk cId="0" sldId="261"/>
            <ac:spMk id="1543" creationId="{95A14A00-5790-4008-810A-CD85DC218D5A}"/>
          </ac:spMkLst>
        </pc:spChg>
        <pc:spChg chg="add del mod">
          <ac:chgData name="Kebba Jeng" userId="fe4cc296-ba7d-48a2-8799-89b58d218255" providerId="ADAL" clId="{388EFDEE-447E-42B4-98EF-30C01AB2E8CD}" dt="2022-03-28T17:57:00.220" v="2268"/>
          <ac:spMkLst>
            <pc:docMk/>
            <pc:sldMk cId="0" sldId="261"/>
            <ac:spMk id="1544" creationId="{216B5823-1EFB-4800-BB81-C506CB2FA17E}"/>
          </ac:spMkLst>
        </pc:spChg>
        <pc:spChg chg="add del mod">
          <ac:chgData name="Kebba Jeng" userId="fe4cc296-ba7d-48a2-8799-89b58d218255" providerId="ADAL" clId="{388EFDEE-447E-42B4-98EF-30C01AB2E8CD}" dt="2022-03-28T17:57:00.220" v="2268"/>
          <ac:spMkLst>
            <pc:docMk/>
            <pc:sldMk cId="0" sldId="261"/>
            <ac:spMk id="1545" creationId="{06DBBB07-EBFD-44C2-ACD5-590C24446FF3}"/>
          </ac:spMkLst>
        </pc:spChg>
        <pc:spChg chg="add del mod">
          <ac:chgData name="Kebba Jeng" userId="fe4cc296-ba7d-48a2-8799-89b58d218255" providerId="ADAL" clId="{388EFDEE-447E-42B4-98EF-30C01AB2E8CD}" dt="2022-03-28T17:57:00.220" v="2268"/>
          <ac:spMkLst>
            <pc:docMk/>
            <pc:sldMk cId="0" sldId="261"/>
            <ac:spMk id="1546" creationId="{3744D8EE-50AC-4A0C-A3CD-ED7BB90C3BFD}"/>
          </ac:spMkLst>
        </pc:spChg>
        <pc:spChg chg="add del mod">
          <ac:chgData name="Kebba Jeng" userId="fe4cc296-ba7d-48a2-8799-89b58d218255" providerId="ADAL" clId="{388EFDEE-447E-42B4-98EF-30C01AB2E8CD}" dt="2022-03-28T17:57:00.220" v="2268"/>
          <ac:spMkLst>
            <pc:docMk/>
            <pc:sldMk cId="0" sldId="261"/>
            <ac:spMk id="1547" creationId="{DABD8943-146F-4D49-8C79-F5049718B5BC}"/>
          </ac:spMkLst>
        </pc:spChg>
        <pc:spChg chg="add del mod">
          <ac:chgData name="Kebba Jeng" userId="fe4cc296-ba7d-48a2-8799-89b58d218255" providerId="ADAL" clId="{388EFDEE-447E-42B4-98EF-30C01AB2E8CD}" dt="2022-03-28T17:57:00.220" v="2268"/>
          <ac:spMkLst>
            <pc:docMk/>
            <pc:sldMk cId="0" sldId="261"/>
            <ac:spMk id="1548" creationId="{57B628DE-CF35-44C6-979E-E93A54BE7177}"/>
          </ac:spMkLst>
        </pc:spChg>
        <pc:spChg chg="add del mod">
          <ac:chgData name="Kebba Jeng" userId="fe4cc296-ba7d-48a2-8799-89b58d218255" providerId="ADAL" clId="{388EFDEE-447E-42B4-98EF-30C01AB2E8CD}" dt="2022-03-28T17:57:00.220" v="2268"/>
          <ac:spMkLst>
            <pc:docMk/>
            <pc:sldMk cId="0" sldId="261"/>
            <ac:spMk id="1549" creationId="{12EA0211-87B4-4182-A41B-09261023455E}"/>
          </ac:spMkLst>
        </pc:spChg>
        <pc:spChg chg="add del mod">
          <ac:chgData name="Kebba Jeng" userId="fe4cc296-ba7d-48a2-8799-89b58d218255" providerId="ADAL" clId="{388EFDEE-447E-42B4-98EF-30C01AB2E8CD}" dt="2022-03-28T17:57:00.220" v="2268"/>
          <ac:spMkLst>
            <pc:docMk/>
            <pc:sldMk cId="0" sldId="261"/>
            <ac:spMk id="1550" creationId="{790BE175-9B3B-4811-B5AF-6B13E00946E4}"/>
          </ac:spMkLst>
        </pc:spChg>
        <pc:spChg chg="add del mod">
          <ac:chgData name="Kebba Jeng" userId="fe4cc296-ba7d-48a2-8799-89b58d218255" providerId="ADAL" clId="{388EFDEE-447E-42B4-98EF-30C01AB2E8CD}" dt="2022-03-28T17:57:00.220" v="2268"/>
          <ac:spMkLst>
            <pc:docMk/>
            <pc:sldMk cId="0" sldId="261"/>
            <ac:spMk id="1551" creationId="{EA470F02-9807-4ED8-923F-4F6DEDFF9FAB}"/>
          </ac:spMkLst>
        </pc:spChg>
        <pc:spChg chg="add del mod">
          <ac:chgData name="Kebba Jeng" userId="fe4cc296-ba7d-48a2-8799-89b58d218255" providerId="ADAL" clId="{388EFDEE-447E-42B4-98EF-30C01AB2E8CD}" dt="2022-03-28T17:57:00.220" v="2268"/>
          <ac:spMkLst>
            <pc:docMk/>
            <pc:sldMk cId="0" sldId="261"/>
            <ac:spMk id="1552" creationId="{401C06DC-383A-489D-8337-F30016083461}"/>
          </ac:spMkLst>
        </pc:spChg>
        <pc:spChg chg="add del mod">
          <ac:chgData name="Kebba Jeng" userId="fe4cc296-ba7d-48a2-8799-89b58d218255" providerId="ADAL" clId="{388EFDEE-447E-42B4-98EF-30C01AB2E8CD}" dt="2022-03-28T17:57:00.220" v="2268"/>
          <ac:spMkLst>
            <pc:docMk/>
            <pc:sldMk cId="0" sldId="261"/>
            <ac:spMk id="1553" creationId="{88E90FCF-04A0-4D90-8DF1-5EB20A4FE0C9}"/>
          </ac:spMkLst>
        </pc:spChg>
        <pc:spChg chg="add del mod">
          <ac:chgData name="Kebba Jeng" userId="fe4cc296-ba7d-48a2-8799-89b58d218255" providerId="ADAL" clId="{388EFDEE-447E-42B4-98EF-30C01AB2E8CD}" dt="2022-03-28T17:57:00.220" v="2268"/>
          <ac:spMkLst>
            <pc:docMk/>
            <pc:sldMk cId="0" sldId="261"/>
            <ac:spMk id="1554" creationId="{FB500948-9C0A-42EB-B54E-ECA42F05A455}"/>
          </ac:spMkLst>
        </pc:spChg>
        <pc:spChg chg="add del mod">
          <ac:chgData name="Kebba Jeng" userId="fe4cc296-ba7d-48a2-8799-89b58d218255" providerId="ADAL" clId="{388EFDEE-447E-42B4-98EF-30C01AB2E8CD}" dt="2022-03-28T17:57:00.220" v="2268"/>
          <ac:spMkLst>
            <pc:docMk/>
            <pc:sldMk cId="0" sldId="261"/>
            <ac:spMk id="1555" creationId="{96534C6A-D88F-4122-9889-08EBFA27EE19}"/>
          </ac:spMkLst>
        </pc:spChg>
        <pc:spChg chg="add del mod">
          <ac:chgData name="Kebba Jeng" userId="fe4cc296-ba7d-48a2-8799-89b58d218255" providerId="ADAL" clId="{388EFDEE-447E-42B4-98EF-30C01AB2E8CD}" dt="2022-03-28T17:57:00.220" v="2268"/>
          <ac:spMkLst>
            <pc:docMk/>
            <pc:sldMk cId="0" sldId="261"/>
            <ac:spMk id="1556" creationId="{4E614D98-CA08-42D1-A814-E46BEC87BE2D}"/>
          </ac:spMkLst>
        </pc:spChg>
        <pc:spChg chg="add del mod">
          <ac:chgData name="Kebba Jeng" userId="fe4cc296-ba7d-48a2-8799-89b58d218255" providerId="ADAL" clId="{388EFDEE-447E-42B4-98EF-30C01AB2E8CD}" dt="2022-03-28T17:57:00.220" v="2268"/>
          <ac:spMkLst>
            <pc:docMk/>
            <pc:sldMk cId="0" sldId="261"/>
            <ac:spMk id="1557" creationId="{236415F6-5599-4679-8CB8-EA3DD92E87B3}"/>
          </ac:spMkLst>
        </pc:spChg>
        <pc:spChg chg="add del mod">
          <ac:chgData name="Kebba Jeng" userId="fe4cc296-ba7d-48a2-8799-89b58d218255" providerId="ADAL" clId="{388EFDEE-447E-42B4-98EF-30C01AB2E8CD}" dt="2022-03-28T17:57:00.220" v="2268"/>
          <ac:spMkLst>
            <pc:docMk/>
            <pc:sldMk cId="0" sldId="261"/>
            <ac:spMk id="1558" creationId="{1578A080-0D97-4DE3-B745-F50E43512A33}"/>
          </ac:spMkLst>
        </pc:spChg>
        <pc:spChg chg="add del mod">
          <ac:chgData name="Kebba Jeng" userId="fe4cc296-ba7d-48a2-8799-89b58d218255" providerId="ADAL" clId="{388EFDEE-447E-42B4-98EF-30C01AB2E8CD}" dt="2022-03-28T17:57:00.220" v="2268"/>
          <ac:spMkLst>
            <pc:docMk/>
            <pc:sldMk cId="0" sldId="261"/>
            <ac:spMk id="1559" creationId="{306D7283-13CF-4120-9B5A-C6052ABD8408}"/>
          </ac:spMkLst>
        </pc:spChg>
        <pc:spChg chg="add del mod">
          <ac:chgData name="Kebba Jeng" userId="fe4cc296-ba7d-48a2-8799-89b58d218255" providerId="ADAL" clId="{388EFDEE-447E-42B4-98EF-30C01AB2E8CD}" dt="2022-03-28T17:57:00.220" v="2268"/>
          <ac:spMkLst>
            <pc:docMk/>
            <pc:sldMk cId="0" sldId="261"/>
            <ac:spMk id="1560" creationId="{53928EF8-431D-4258-BE32-CB5253C83F4F}"/>
          </ac:spMkLst>
        </pc:spChg>
        <pc:spChg chg="add del mod">
          <ac:chgData name="Kebba Jeng" userId="fe4cc296-ba7d-48a2-8799-89b58d218255" providerId="ADAL" clId="{388EFDEE-447E-42B4-98EF-30C01AB2E8CD}" dt="2022-03-28T17:57:00.220" v="2268"/>
          <ac:spMkLst>
            <pc:docMk/>
            <pc:sldMk cId="0" sldId="261"/>
            <ac:spMk id="1561" creationId="{F0FDE9D5-CC2A-4BD9-A2E4-D8A281CC17E1}"/>
          </ac:spMkLst>
        </pc:spChg>
        <pc:spChg chg="add del mod">
          <ac:chgData name="Kebba Jeng" userId="fe4cc296-ba7d-48a2-8799-89b58d218255" providerId="ADAL" clId="{388EFDEE-447E-42B4-98EF-30C01AB2E8CD}" dt="2022-03-28T17:57:00.220" v="2268"/>
          <ac:spMkLst>
            <pc:docMk/>
            <pc:sldMk cId="0" sldId="261"/>
            <ac:spMk id="1562" creationId="{6B26E9D7-71A2-433A-A1D6-D066E96A8FD3}"/>
          </ac:spMkLst>
        </pc:spChg>
        <pc:spChg chg="add del mod">
          <ac:chgData name="Kebba Jeng" userId="fe4cc296-ba7d-48a2-8799-89b58d218255" providerId="ADAL" clId="{388EFDEE-447E-42B4-98EF-30C01AB2E8CD}" dt="2022-03-28T17:57:00.220" v="2268"/>
          <ac:spMkLst>
            <pc:docMk/>
            <pc:sldMk cId="0" sldId="261"/>
            <ac:spMk id="1563" creationId="{F726F7BA-70AB-4A23-B0D5-7F3CB2458E43}"/>
          </ac:spMkLst>
        </pc:spChg>
        <pc:spChg chg="add del mod">
          <ac:chgData name="Kebba Jeng" userId="fe4cc296-ba7d-48a2-8799-89b58d218255" providerId="ADAL" clId="{388EFDEE-447E-42B4-98EF-30C01AB2E8CD}" dt="2022-03-28T17:57:00.220" v="2268"/>
          <ac:spMkLst>
            <pc:docMk/>
            <pc:sldMk cId="0" sldId="261"/>
            <ac:spMk id="1564" creationId="{E3A506E7-D60A-49F5-93F7-55BC7174D139}"/>
          </ac:spMkLst>
        </pc:spChg>
        <pc:spChg chg="add del mod">
          <ac:chgData name="Kebba Jeng" userId="fe4cc296-ba7d-48a2-8799-89b58d218255" providerId="ADAL" clId="{388EFDEE-447E-42B4-98EF-30C01AB2E8CD}" dt="2022-03-28T17:57:00.220" v="2268"/>
          <ac:spMkLst>
            <pc:docMk/>
            <pc:sldMk cId="0" sldId="261"/>
            <ac:spMk id="1565" creationId="{2FCDEBD5-E977-4A23-82DE-65D62B7E957E}"/>
          </ac:spMkLst>
        </pc:spChg>
        <pc:spChg chg="add del mod">
          <ac:chgData name="Kebba Jeng" userId="fe4cc296-ba7d-48a2-8799-89b58d218255" providerId="ADAL" clId="{388EFDEE-447E-42B4-98EF-30C01AB2E8CD}" dt="2022-03-28T17:57:00.220" v="2268"/>
          <ac:spMkLst>
            <pc:docMk/>
            <pc:sldMk cId="0" sldId="261"/>
            <ac:spMk id="1566" creationId="{538C13EF-97A4-4E94-8732-C4F7172EBDB5}"/>
          </ac:spMkLst>
        </pc:spChg>
        <pc:spChg chg="add del mod">
          <ac:chgData name="Kebba Jeng" userId="fe4cc296-ba7d-48a2-8799-89b58d218255" providerId="ADAL" clId="{388EFDEE-447E-42B4-98EF-30C01AB2E8CD}" dt="2022-03-28T17:57:00.220" v="2268"/>
          <ac:spMkLst>
            <pc:docMk/>
            <pc:sldMk cId="0" sldId="261"/>
            <ac:spMk id="1567" creationId="{849FDDBF-EF0C-4B68-9FCC-8422EFB46AF6}"/>
          </ac:spMkLst>
        </pc:spChg>
        <pc:spChg chg="add del mod">
          <ac:chgData name="Kebba Jeng" userId="fe4cc296-ba7d-48a2-8799-89b58d218255" providerId="ADAL" clId="{388EFDEE-447E-42B4-98EF-30C01AB2E8CD}" dt="2022-03-28T17:57:00.220" v="2268"/>
          <ac:spMkLst>
            <pc:docMk/>
            <pc:sldMk cId="0" sldId="261"/>
            <ac:spMk id="1568" creationId="{D120FD60-2B4C-4D2E-818A-2614EB0469C5}"/>
          </ac:spMkLst>
        </pc:spChg>
        <pc:spChg chg="add del mod">
          <ac:chgData name="Kebba Jeng" userId="fe4cc296-ba7d-48a2-8799-89b58d218255" providerId="ADAL" clId="{388EFDEE-447E-42B4-98EF-30C01AB2E8CD}" dt="2022-03-28T17:57:00.220" v="2268"/>
          <ac:spMkLst>
            <pc:docMk/>
            <pc:sldMk cId="0" sldId="261"/>
            <ac:spMk id="1569" creationId="{C354F901-4340-4480-A471-08045A47CA47}"/>
          </ac:spMkLst>
        </pc:spChg>
        <pc:spChg chg="add del mod">
          <ac:chgData name="Kebba Jeng" userId="fe4cc296-ba7d-48a2-8799-89b58d218255" providerId="ADAL" clId="{388EFDEE-447E-42B4-98EF-30C01AB2E8CD}" dt="2022-03-28T17:57:00.220" v="2268"/>
          <ac:spMkLst>
            <pc:docMk/>
            <pc:sldMk cId="0" sldId="261"/>
            <ac:spMk id="1570" creationId="{CF63404A-FE16-4660-AD44-8952BEA1F74E}"/>
          </ac:spMkLst>
        </pc:spChg>
        <pc:spChg chg="add del mod">
          <ac:chgData name="Kebba Jeng" userId="fe4cc296-ba7d-48a2-8799-89b58d218255" providerId="ADAL" clId="{388EFDEE-447E-42B4-98EF-30C01AB2E8CD}" dt="2022-03-28T17:57:00.220" v="2268"/>
          <ac:spMkLst>
            <pc:docMk/>
            <pc:sldMk cId="0" sldId="261"/>
            <ac:spMk id="1571" creationId="{6BB10A3C-317A-4DAE-9F5D-57EDD690DF4D}"/>
          </ac:spMkLst>
        </pc:spChg>
        <pc:spChg chg="add del mod">
          <ac:chgData name="Kebba Jeng" userId="fe4cc296-ba7d-48a2-8799-89b58d218255" providerId="ADAL" clId="{388EFDEE-447E-42B4-98EF-30C01AB2E8CD}" dt="2022-03-28T17:57:00.220" v="2268"/>
          <ac:spMkLst>
            <pc:docMk/>
            <pc:sldMk cId="0" sldId="261"/>
            <ac:spMk id="1572" creationId="{530B3C88-E038-485D-BD94-7E36C24601AB}"/>
          </ac:spMkLst>
        </pc:spChg>
        <pc:spChg chg="add del mod">
          <ac:chgData name="Kebba Jeng" userId="fe4cc296-ba7d-48a2-8799-89b58d218255" providerId="ADAL" clId="{388EFDEE-447E-42B4-98EF-30C01AB2E8CD}" dt="2022-03-28T17:57:00.220" v="2268"/>
          <ac:spMkLst>
            <pc:docMk/>
            <pc:sldMk cId="0" sldId="261"/>
            <ac:spMk id="1573" creationId="{1B5A71CA-6D30-4654-8F79-A83BAA687069}"/>
          </ac:spMkLst>
        </pc:spChg>
        <pc:spChg chg="add del mod">
          <ac:chgData name="Kebba Jeng" userId="fe4cc296-ba7d-48a2-8799-89b58d218255" providerId="ADAL" clId="{388EFDEE-447E-42B4-98EF-30C01AB2E8CD}" dt="2022-03-28T17:57:00.220" v="2268"/>
          <ac:spMkLst>
            <pc:docMk/>
            <pc:sldMk cId="0" sldId="261"/>
            <ac:spMk id="1574" creationId="{D5F31717-5311-4D57-BC04-47AE634E400F}"/>
          </ac:spMkLst>
        </pc:spChg>
        <pc:spChg chg="add del mod">
          <ac:chgData name="Kebba Jeng" userId="fe4cc296-ba7d-48a2-8799-89b58d218255" providerId="ADAL" clId="{388EFDEE-447E-42B4-98EF-30C01AB2E8CD}" dt="2022-03-28T17:57:00.220" v="2268"/>
          <ac:spMkLst>
            <pc:docMk/>
            <pc:sldMk cId="0" sldId="261"/>
            <ac:spMk id="1575" creationId="{3962F0A5-9948-49A5-954F-3A91782CC75B}"/>
          </ac:spMkLst>
        </pc:spChg>
        <pc:spChg chg="add del mod">
          <ac:chgData name="Kebba Jeng" userId="fe4cc296-ba7d-48a2-8799-89b58d218255" providerId="ADAL" clId="{388EFDEE-447E-42B4-98EF-30C01AB2E8CD}" dt="2022-03-28T17:57:00.220" v="2268"/>
          <ac:spMkLst>
            <pc:docMk/>
            <pc:sldMk cId="0" sldId="261"/>
            <ac:spMk id="1576" creationId="{0056A71C-7928-42A4-8C59-AAD047EC2CFB}"/>
          </ac:spMkLst>
        </pc:spChg>
        <pc:spChg chg="add del mod">
          <ac:chgData name="Kebba Jeng" userId="fe4cc296-ba7d-48a2-8799-89b58d218255" providerId="ADAL" clId="{388EFDEE-447E-42B4-98EF-30C01AB2E8CD}" dt="2022-03-28T17:57:00.220" v="2268"/>
          <ac:spMkLst>
            <pc:docMk/>
            <pc:sldMk cId="0" sldId="261"/>
            <ac:spMk id="1577" creationId="{DB7063BE-433B-4735-AEF1-67A2027E8FE5}"/>
          </ac:spMkLst>
        </pc:spChg>
        <pc:spChg chg="add del mod">
          <ac:chgData name="Kebba Jeng" userId="fe4cc296-ba7d-48a2-8799-89b58d218255" providerId="ADAL" clId="{388EFDEE-447E-42B4-98EF-30C01AB2E8CD}" dt="2022-03-28T17:57:00.220" v="2268"/>
          <ac:spMkLst>
            <pc:docMk/>
            <pc:sldMk cId="0" sldId="261"/>
            <ac:spMk id="1578" creationId="{29693CF7-A4E9-4A16-88F5-E2BD9239285F}"/>
          </ac:spMkLst>
        </pc:spChg>
        <pc:spChg chg="add del mod">
          <ac:chgData name="Kebba Jeng" userId="fe4cc296-ba7d-48a2-8799-89b58d218255" providerId="ADAL" clId="{388EFDEE-447E-42B4-98EF-30C01AB2E8CD}" dt="2022-03-28T17:57:00.220" v="2268"/>
          <ac:spMkLst>
            <pc:docMk/>
            <pc:sldMk cId="0" sldId="261"/>
            <ac:spMk id="1579" creationId="{28DBF3D8-684C-44A7-AAFB-4E67F3552BCE}"/>
          </ac:spMkLst>
        </pc:spChg>
        <pc:spChg chg="add del mod">
          <ac:chgData name="Kebba Jeng" userId="fe4cc296-ba7d-48a2-8799-89b58d218255" providerId="ADAL" clId="{388EFDEE-447E-42B4-98EF-30C01AB2E8CD}" dt="2022-03-28T17:57:00.220" v="2268"/>
          <ac:spMkLst>
            <pc:docMk/>
            <pc:sldMk cId="0" sldId="261"/>
            <ac:spMk id="1580" creationId="{0E81F433-E6F0-4C20-8A37-491C162EDF69}"/>
          </ac:spMkLst>
        </pc:spChg>
        <pc:spChg chg="add del mod">
          <ac:chgData name="Kebba Jeng" userId="fe4cc296-ba7d-48a2-8799-89b58d218255" providerId="ADAL" clId="{388EFDEE-447E-42B4-98EF-30C01AB2E8CD}" dt="2022-03-28T17:57:00.220" v="2268"/>
          <ac:spMkLst>
            <pc:docMk/>
            <pc:sldMk cId="0" sldId="261"/>
            <ac:spMk id="1581" creationId="{BB4E3827-B6A9-4D1D-B21E-EFDCD68A7DA7}"/>
          </ac:spMkLst>
        </pc:spChg>
        <pc:spChg chg="add del mod">
          <ac:chgData name="Kebba Jeng" userId="fe4cc296-ba7d-48a2-8799-89b58d218255" providerId="ADAL" clId="{388EFDEE-447E-42B4-98EF-30C01AB2E8CD}" dt="2022-03-28T17:57:00.220" v="2268"/>
          <ac:spMkLst>
            <pc:docMk/>
            <pc:sldMk cId="0" sldId="261"/>
            <ac:spMk id="1582" creationId="{945F8664-54DF-4DD2-B19A-B06E14487DD4}"/>
          </ac:spMkLst>
        </pc:spChg>
        <pc:spChg chg="add del mod">
          <ac:chgData name="Kebba Jeng" userId="fe4cc296-ba7d-48a2-8799-89b58d218255" providerId="ADAL" clId="{388EFDEE-447E-42B4-98EF-30C01AB2E8CD}" dt="2022-03-28T17:57:00.220" v="2268"/>
          <ac:spMkLst>
            <pc:docMk/>
            <pc:sldMk cId="0" sldId="261"/>
            <ac:spMk id="1583" creationId="{7A8C1E18-968D-4D9C-9F97-F772247F6B6F}"/>
          </ac:spMkLst>
        </pc:spChg>
        <pc:spChg chg="add del mod">
          <ac:chgData name="Kebba Jeng" userId="fe4cc296-ba7d-48a2-8799-89b58d218255" providerId="ADAL" clId="{388EFDEE-447E-42B4-98EF-30C01AB2E8CD}" dt="2022-03-28T17:57:00.220" v="2268"/>
          <ac:spMkLst>
            <pc:docMk/>
            <pc:sldMk cId="0" sldId="261"/>
            <ac:spMk id="1584" creationId="{96E30545-1FDD-48F2-BE81-FEA983E0CE78}"/>
          </ac:spMkLst>
        </pc:spChg>
        <pc:spChg chg="add del mod">
          <ac:chgData name="Kebba Jeng" userId="fe4cc296-ba7d-48a2-8799-89b58d218255" providerId="ADAL" clId="{388EFDEE-447E-42B4-98EF-30C01AB2E8CD}" dt="2022-03-28T17:57:00.220" v="2268"/>
          <ac:spMkLst>
            <pc:docMk/>
            <pc:sldMk cId="0" sldId="261"/>
            <ac:spMk id="1585" creationId="{2FE399E6-5BCE-4AEC-A306-BB4BAA3C8451}"/>
          </ac:spMkLst>
        </pc:spChg>
        <pc:spChg chg="add del mod">
          <ac:chgData name="Kebba Jeng" userId="fe4cc296-ba7d-48a2-8799-89b58d218255" providerId="ADAL" clId="{388EFDEE-447E-42B4-98EF-30C01AB2E8CD}" dt="2022-03-28T17:57:00.220" v="2268"/>
          <ac:spMkLst>
            <pc:docMk/>
            <pc:sldMk cId="0" sldId="261"/>
            <ac:spMk id="1586" creationId="{3863F5CD-962D-4749-A273-0C7EC460FCD5}"/>
          </ac:spMkLst>
        </pc:spChg>
        <pc:spChg chg="add del mod">
          <ac:chgData name="Kebba Jeng" userId="fe4cc296-ba7d-48a2-8799-89b58d218255" providerId="ADAL" clId="{388EFDEE-447E-42B4-98EF-30C01AB2E8CD}" dt="2022-03-28T17:57:00.220" v="2268"/>
          <ac:spMkLst>
            <pc:docMk/>
            <pc:sldMk cId="0" sldId="261"/>
            <ac:spMk id="1587" creationId="{210D0608-77E9-449A-BCEF-94C8F06047B8}"/>
          </ac:spMkLst>
        </pc:spChg>
        <pc:spChg chg="add del mod">
          <ac:chgData name="Kebba Jeng" userId="fe4cc296-ba7d-48a2-8799-89b58d218255" providerId="ADAL" clId="{388EFDEE-447E-42B4-98EF-30C01AB2E8CD}" dt="2022-03-28T17:57:00.220" v="2268"/>
          <ac:spMkLst>
            <pc:docMk/>
            <pc:sldMk cId="0" sldId="261"/>
            <ac:spMk id="1588" creationId="{A5472E47-AAD9-4C7A-84A7-E53EE84E1CFA}"/>
          </ac:spMkLst>
        </pc:spChg>
        <pc:spChg chg="add del mod">
          <ac:chgData name="Kebba Jeng" userId="fe4cc296-ba7d-48a2-8799-89b58d218255" providerId="ADAL" clId="{388EFDEE-447E-42B4-98EF-30C01AB2E8CD}" dt="2022-03-28T17:57:00.220" v="2268"/>
          <ac:spMkLst>
            <pc:docMk/>
            <pc:sldMk cId="0" sldId="261"/>
            <ac:spMk id="1589" creationId="{7564F6F7-AF8E-4DEF-BE7A-D253B81AA039}"/>
          </ac:spMkLst>
        </pc:spChg>
        <pc:spChg chg="add del mod">
          <ac:chgData name="Kebba Jeng" userId="fe4cc296-ba7d-48a2-8799-89b58d218255" providerId="ADAL" clId="{388EFDEE-447E-42B4-98EF-30C01AB2E8CD}" dt="2022-03-28T17:57:00.220" v="2268"/>
          <ac:spMkLst>
            <pc:docMk/>
            <pc:sldMk cId="0" sldId="261"/>
            <ac:spMk id="1590" creationId="{09AF27F6-1D45-42A9-9C8D-7ADD0DC4E94B}"/>
          </ac:spMkLst>
        </pc:spChg>
        <pc:spChg chg="add del mod">
          <ac:chgData name="Kebba Jeng" userId="fe4cc296-ba7d-48a2-8799-89b58d218255" providerId="ADAL" clId="{388EFDEE-447E-42B4-98EF-30C01AB2E8CD}" dt="2022-03-28T17:57:00.220" v="2268"/>
          <ac:spMkLst>
            <pc:docMk/>
            <pc:sldMk cId="0" sldId="261"/>
            <ac:spMk id="1591" creationId="{61A49D87-F369-4768-9D6E-7BF9A9E53D02}"/>
          </ac:spMkLst>
        </pc:spChg>
        <pc:spChg chg="add del mod">
          <ac:chgData name="Kebba Jeng" userId="fe4cc296-ba7d-48a2-8799-89b58d218255" providerId="ADAL" clId="{388EFDEE-447E-42B4-98EF-30C01AB2E8CD}" dt="2022-03-28T17:57:00.220" v="2268"/>
          <ac:spMkLst>
            <pc:docMk/>
            <pc:sldMk cId="0" sldId="261"/>
            <ac:spMk id="1592" creationId="{2BF4113B-691F-4CD7-A666-E452E68E35D0}"/>
          </ac:spMkLst>
        </pc:spChg>
        <pc:spChg chg="add del mod">
          <ac:chgData name="Kebba Jeng" userId="fe4cc296-ba7d-48a2-8799-89b58d218255" providerId="ADAL" clId="{388EFDEE-447E-42B4-98EF-30C01AB2E8CD}" dt="2022-03-28T17:57:00.220" v="2268"/>
          <ac:spMkLst>
            <pc:docMk/>
            <pc:sldMk cId="0" sldId="261"/>
            <ac:spMk id="1593" creationId="{D32D9025-2BD9-4D9F-B276-9473D2D5FD1B}"/>
          </ac:spMkLst>
        </pc:spChg>
        <pc:spChg chg="add del mod">
          <ac:chgData name="Kebba Jeng" userId="fe4cc296-ba7d-48a2-8799-89b58d218255" providerId="ADAL" clId="{388EFDEE-447E-42B4-98EF-30C01AB2E8CD}" dt="2022-03-28T17:57:00.220" v="2268"/>
          <ac:spMkLst>
            <pc:docMk/>
            <pc:sldMk cId="0" sldId="261"/>
            <ac:spMk id="1594" creationId="{BA1531D7-5413-4BEE-A23F-555DE83C1020}"/>
          </ac:spMkLst>
        </pc:spChg>
        <pc:spChg chg="add del mod">
          <ac:chgData name="Kebba Jeng" userId="fe4cc296-ba7d-48a2-8799-89b58d218255" providerId="ADAL" clId="{388EFDEE-447E-42B4-98EF-30C01AB2E8CD}" dt="2022-03-28T17:57:00.220" v="2268"/>
          <ac:spMkLst>
            <pc:docMk/>
            <pc:sldMk cId="0" sldId="261"/>
            <ac:spMk id="1595" creationId="{655657E7-BC68-4C5D-ABD2-B650CAD8AC36}"/>
          </ac:spMkLst>
        </pc:spChg>
        <pc:spChg chg="add del mod">
          <ac:chgData name="Kebba Jeng" userId="fe4cc296-ba7d-48a2-8799-89b58d218255" providerId="ADAL" clId="{388EFDEE-447E-42B4-98EF-30C01AB2E8CD}" dt="2022-03-28T17:57:00.220" v="2268"/>
          <ac:spMkLst>
            <pc:docMk/>
            <pc:sldMk cId="0" sldId="261"/>
            <ac:spMk id="1596" creationId="{FAE8DDD6-FF27-4129-914A-8CE54444A63C}"/>
          </ac:spMkLst>
        </pc:spChg>
        <pc:spChg chg="add del mod">
          <ac:chgData name="Kebba Jeng" userId="fe4cc296-ba7d-48a2-8799-89b58d218255" providerId="ADAL" clId="{388EFDEE-447E-42B4-98EF-30C01AB2E8CD}" dt="2022-03-28T17:57:00.220" v="2268"/>
          <ac:spMkLst>
            <pc:docMk/>
            <pc:sldMk cId="0" sldId="261"/>
            <ac:spMk id="1597" creationId="{99E50D4E-F288-45DE-A073-9A07546A72E0}"/>
          </ac:spMkLst>
        </pc:spChg>
        <pc:spChg chg="add del mod">
          <ac:chgData name="Kebba Jeng" userId="fe4cc296-ba7d-48a2-8799-89b58d218255" providerId="ADAL" clId="{388EFDEE-447E-42B4-98EF-30C01AB2E8CD}" dt="2022-03-28T17:57:00.220" v="2268"/>
          <ac:spMkLst>
            <pc:docMk/>
            <pc:sldMk cId="0" sldId="261"/>
            <ac:spMk id="1598" creationId="{8827D97A-0F7B-40D9-919C-53B2D0FE9156}"/>
          </ac:spMkLst>
        </pc:spChg>
        <pc:spChg chg="add del mod">
          <ac:chgData name="Kebba Jeng" userId="fe4cc296-ba7d-48a2-8799-89b58d218255" providerId="ADAL" clId="{388EFDEE-447E-42B4-98EF-30C01AB2E8CD}" dt="2022-03-28T17:57:00.220" v="2268"/>
          <ac:spMkLst>
            <pc:docMk/>
            <pc:sldMk cId="0" sldId="261"/>
            <ac:spMk id="1599" creationId="{7260238F-1857-4854-B0BC-D223D98750F8}"/>
          </ac:spMkLst>
        </pc:spChg>
        <pc:spChg chg="add del mod">
          <ac:chgData name="Kebba Jeng" userId="fe4cc296-ba7d-48a2-8799-89b58d218255" providerId="ADAL" clId="{388EFDEE-447E-42B4-98EF-30C01AB2E8CD}" dt="2022-03-28T17:57:00.220" v="2268"/>
          <ac:spMkLst>
            <pc:docMk/>
            <pc:sldMk cId="0" sldId="261"/>
            <ac:spMk id="1600" creationId="{C225D80A-A9AE-4CDD-A393-F43576834AB0}"/>
          </ac:spMkLst>
        </pc:spChg>
        <pc:spChg chg="add del mod">
          <ac:chgData name="Kebba Jeng" userId="fe4cc296-ba7d-48a2-8799-89b58d218255" providerId="ADAL" clId="{388EFDEE-447E-42B4-98EF-30C01AB2E8CD}" dt="2022-03-28T17:57:00.220" v="2268"/>
          <ac:spMkLst>
            <pc:docMk/>
            <pc:sldMk cId="0" sldId="261"/>
            <ac:spMk id="1601" creationId="{925ECEA6-E03A-4E1A-A3AD-3D64766EF0C8}"/>
          </ac:spMkLst>
        </pc:spChg>
        <pc:spChg chg="add del mod">
          <ac:chgData name="Kebba Jeng" userId="fe4cc296-ba7d-48a2-8799-89b58d218255" providerId="ADAL" clId="{388EFDEE-447E-42B4-98EF-30C01AB2E8CD}" dt="2022-03-28T17:57:00.220" v="2268"/>
          <ac:spMkLst>
            <pc:docMk/>
            <pc:sldMk cId="0" sldId="261"/>
            <ac:spMk id="1602" creationId="{66214932-94C3-483C-9926-E29015F0F37F}"/>
          </ac:spMkLst>
        </pc:spChg>
        <pc:spChg chg="add del mod">
          <ac:chgData name="Kebba Jeng" userId="fe4cc296-ba7d-48a2-8799-89b58d218255" providerId="ADAL" clId="{388EFDEE-447E-42B4-98EF-30C01AB2E8CD}" dt="2022-03-28T17:57:00.220" v="2268"/>
          <ac:spMkLst>
            <pc:docMk/>
            <pc:sldMk cId="0" sldId="261"/>
            <ac:spMk id="1603" creationId="{3FABC9E7-A763-4CF3-856E-3F4C6E8F22C8}"/>
          </ac:spMkLst>
        </pc:spChg>
        <pc:spChg chg="add del mod">
          <ac:chgData name="Kebba Jeng" userId="fe4cc296-ba7d-48a2-8799-89b58d218255" providerId="ADAL" clId="{388EFDEE-447E-42B4-98EF-30C01AB2E8CD}" dt="2022-03-28T17:57:00.220" v="2268"/>
          <ac:spMkLst>
            <pc:docMk/>
            <pc:sldMk cId="0" sldId="261"/>
            <ac:spMk id="1604" creationId="{35F373B5-E6C2-4A8F-A036-3685E5BDD407}"/>
          </ac:spMkLst>
        </pc:spChg>
        <pc:spChg chg="add del mod">
          <ac:chgData name="Kebba Jeng" userId="fe4cc296-ba7d-48a2-8799-89b58d218255" providerId="ADAL" clId="{388EFDEE-447E-42B4-98EF-30C01AB2E8CD}" dt="2022-03-28T17:57:00.220" v="2268"/>
          <ac:spMkLst>
            <pc:docMk/>
            <pc:sldMk cId="0" sldId="261"/>
            <ac:spMk id="1605" creationId="{EF3E7B2F-0BF1-43D5-86C5-6E26AB1854CE}"/>
          </ac:spMkLst>
        </pc:spChg>
        <pc:spChg chg="add del mod">
          <ac:chgData name="Kebba Jeng" userId="fe4cc296-ba7d-48a2-8799-89b58d218255" providerId="ADAL" clId="{388EFDEE-447E-42B4-98EF-30C01AB2E8CD}" dt="2022-03-28T17:57:00.220" v="2268"/>
          <ac:spMkLst>
            <pc:docMk/>
            <pc:sldMk cId="0" sldId="261"/>
            <ac:spMk id="1606" creationId="{86C1874D-AE92-4F7C-8AEB-D5D299C7C69C}"/>
          </ac:spMkLst>
        </pc:spChg>
        <pc:spChg chg="add del mod">
          <ac:chgData name="Kebba Jeng" userId="fe4cc296-ba7d-48a2-8799-89b58d218255" providerId="ADAL" clId="{388EFDEE-447E-42B4-98EF-30C01AB2E8CD}" dt="2022-03-28T17:57:00.220" v="2268"/>
          <ac:spMkLst>
            <pc:docMk/>
            <pc:sldMk cId="0" sldId="261"/>
            <ac:spMk id="1607" creationId="{6B3FADA8-BD14-4EAF-9F24-B78FABC66046}"/>
          </ac:spMkLst>
        </pc:spChg>
        <pc:spChg chg="add del mod">
          <ac:chgData name="Kebba Jeng" userId="fe4cc296-ba7d-48a2-8799-89b58d218255" providerId="ADAL" clId="{388EFDEE-447E-42B4-98EF-30C01AB2E8CD}" dt="2022-03-28T17:57:00.220" v="2268"/>
          <ac:spMkLst>
            <pc:docMk/>
            <pc:sldMk cId="0" sldId="261"/>
            <ac:spMk id="1608" creationId="{9666B579-AD4C-40D9-9A3A-6F76C1FA71AE}"/>
          </ac:spMkLst>
        </pc:spChg>
        <pc:spChg chg="add del mod">
          <ac:chgData name="Kebba Jeng" userId="fe4cc296-ba7d-48a2-8799-89b58d218255" providerId="ADAL" clId="{388EFDEE-447E-42B4-98EF-30C01AB2E8CD}" dt="2022-03-28T17:57:00.220" v="2268"/>
          <ac:spMkLst>
            <pc:docMk/>
            <pc:sldMk cId="0" sldId="261"/>
            <ac:spMk id="1609" creationId="{061A1D4D-EE9D-4BB5-ABC1-5CE2C8A322E6}"/>
          </ac:spMkLst>
        </pc:spChg>
        <pc:spChg chg="add del mod">
          <ac:chgData name="Kebba Jeng" userId="fe4cc296-ba7d-48a2-8799-89b58d218255" providerId="ADAL" clId="{388EFDEE-447E-42B4-98EF-30C01AB2E8CD}" dt="2022-03-28T17:57:00.220" v="2268"/>
          <ac:spMkLst>
            <pc:docMk/>
            <pc:sldMk cId="0" sldId="261"/>
            <ac:spMk id="1610" creationId="{A4F00835-60A2-40D8-AAE8-59637C11B2E8}"/>
          </ac:spMkLst>
        </pc:spChg>
        <pc:spChg chg="add del mod">
          <ac:chgData name="Kebba Jeng" userId="fe4cc296-ba7d-48a2-8799-89b58d218255" providerId="ADAL" clId="{388EFDEE-447E-42B4-98EF-30C01AB2E8CD}" dt="2022-03-28T17:57:00.220" v="2268"/>
          <ac:spMkLst>
            <pc:docMk/>
            <pc:sldMk cId="0" sldId="261"/>
            <ac:spMk id="1611" creationId="{CACAF29C-2723-4598-B0DA-D679A6D2B5BE}"/>
          </ac:spMkLst>
        </pc:spChg>
        <pc:spChg chg="add del mod">
          <ac:chgData name="Kebba Jeng" userId="fe4cc296-ba7d-48a2-8799-89b58d218255" providerId="ADAL" clId="{388EFDEE-447E-42B4-98EF-30C01AB2E8CD}" dt="2022-03-28T17:57:00.220" v="2268"/>
          <ac:spMkLst>
            <pc:docMk/>
            <pc:sldMk cId="0" sldId="261"/>
            <ac:spMk id="1612" creationId="{7D998018-143E-4A20-A159-0D19057BDF02}"/>
          </ac:spMkLst>
        </pc:spChg>
        <pc:spChg chg="add del mod">
          <ac:chgData name="Kebba Jeng" userId="fe4cc296-ba7d-48a2-8799-89b58d218255" providerId="ADAL" clId="{388EFDEE-447E-42B4-98EF-30C01AB2E8CD}" dt="2022-03-28T17:57:00.220" v="2268"/>
          <ac:spMkLst>
            <pc:docMk/>
            <pc:sldMk cId="0" sldId="261"/>
            <ac:spMk id="1613" creationId="{96C7C87A-C0B9-4412-9CAC-D7DD39B91C56}"/>
          </ac:spMkLst>
        </pc:spChg>
        <pc:spChg chg="add del mod">
          <ac:chgData name="Kebba Jeng" userId="fe4cc296-ba7d-48a2-8799-89b58d218255" providerId="ADAL" clId="{388EFDEE-447E-42B4-98EF-30C01AB2E8CD}" dt="2022-03-28T17:57:00.220" v="2268"/>
          <ac:spMkLst>
            <pc:docMk/>
            <pc:sldMk cId="0" sldId="261"/>
            <ac:spMk id="1614" creationId="{36E3DCC0-9736-4231-9F5E-4B1E597A5894}"/>
          </ac:spMkLst>
        </pc:spChg>
        <pc:spChg chg="add del mod">
          <ac:chgData name="Kebba Jeng" userId="fe4cc296-ba7d-48a2-8799-89b58d218255" providerId="ADAL" clId="{388EFDEE-447E-42B4-98EF-30C01AB2E8CD}" dt="2022-03-28T17:57:00.220" v="2268"/>
          <ac:spMkLst>
            <pc:docMk/>
            <pc:sldMk cId="0" sldId="261"/>
            <ac:spMk id="1615" creationId="{9831D031-D2C1-49D6-B03F-7E1F033CBC6C}"/>
          </ac:spMkLst>
        </pc:spChg>
        <pc:spChg chg="add del mod">
          <ac:chgData name="Kebba Jeng" userId="fe4cc296-ba7d-48a2-8799-89b58d218255" providerId="ADAL" clId="{388EFDEE-447E-42B4-98EF-30C01AB2E8CD}" dt="2022-03-28T17:57:00.220" v="2268"/>
          <ac:spMkLst>
            <pc:docMk/>
            <pc:sldMk cId="0" sldId="261"/>
            <ac:spMk id="1616" creationId="{03D0F97F-6B71-45CF-8EA6-690C855CE1C6}"/>
          </ac:spMkLst>
        </pc:spChg>
        <pc:spChg chg="add del mod">
          <ac:chgData name="Kebba Jeng" userId="fe4cc296-ba7d-48a2-8799-89b58d218255" providerId="ADAL" clId="{388EFDEE-447E-42B4-98EF-30C01AB2E8CD}" dt="2022-03-28T17:57:00.220" v="2268"/>
          <ac:spMkLst>
            <pc:docMk/>
            <pc:sldMk cId="0" sldId="261"/>
            <ac:spMk id="1617" creationId="{2DB96028-4E1B-4214-8EBE-6D0EEE4FF6EB}"/>
          </ac:spMkLst>
        </pc:spChg>
        <pc:spChg chg="add del mod">
          <ac:chgData name="Kebba Jeng" userId="fe4cc296-ba7d-48a2-8799-89b58d218255" providerId="ADAL" clId="{388EFDEE-447E-42B4-98EF-30C01AB2E8CD}" dt="2022-03-28T17:57:00.220" v="2268"/>
          <ac:spMkLst>
            <pc:docMk/>
            <pc:sldMk cId="0" sldId="261"/>
            <ac:spMk id="1618" creationId="{185F9F7A-2849-4A85-9575-0039F9108630}"/>
          </ac:spMkLst>
        </pc:spChg>
        <pc:spChg chg="add del mod">
          <ac:chgData name="Kebba Jeng" userId="fe4cc296-ba7d-48a2-8799-89b58d218255" providerId="ADAL" clId="{388EFDEE-447E-42B4-98EF-30C01AB2E8CD}" dt="2022-03-28T17:57:00.220" v="2268"/>
          <ac:spMkLst>
            <pc:docMk/>
            <pc:sldMk cId="0" sldId="261"/>
            <ac:spMk id="1619" creationId="{3EFF854A-EDEE-4FDC-81B3-DECBF9BA9946}"/>
          </ac:spMkLst>
        </pc:spChg>
        <pc:spChg chg="add del mod">
          <ac:chgData name="Kebba Jeng" userId="fe4cc296-ba7d-48a2-8799-89b58d218255" providerId="ADAL" clId="{388EFDEE-447E-42B4-98EF-30C01AB2E8CD}" dt="2022-03-28T17:57:00.220" v="2268"/>
          <ac:spMkLst>
            <pc:docMk/>
            <pc:sldMk cId="0" sldId="261"/>
            <ac:spMk id="1620" creationId="{FFDD8CDD-B342-4E72-A74E-059C1C8DA0C3}"/>
          </ac:spMkLst>
        </pc:spChg>
        <pc:spChg chg="add del mod">
          <ac:chgData name="Kebba Jeng" userId="fe4cc296-ba7d-48a2-8799-89b58d218255" providerId="ADAL" clId="{388EFDEE-447E-42B4-98EF-30C01AB2E8CD}" dt="2022-03-28T17:57:00.220" v="2268"/>
          <ac:spMkLst>
            <pc:docMk/>
            <pc:sldMk cId="0" sldId="261"/>
            <ac:spMk id="1621" creationId="{D426C0A4-7B28-4567-9E05-8A290DC0B19F}"/>
          </ac:spMkLst>
        </pc:spChg>
        <pc:spChg chg="add del mod">
          <ac:chgData name="Kebba Jeng" userId="fe4cc296-ba7d-48a2-8799-89b58d218255" providerId="ADAL" clId="{388EFDEE-447E-42B4-98EF-30C01AB2E8CD}" dt="2022-03-28T17:57:00.220" v="2268"/>
          <ac:spMkLst>
            <pc:docMk/>
            <pc:sldMk cId="0" sldId="261"/>
            <ac:spMk id="1622" creationId="{5C3C69CE-98A0-4A13-A0E4-C1CA335BFD9E}"/>
          </ac:spMkLst>
        </pc:spChg>
        <pc:spChg chg="add del mod">
          <ac:chgData name="Kebba Jeng" userId="fe4cc296-ba7d-48a2-8799-89b58d218255" providerId="ADAL" clId="{388EFDEE-447E-42B4-98EF-30C01AB2E8CD}" dt="2022-03-28T17:57:00.220" v="2268"/>
          <ac:spMkLst>
            <pc:docMk/>
            <pc:sldMk cId="0" sldId="261"/>
            <ac:spMk id="1623" creationId="{49776279-B3DA-4C79-B462-96C3A54E795B}"/>
          </ac:spMkLst>
        </pc:spChg>
        <pc:spChg chg="add del mod">
          <ac:chgData name="Kebba Jeng" userId="fe4cc296-ba7d-48a2-8799-89b58d218255" providerId="ADAL" clId="{388EFDEE-447E-42B4-98EF-30C01AB2E8CD}" dt="2022-03-28T17:57:00.220" v="2268"/>
          <ac:spMkLst>
            <pc:docMk/>
            <pc:sldMk cId="0" sldId="261"/>
            <ac:spMk id="1624" creationId="{9747C639-F896-40C4-9E82-42BE74EF6309}"/>
          </ac:spMkLst>
        </pc:spChg>
        <pc:spChg chg="add del mod">
          <ac:chgData name="Kebba Jeng" userId="fe4cc296-ba7d-48a2-8799-89b58d218255" providerId="ADAL" clId="{388EFDEE-447E-42B4-98EF-30C01AB2E8CD}" dt="2022-03-28T17:57:00.220" v="2268"/>
          <ac:spMkLst>
            <pc:docMk/>
            <pc:sldMk cId="0" sldId="261"/>
            <ac:spMk id="1625" creationId="{ECDCB3B3-1420-4A79-A0E3-0B40C32D1AF5}"/>
          </ac:spMkLst>
        </pc:spChg>
        <pc:spChg chg="add del mod">
          <ac:chgData name="Kebba Jeng" userId="fe4cc296-ba7d-48a2-8799-89b58d218255" providerId="ADAL" clId="{388EFDEE-447E-42B4-98EF-30C01AB2E8CD}" dt="2022-03-28T17:57:00.220" v="2268"/>
          <ac:spMkLst>
            <pc:docMk/>
            <pc:sldMk cId="0" sldId="261"/>
            <ac:spMk id="1626" creationId="{4F78664A-AFBB-4C16-87B1-96BD16E597BD}"/>
          </ac:spMkLst>
        </pc:spChg>
        <pc:spChg chg="add del mod">
          <ac:chgData name="Kebba Jeng" userId="fe4cc296-ba7d-48a2-8799-89b58d218255" providerId="ADAL" clId="{388EFDEE-447E-42B4-98EF-30C01AB2E8CD}" dt="2022-03-28T17:57:00.220" v="2268"/>
          <ac:spMkLst>
            <pc:docMk/>
            <pc:sldMk cId="0" sldId="261"/>
            <ac:spMk id="1627" creationId="{0D7C7A48-68B5-436B-BFC4-DAAB14AFDEE2}"/>
          </ac:spMkLst>
        </pc:spChg>
        <pc:spChg chg="add del mod">
          <ac:chgData name="Kebba Jeng" userId="fe4cc296-ba7d-48a2-8799-89b58d218255" providerId="ADAL" clId="{388EFDEE-447E-42B4-98EF-30C01AB2E8CD}" dt="2022-03-28T17:57:00.220" v="2268"/>
          <ac:spMkLst>
            <pc:docMk/>
            <pc:sldMk cId="0" sldId="261"/>
            <ac:spMk id="1628" creationId="{DC638AA1-87D6-456C-8173-BEAF9C2AACFC}"/>
          </ac:spMkLst>
        </pc:spChg>
        <pc:spChg chg="add del mod">
          <ac:chgData name="Kebba Jeng" userId="fe4cc296-ba7d-48a2-8799-89b58d218255" providerId="ADAL" clId="{388EFDEE-447E-42B4-98EF-30C01AB2E8CD}" dt="2022-03-28T17:57:00.220" v="2268"/>
          <ac:spMkLst>
            <pc:docMk/>
            <pc:sldMk cId="0" sldId="261"/>
            <ac:spMk id="1629" creationId="{4266F93F-951F-47D7-8704-2E74AA686F6E}"/>
          </ac:spMkLst>
        </pc:spChg>
        <pc:spChg chg="add del mod">
          <ac:chgData name="Kebba Jeng" userId="fe4cc296-ba7d-48a2-8799-89b58d218255" providerId="ADAL" clId="{388EFDEE-447E-42B4-98EF-30C01AB2E8CD}" dt="2022-03-28T17:57:00.220" v="2268"/>
          <ac:spMkLst>
            <pc:docMk/>
            <pc:sldMk cId="0" sldId="261"/>
            <ac:spMk id="1630" creationId="{C7BA16A4-9660-47F7-9ABA-41318ED27CDF}"/>
          </ac:spMkLst>
        </pc:spChg>
        <pc:spChg chg="add del mod">
          <ac:chgData name="Kebba Jeng" userId="fe4cc296-ba7d-48a2-8799-89b58d218255" providerId="ADAL" clId="{388EFDEE-447E-42B4-98EF-30C01AB2E8CD}" dt="2022-03-28T17:57:00.220" v="2268"/>
          <ac:spMkLst>
            <pc:docMk/>
            <pc:sldMk cId="0" sldId="261"/>
            <ac:spMk id="1631" creationId="{92AA84EB-4BC2-4D0B-8580-38B69640A658}"/>
          </ac:spMkLst>
        </pc:spChg>
        <pc:spChg chg="add del mod">
          <ac:chgData name="Kebba Jeng" userId="fe4cc296-ba7d-48a2-8799-89b58d218255" providerId="ADAL" clId="{388EFDEE-447E-42B4-98EF-30C01AB2E8CD}" dt="2022-03-28T17:57:00.220" v="2268"/>
          <ac:spMkLst>
            <pc:docMk/>
            <pc:sldMk cId="0" sldId="261"/>
            <ac:spMk id="1632" creationId="{5DF10A14-4213-47D0-B337-AF6BCA1ACE35}"/>
          </ac:spMkLst>
        </pc:spChg>
        <pc:spChg chg="add del mod">
          <ac:chgData name="Kebba Jeng" userId="fe4cc296-ba7d-48a2-8799-89b58d218255" providerId="ADAL" clId="{388EFDEE-447E-42B4-98EF-30C01AB2E8CD}" dt="2022-03-28T17:57:00.220" v="2268"/>
          <ac:spMkLst>
            <pc:docMk/>
            <pc:sldMk cId="0" sldId="261"/>
            <ac:spMk id="1633" creationId="{62936404-870E-440F-90CE-6E00451673EB}"/>
          </ac:spMkLst>
        </pc:spChg>
        <pc:spChg chg="add del mod">
          <ac:chgData name="Kebba Jeng" userId="fe4cc296-ba7d-48a2-8799-89b58d218255" providerId="ADAL" clId="{388EFDEE-447E-42B4-98EF-30C01AB2E8CD}" dt="2022-03-28T17:57:00.220" v="2268"/>
          <ac:spMkLst>
            <pc:docMk/>
            <pc:sldMk cId="0" sldId="261"/>
            <ac:spMk id="1634" creationId="{3E965C63-1D55-4293-ACF7-5496A8DCA72B}"/>
          </ac:spMkLst>
        </pc:spChg>
        <pc:spChg chg="add del mod">
          <ac:chgData name="Kebba Jeng" userId="fe4cc296-ba7d-48a2-8799-89b58d218255" providerId="ADAL" clId="{388EFDEE-447E-42B4-98EF-30C01AB2E8CD}" dt="2022-03-28T17:57:00.220" v="2268"/>
          <ac:spMkLst>
            <pc:docMk/>
            <pc:sldMk cId="0" sldId="261"/>
            <ac:spMk id="1635" creationId="{231703C6-1CC0-4CCE-900A-DAE815B58EAB}"/>
          </ac:spMkLst>
        </pc:spChg>
        <pc:spChg chg="add del mod">
          <ac:chgData name="Kebba Jeng" userId="fe4cc296-ba7d-48a2-8799-89b58d218255" providerId="ADAL" clId="{388EFDEE-447E-42B4-98EF-30C01AB2E8CD}" dt="2022-03-28T17:57:00.220" v="2268"/>
          <ac:spMkLst>
            <pc:docMk/>
            <pc:sldMk cId="0" sldId="261"/>
            <ac:spMk id="1636" creationId="{3C04002F-CFAD-4F71-B37C-D32C74A06159}"/>
          </ac:spMkLst>
        </pc:spChg>
        <pc:spChg chg="add del mod">
          <ac:chgData name="Kebba Jeng" userId="fe4cc296-ba7d-48a2-8799-89b58d218255" providerId="ADAL" clId="{388EFDEE-447E-42B4-98EF-30C01AB2E8CD}" dt="2022-03-28T17:57:00.220" v="2268"/>
          <ac:spMkLst>
            <pc:docMk/>
            <pc:sldMk cId="0" sldId="261"/>
            <ac:spMk id="1637" creationId="{E22AD883-11BA-468E-80E4-D0E750FA1960}"/>
          </ac:spMkLst>
        </pc:spChg>
        <pc:spChg chg="add del mod">
          <ac:chgData name="Kebba Jeng" userId="fe4cc296-ba7d-48a2-8799-89b58d218255" providerId="ADAL" clId="{388EFDEE-447E-42B4-98EF-30C01AB2E8CD}" dt="2022-03-28T17:57:00.220" v="2268"/>
          <ac:spMkLst>
            <pc:docMk/>
            <pc:sldMk cId="0" sldId="261"/>
            <ac:spMk id="1638" creationId="{F11C7140-94EB-42AB-9820-5C0B564370B8}"/>
          </ac:spMkLst>
        </pc:spChg>
        <pc:spChg chg="add del mod">
          <ac:chgData name="Kebba Jeng" userId="fe4cc296-ba7d-48a2-8799-89b58d218255" providerId="ADAL" clId="{388EFDEE-447E-42B4-98EF-30C01AB2E8CD}" dt="2022-03-28T17:57:00.220" v="2268"/>
          <ac:spMkLst>
            <pc:docMk/>
            <pc:sldMk cId="0" sldId="261"/>
            <ac:spMk id="1639" creationId="{071303AD-302C-4450-A704-B039518AE6AF}"/>
          </ac:spMkLst>
        </pc:spChg>
        <pc:spChg chg="add del mod">
          <ac:chgData name="Kebba Jeng" userId="fe4cc296-ba7d-48a2-8799-89b58d218255" providerId="ADAL" clId="{388EFDEE-447E-42B4-98EF-30C01AB2E8CD}" dt="2022-03-28T17:57:00.220" v="2268"/>
          <ac:spMkLst>
            <pc:docMk/>
            <pc:sldMk cId="0" sldId="261"/>
            <ac:spMk id="1640" creationId="{2CF6C2E2-CD11-4AC7-A974-5DCA886891A3}"/>
          </ac:spMkLst>
        </pc:spChg>
        <pc:spChg chg="add del mod">
          <ac:chgData name="Kebba Jeng" userId="fe4cc296-ba7d-48a2-8799-89b58d218255" providerId="ADAL" clId="{388EFDEE-447E-42B4-98EF-30C01AB2E8CD}" dt="2022-03-28T17:57:00.220" v="2268"/>
          <ac:spMkLst>
            <pc:docMk/>
            <pc:sldMk cId="0" sldId="261"/>
            <ac:spMk id="1641" creationId="{78560832-D3ED-4623-B153-FD539B7DC7EB}"/>
          </ac:spMkLst>
        </pc:spChg>
        <pc:spChg chg="add del mod">
          <ac:chgData name="Kebba Jeng" userId="fe4cc296-ba7d-48a2-8799-89b58d218255" providerId="ADAL" clId="{388EFDEE-447E-42B4-98EF-30C01AB2E8CD}" dt="2022-03-28T17:57:00.220" v="2268"/>
          <ac:spMkLst>
            <pc:docMk/>
            <pc:sldMk cId="0" sldId="261"/>
            <ac:spMk id="1642" creationId="{1D66D6E2-DA69-43D4-8418-CE637BED25EE}"/>
          </ac:spMkLst>
        </pc:spChg>
        <pc:spChg chg="add del mod">
          <ac:chgData name="Kebba Jeng" userId="fe4cc296-ba7d-48a2-8799-89b58d218255" providerId="ADAL" clId="{388EFDEE-447E-42B4-98EF-30C01AB2E8CD}" dt="2022-03-28T17:57:00.220" v="2268"/>
          <ac:spMkLst>
            <pc:docMk/>
            <pc:sldMk cId="0" sldId="261"/>
            <ac:spMk id="1643" creationId="{17EDB6B7-77A8-41CD-9125-5D4071BC55E3}"/>
          </ac:spMkLst>
        </pc:spChg>
        <pc:spChg chg="add del mod">
          <ac:chgData name="Kebba Jeng" userId="fe4cc296-ba7d-48a2-8799-89b58d218255" providerId="ADAL" clId="{388EFDEE-447E-42B4-98EF-30C01AB2E8CD}" dt="2022-03-28T17:57:00.220" v="2268"/>
          <ac:spMkLst>
            <pc:docMk/>
            <pc:sldMk cId="0" sldId="261"/>
            <ac:spMk id="1644" creationId="{47B63BD3-6142-471E-8DF2-2BB758C24FA2}"/>
          </ac:spMkLst>
        </pc:spChg>
        <pc:spChg chg="add del mod">
          <ac:chgData name="Kebba Jeng" userId="fe4cc296-ba7d-48a2-8799-89b58d218255" providerId="ADAL" clId="{388EFDEE-447E-42B4-98EF-30C01AB2E8CD}" dt="2022-03-28T17:57:00.220" v="2268"/>
          <ac:spMkLst>
            <pc:docMk/>
            <pc:sldMk cId="0" sldId="261"/>
            <ac:spMk id="1645" creationId="{DD6C8B4E-76E5-4633-A8DD-98882BD64CF6}"/>
          </ac:spMkLst>
        </pc:spChg>
        <pc:spChg chg="add del mod">
          <ac:chgData name="Kebba Jeng" userId="fe4cc296-ba7d-48a2-8799-89b58d218255" providerId="ADAL" clId="{388EFDEE-447E-42B4-98EF-30C01AB2E8CD}" dt="2022-03-28T17:57:00.220" v="2268"/>
          <ac:spMkLst>
            <pc:docMk/>
            <pc:sldMk cId="0" sldId="261"/>
            <ac:spMk id="1646" creationId="{80994729-30F3-42B5-9642-DA983BE39EA3}"/>
          </ac:spMkLst>
        </pc:spChg>
        <pc:spChg chg="add del mod">
          <ac:chgData name="Kebba Jeng" userId="fe4cc296-ba7d-48a2-8799-89b58d218255" providerId="ADAL" clId="{388EFDEE-447E-42B4-98EF-30C01AB2E8CD}" dt="2022-03-28T17:57:00.220" v="2268"/>
          <ac:spMkLst>
            <pc:docMk/>
            <pc:sldMk cId="0" sldId="261"/>
            <ac:spMk id="1647" creationId="{4DD26B03-F5CE-4177-A6A8-B46F457DE596}"/>
          </ac:spMkLst>
        </pc:spChg>
        <pc:spChg chg="add del mod">
          <ac:chgData name="Kebba Jeng" userId="fe4cc296-ba7d-48a2-8799-89b58d218255" providerId="ADAL" clId="{388EFDEE-447E-42B4-98EF-30C01AB2E8CD}" dt="2022-03-28T17:57:00.220" v="2268"/>
          <ac:spMkLst>
            <pc:docMk/>
            <pc:sldMk cId="0" sldId="261"/>
            <ac:spMk id="1648" creationId="{E98B9E34-94B0-499B-9D2F-8DA273166B0E}"/>
          </ac:spMkLst>
        </pc:spChg>
        <pc:spChg chg="add del mod">
          <ac:chgData name="Kebba Jeng" userId="fe4cc296-ba7d-48a2-8799-89b58d218255" providerId="ADAL" clId="{388EFDEE-447E-42B4-98EF-30C01AB2E8CD}" dt="2022-03-28T17:57:00.220" v="2268"/>
          <ac:spMkLst>
            <pc:docMk/>
            <pc:sldMk cId="0" sldId="261"/>
            <ac:spMk id="1649" creationId="{1E8C51DC-8686-49FB-9B36-6BA52C977BAA}"/>
          </ac:spMkLst>
        </pc:spChg>
        <pc:spChg chg="add del mod">
          <ac:chgData name="Kebba Jeng" userId="fe4cc296-ba7d-48a2-8799-89b58d218255" providerId="ADAL" clId="{388EFDEE-447E-42B4-98EF-30C01AB2E8CD}" dt="2022-03-28T17:57:00.220" v="2268"/>
          <ac:spMkLst>
            <pc:docMk/>
            <pc:sldMk cId="0" sldId="261"/>
            <ac:spMk id="1650" creationId="{092CA575-C6A4-4E1B-B5E1-360401B5D83E}"/>
          </ac:spMkLst>
        </pc:spChg>
        <pc:spChg chg="add del mod">
          <ac:chgData name="Kebba Jeng" userId="fe4cc296-ba7d-48a2-8799-89b58d218255" providerId="ADAL" clId="{388EFDEE-447E-42B4-98EF-30C01AB2E8CD}" dt="2022-03-28T17:57:00.220" v="2268"/>
          <ac:spMkLst>
            <pc:docMk/>
            <pc:sldMk cId="0" sldId="261"/>
            <ac:spMk id="1651" creationId="{AF017D1F-4BF3-401F-BE3D-973C7DCC6FC3}"/>
          </ac:spMkLst>
        </pc:spChg>
        <pc:spChg chg="add del mod">
          <ac:chgData name="Kebba Jeng" userId="fe4cc296-ba7d-48a2-8799-89b58d218255" providerId="ADAL" clId="{388EFDEE-447E-42B4-98EF-30C01AB2E8CD}" dt="2022-03-28T17:57:00.220" v="2268"/>
          <ac:spMkLst>
            <pc:docMk/>
            <pc:sldMk cId="0" sldId="261"/>
            <ac:spMk id="1652" creationId="{1C0164AF-A96E-4AF8-8124-36AD041643C2}"/>
          </ac:spMkLst>
        </pc:spChg>
        <pc:spChg chg="add del mod">
          <ac:chgData name="Kebba Jeng" userId="fe4cc296-ba7d-48a2-8799-89b58d218255" providerId="ADAL" clId="{388EFDEE-447E-42B4-98EF-30C01AB2E8CD}" dt="2022-03-28T17:57:00.220" v="2268"/>
          <ac:spMkLst>
            <pc:docMk/>
            <pc:sldMk cId="0" sldId="261"/>
            <ac:spMk id="1653" creationId="{F5CCC143-9CFF-444D-B675-C9DB1D71526A}"/>
          </ac:spMkLst>
        </pc:spChg>
        <pc:spChg chg="add del mod">
          <ac:chgData name="Kebba Jeng" userId="fe4cc296-ba7d-48a2-8799-89b58d218255" providerId="ADAL" clId="{388EFDEE-447E-42B4-98EF-30C01AB2E8CD}" dt="2022-03-28T17:57:00.220" v="2268"/>
          <ac:spMkLst>
            <pc:docMk/>
            <pc:sldMk cId="0" sldId="261"/>
            <ac:spMk id="1654" creationId="{778265C9-1F83-4C70-A262-6E7519F2ACE0}"/>
          </ac:spMkLst>
        </pc:spChg>
        <pc:spChg chg="add del mod">
          <ac:chgData name="Kebba Jeng" userId="fe4cc296-ba7d-48a2-8799-89b58d218255" providerId="ADAL" clId="{388EFDEE-447E-42B4-98EF-30C01AB2E8CD}" dt="2022-03-28T17:57:00.220" v="2268"/>
          <ac:spMkLst>
            <pc:docMk/>
            <pc:sldMk cId="0" sldId="261"/>
            <ac:spMk id="1655" creationId="{A29AC6D1-5F2B-40EC-B35C-916AA1853D0B}"/>
          </ac:spMkLst>
        </pc:spChg>
        <pc:spChg chg="add del mod">
          <ac:chgData name="Kebba Jeng" userId="fe4cc296-ba7d-48a2-8799-89b58d218255" providerId="ADAL" clId="{388EFDEE-447E-42B4-98EF-30C01AB2E8CD}" dt="2022-03-28T17:57:00.220" v="2268"/>
          <ac:spMkLst>
            <pc:docMk/>
            <pc:sldMk cId="0" sldId="261"/>
            <ac:spMk id="1656" creationId="{1101BAF7-5C24-4E96-A786-BEF6FC265BE8}"/>
          </ac:spMkLst>
        </pc:spChg>
        <pc:spChg chg="add del mod">
          <ac:chgData name="Kebba Jeng" userId="fe4cc296-ba7d-48a2-8799-89b58d218255" providerId="ADAL" clId="{388EFDEE-447E-42B4-98EF-30C01AB2E8CD}" dt="2022-03-28T17:57:00.220" v="2268"/>
          <ac:spMkLst>
            <pc:docMk/>
            <pc:sldMk cId="0" sldId="261"/>
            <ac:spMk id="1657" creationId="{A7CEBBFA-6A7C-4B21-A95F-B6F795DC7C86}"/>
          </ac:spMkLst>
        </pc:spChg>
        <pc:spChg chg="add del mod">
          <ac:chgData name="Kebba Jeng" userId="fe4cc296-ba7d-48a2-8799-89b58d218255" providerId="ADAL" clId="{388EFDEE-447E-42B4-98EF-30C01AB2E8CD}" dt="2022-03-28T17:57:00.220" v="2268"/>
          <ac:spMkLst>
            <pc:docMk/>
            <pc:sldMk cId="0" sldId="261"/>
            <ac:spMk id="1658" creationId="{D2D0D28F-51F0-40AF-BB5E-96ACAB9FBE40}"/>
          </ac:spMkLst>
        </pc:spChg>
        <pc:spChg chg="add del mod">
          <ac:chgData name="Kebba Jeng" userId="fe4cc296-ba7d-48a2-8799-89b58d218255" providerId="ADAL" clId="{388EFDEE-447E-42B4-98EF-30C01AB2E8CD}" dt="2022-03-28T17:57:00.220" v="2268"/>
          <ac:spMkLst>
            <pc:docMk/>
            <pc:sldMk cId="0" sldId="261"/>
            <ac:spMk id="1659" creationId="{DC5F1F8E-8ABA-4630-BC0E-22A88AE1F821}"/>
          </ac:spMkLst>
        </pc:spChg>
        <pc:spChg chg="add del mod">
          <ac:chgData name="Kebba Jeng" userId="fe4cc296-ba7d-48a2-8799-89b58d218255" providerId="ADAL" clId="{388EFDEE-447E-42B4-98EF-30C01AB2E8CD}" dt="2022-03-28T17:57:00.220" v="2268"/>
          <ac:spMkLst>
            <pc:docMk/>
            <pc:sldMk cId="0" sldId="261"/>
            <ac:spMk id="1660" creationId="{E457CF8E-413F-4270-901A-131A7A626AE4}"/>
          </ac:spMkLst>
        </pc:spChg>
        <pc:spChg chg="add del mod">
          <ac:chgData name="Kebba Jeng" userId="fe4cc296-ba7d-48a2-8799-89b58d218255" providerId="ADAL" clId="{388EFDEE-447E-42B4-98EF-30C01AB2E8CD}" dt="2022-03-28T17:57:00.220" v="2268"/>
          <ac:spMkLst>
            <pc:docMk/>
            <pc:sldMk cId="0" sldId="261"/>
            <ac:spMk id="1661" creationId="{F73ECFDF-8DC1-437C-8442-73012E303493}"/>
          </ac:spMkLst>
        </pc:spChg>
        <pc:spChg chg="add del mod">
          <ac:chgData name="Kebba Jeng" userId="fe4cc296-ba7d-48a2-8799-89b58d218255" providerId="ADAL" clId="{388EFDEE-447E-42B4-98EF-30C01AB2E8CD}" dt="2022-03-28T17:57:00.220" v="2268"/>
          <ac:spMkLst>
            <pc:docMk/>
            <pc:sldMk cId="0" sldId="261"/>
            <ac:spMk id="1662" creationId="{CAFB9180-E67E-4951-A523-2110CE585356}"/>
          </ac:spMkLst>
        </pc:spChg>
        <pc:spChg chg="add del mod">
          <ac:chgData name="Kebba Jeng" userId="fe4cc296-ba7d-48a2-8799-89b58d218255" providerId="ADAL" clId="{388EFDEE-447E-42B4-98EF-30C01AB2E8CD}" dt="2022-03-28T17:57:00.220" v="2268"/>
          <ac:spMkLst>
            <pc:docMk/>
            <pc:sldMk cId="0" sldId="261"/>
            <ac:spMk id="1663" creationId="{C6CCFB4A-F6DC-4953-B826-541178138410}"/>
          </ac:spMkLst>
        </pc:spChg>
        <pc:spChg chg="add del mod">
          <ac:chgData name="Kebba Jeng" userId="fe4cc296-ba7d-48a2-8799-89b58d218255" providerId="ADAL" clId="{388EFDEE-447E-42B4-98EF-30C01AB2E8CD}" dt="2022-03-28T17:57:00.220" v="2268"/>
          <ac:spMkLst>
            <pc:docMk/>
            <pc:sldMk cId="0" sldId="261"/>
            <ac:spMk id="1664" creationId="{B4037539-9975-47C5-A375-4CB39EFA4CAB}"/>
          </ac:spMkLst>
        </pc:spChg>
        <pc:spChg chg="add del mod">
          <ac:chgData name="Kebba Jeng" userId="fe4cc296-ba7d-48a2-8799-89b58d218255" providerId="ADAL" clId="{388EFDEE-447E-42B4-98EF-30C01AB2E8CD}" dt="2022-03-28T17:57:00.220" v="2268"/>
          <ac:spMkLst>
            <pc:docMk/>
            <pc:sldMk cId="0" sldId="261"/>
            <ac:spMk id="1665" creationId="{47F64CF2-B252-48EF-A477-9376CE6CE140}"/>
          </ac:spMkLst>
        </pc:spChg>
        <pc:spChg chg="add del mod">
          <ac:chgData name="Kebba Jeng" userId="fe4cc296-ba7d-48a2-8799-89b58d218255" providerId="ADAL" clId="{388EFDEE-447E-42B4-98EF-30C01AB2E8CD}" dt="2022-03-28T17:57:00.220" v="2268"/>
          <ac:spMkLst>
            <pc:docMk/>
            <pc:sldMk cId="0" sldId="261"/>
            <ac:spMk id="1666" creationId="{A728A939-4746-4536-8642-116EA67BB3BF}"/>
          </ac:spMkLst>
        </pc:spChg>
        <pc:spChg chg="add del mod">
          <ac:chgData name="Kebba Jeng" userId="fe4cc296-ba7d-48a2-8799-89b58d218255" providerId="ADAL" clId="{388EFDEE-447E-42B4-98EF-30C01AB2E8CD}" dt="2022-03-28T17:57:00.220" v="2268"/>
          <ac:spMkLst>
            <pc:docMk/>
            <pc:sldMk cId="0" sldId="261"/>
            <ac:spMk id="1667" creationId="{0DBD8FA2-0E22-47D5-9F55-F8EF73B4B1A9}"/>
          </ac:spMkLst>
        </pc:spChg>
        <pc:spChg chg="add del mod">
          <ac:chgData name="Kebba Jeng" userId="fe4cc296-ba7d-48a2-8799-89b58d218255" providerId="ADAL" clId="{388EFDEE-447E-42B4-98EF-30C01AB2E8CD}" dt="2022-03-28T17:57:00.220" v="2268"/>
          <ac:spMkLst>
            <pc:docMk/>
            <pc:sldMk cId="0" sldId="261"/>
            <ac:spMk id="1668" creationId="{5B66B73D-9DEB-49FA-A2F8-092EA0B818CB}"/>
          </ac:spMkLst>
        </pc:spChg>
        <pc:spChg chg="add del mod">
          <ac:chgData name="Kebba Jeng" userId="fe4cc296-ba7d-48a2-8799-89b58d218255" providerId="ADAL" clId="{388EFDEE-447E-42B4-98EF-30C01AB2E8CD}" dt="2022-03-28T17:57:00.220" v="2268"/>
          <ac:spMkLst>
            <pc:docMk/>
            <pc:sldMk cId="0" sldId="261"/>
            <ac:spMk id="1669" creationId="{141BCEE7-6D54-47E3-B9E2-09E6CF6784D8}"/>
          </ac:spMkLst>
        </pc:spChg>
        <pc:spChg chg="add del mod">
          <ac:chgData name="Kebba Jeng" userId="fe4cc296-ba7d-48a2-8799-89b58d218255" providerId="ADAL" clId="{388EFDEE-447E-42B4-98EF-30C01AB2E8CD}" dt="2022-03-28T17:57:00.220" v="2268"/>
          <ac:spMkLst>
            <pc:docMk/>
            <pc:sldMk cId="0" sldId="261"/>
            <ac:spMk id="1670" creationId="{43FE6C2E-73E9-4B1A-8828-08CB1726AF56}"/>
          </ac:spMkLst>
        </pc:spChg>
        <pc:spChg chg="add del mod">
          <ac:chgData name="Kebba Jeng" userId="fe4cc296-ba7d-48a2-8799-89b58d218255" providerId="ADAL" clId="{388EFDEE-447E-42B4-98EF-30C01AB2E8CD}" dt="2022-03-28T17:57:00.220" v="2268"/>
          <ac:spMkLst>
            <pc:docMk/>
            <pc:sldMk cId="0" sldId="261"/>
            <ac:spMk id="1671" creationId="{DBC06FC7-F3AB-4031-B3D1-D3046BF40910}"/>
          </ac:spMkLst>
        </pc:spChg>
        <pc:spChg chg="add del mod">
          <ac:chgData name="Kebba Jeng" userId="fe4cc296-ba7d-48a2-8799-89b58d218255" providerId="ADAL" clId="{388EFDEE-447E-42B4-98EF-30C01AB2E8CD}" dt="2022-03-28T17:57:00.220" v="2268"/>
          <ac:spMkLst>
            <pc:docMk/>
            <pc:sldMk cId="0" sldId="261"/>
            <ac:spMk id="1672" creationId="{FFF746CF-EF80-408D-BAF2-FFDE397514D4}"/>
          </ac:spMkLst>
        </pc:spChg>
        <pc:spChg chg="add del mod">
          <ac:chgData name="Kebba Jeng" userId="fe4cc296-ba7d-48a2-8799-89b58d218255" providerId="ADAL" clId="{388EFDEE-447E-42B4-98EF-30C01AB2E8CD}" dt="2022-03-28T17:57:00.220" v="2268"/>
          <ac:spMkLst>
            <pc:docMk/>
            <pc:sldMk cId="0" sldId="261"/>
            <ac:spMk id="1673" creationId="{4C8027BD-4C65-40AE-99AE-40454E81990A}"/>
          </ac:spMkLst>
        </pc:spChg>
        <pc:spChg chg="add del mod">
          <ac:chgData name="Kebba Jeng" userId="fe4cc296-ba7d-48a2-8799-89b58d218255" providerId="ADAL" clId="{388EFDEE-447E-42B4-98EF-30C01AB2E8CD}" dt="2022-03-28T17:57:00.220" v="2268"/>
          <ac:spMkLst>
            <pc:docMk/>
            <pc:sldMk cId="0" sldId="261"/>
            <ac:spMk id="1674" creationId="{6909DDAE-91CC-4DB6-B4D6-E065C8F96C3A}"/>
          </ac:spMkLst>
        </pc:spChg>
        <pc:spChg chg="add del mod">
          <ac:chgData name="Kebba Jeng" userId="fe4cc296-ba7d-48a2-8799-89b58d218255" providerId="ADAL" clId="{388EFDEE-447E-42B4-98EF-30C01AB2E8CD}" dt="2022-03-28T17:57:00.220" v="2268"/>
          <ac:spMkLst>
            <pc:docMk/>
            <pc:sldMk cId="0" sldId="261"/>
            <ac:spMk id="1675" creationId="{642A8F0A-D61B-42B2-A338-0F4B40A624B1}"/>
          </ac:spMkLst>
        </pc:spChg>
        <pc:spChg chg="add del mod">
          <ac:chgData name="Kebba Jeng" userId="fe4cc296-ba7d-48a2-8799-89b58d218255" providerId="ADAL" clId="{388EFDEE-447E-42B4-98EF-30C01AB2E8CD}" dt="2022-03-28T17:57:00.220" v="2268"/>
          <ac:spMkLst>
            <pc:docMk/>
            <pc:sldMk cId="0" sldId="261"/>
            <ac:spMk id="1676" creationId="{35E5D529-D2A7-456C-B1FB-E6473BE55EC4}"/>
          </ac:spMkLst>
        </pc:spChg>
        <pc:spChg chg="add del mod">
          <ac:chgData name="Kebba Jeng" userId="fe4cc296-ba7d-48a2-8799-89b58d218255" providerId="ADAL" clId="{388EFDEE-447E-42B4-98EF-30C01AB2E8CD}" dt="2022-03-28T17:57:00.220" v="2268"/>
          <ac:spMkLst>
            <pc:docMk/>
            <pc:sldMk cId="0" sldId="261"/>
            <ac:spMk id="1677" creationId="{17DAABE3-395C-4651-A5B3-339D9CD01AEF}"/>
          </ac:spMkLst>
        </pc:spChg>
        <pc:spChg chg="add del mod">
          <ac:chgData name="Kebba Jeng" userId="fe4cc296-ba7d-48a2-8799-89b58d218255" providerId="ADAL" clId="{388EFDEE-447E-42B4-98EF-30C01AB2E8CD}" dt="2022-03-28T17:57:00.220" v="2268"/>
          <ac:spMkLst>
            <pc:docMk/>
            <pc:sldMk cId="0" sldId="261"/>
            <ac:spMk id="1678" creationId="{F9E56711-C8A8-4861-ACA2-431969091F3D}"/>
          </ac:spMkLst>
        </pc:spChg>
        <pc:spChg chg="add del mod">
          <ac:chgData name="Kebba Jeng" userId="fe4cc296-ba7d-48a2-8799-89b58d218255" providerId="ADAL" clId="{388EFDEE-447E-42B4-98EF-30C01AB2E8CD}" dt="2022-03-28T17:57:00.220" v="2268"/>
          <ac:spMkLst>
            <pc:docMk/>
            <pc:sldMk cId="0" sldId="261"/>
            <ac:spMk id="1679" creationId="{686B7FFC-A97E-486C-B7D6-AF0027554D79}"/>
          </ac:spMkLst>
        </pc:spChg>
        <pc:spChg chg="add del mod">
          <ac:chgData name="Kebba Jeng" userId="fe4cc296-ba7d-48a2-8799-89b58d218255" providerId="ADAL" clId="{388EFDEE-447E-42B4-98EF-30C01AB2E8CD}" dt="2022-03-28T17:57:00.220" v="2268"/>
          <ac:spMkLst>
            <pc:docMk/>
            <pc:sldMk cId="0" sldId="261"/>
            <ac:spMk id="1680" creationId="{C2BF8590-3C11-4C81-BF8F-363496FA5BF7}"/>
          </ac:spMkLst>
        </pc:spChg>
        <pc:spChg chg="add del mod">
          <ac:chgData name="Kebba Jeng" userId="fe4cc296-ba7d-48a2-8799-89b58d218255" providerId="ADAL" clId="{388EFDEE-447E-42B4-98EF-30C01AB2E8CD}" dt="2022-03-28T17:57:00.220" v="2268"/>
          <ac:spMkLst>
            <pc:docMk/>
            <pc:sldMk cId="0" sldId="261"/>
            <ac:spMk id="1681" creationId="{E59FE896-1C06-4211-B3D5-580C82B651DA}"/>
          </ac:spMkLst>
        </pc:spChg>
        <pc:spChg chg="add del mod">
          <ac:chgData name="Kebba Jeng" userId="fe4cc296-ba7d-48a2-8799-89b58d218255" providerId="ADAL" clId="{388EFDEE-447E-42B4-98EF-30C01AB2E8CD}" dt="2022-03-28T17:57:00.220" v="2268"/>
          <ac:spMkLst>
            <pc:docMk/>
            <pc:sldMk cId="0" sldId="261"/>
            <ac:spMk id="1682" creationId="{AC3D08C3-598C-460D-A420-0C8D076B42A5}"/>
          </ac:spMkLst>
        </pc:spChg>
        <pc:spChg chg="add del mod">
          <ac:chgData name="Kebba Jeng" userId="fe4cc296-ba7d-48a2-8799-89b58d218255" providerId="ADAL" clId="{388EFDEE-447E-42B4-98EF-30C01AB2E8CD}" dt="2022-03-28T17:57:00.220" v="2268"/>
          <ac:spMkLst>
            <pc:docMk/>
            <pc:sldMk cId="0" sldId="261"/>
            <ac:spMk id="1683" creationId="{D6C4C5CF-FD94-4D1A-BCB7-91AA45BC7431}"/>
          </ac:spMkLst>
        </pc:spChg>
        <pc:spChg chg="add del mod">
          <ac:chgData name="Kebba Jeng" userId="fe4cc296-ba7d-48a2-8799-89b58d218255" providerId="ADAL" clId="{388EFDEE-447E-42B4-98EF-30C01AB2E8CD}" dt="2022-03-28T17:57:00.220" v="2268"/>
          <ac:spMkLst>
            <pc:docMk/>
            <pc:sldMk cId="0" sldId="261"/>
            <ac:spMk id="1684" creationId="{4A5A2917-8E9C-40CA-8556-3A8F54FA43E4}"/>
          </ac:spMkLst>
        </pc:spChg>
        <pc:spChg chg="add del mod">
          <ac:chgData name="Kebba Jeng" userId="fe4cc296-ba7d-48a2-8799-89b58d218255" providerId="ADAL" clId="{388EFDEE-447E-42B4-98EF-30C01AB2E8CD}" dt="2022-03-28T17:57:00.220" v="2268"/>
          <ac:spMkLst>
            <pc:docMk/>
            <pc:sldMk cId="0" sldId="261"/>
            <ac:spMk id="1685" creationId="{01979CDA-8525-426F-BC4E-0B0D6EDDC0C4}"/>
          </ac:spMkLst>
        </pc:spChg>
        <pc:spChg chg="add del mod">
          <ac:chgData name="Kebba Jeng" userId="fe4cc296-ba7d-48a2-8799-89b58d218255" providerId="ADAL" clId="{388EFDEE-447E-42B4-98EF-30C01AB2E8CD}" dt="2022-03-28T17:57:00.220" v="2268"/>
          <ac:spMkLst>
            <pc:docMk/>
            <pc:sldMk cId="0" sldId="261"/>
            <ac:spMk id="1686" creationId="{3E30637F-C667-49C6-9D92-DADA44133CFC}"/>
          </ac:spMkLst>
        </pc:spChg>
        <pc:spChg chg="add del mod">
          <ac:chgData name="Kebba Jeng" userId="fe4cc296-ba7d-48a2-8799-89b58d218255" providerId="ADAL" clId="{388EFDEE-447E-42B4-98EF-30C01AB2E8CD}" dt="2022-03-28T17:57:00.220" v="2268"/>
          <ac:spMkLst>
            <pc:docMk/>
            <pc:sldMk cId="0" sldId="261"/>
            <ac:spMk id="1687" creationId="{470D3AC1-03B7-4122-AAB4-1BA8A294371F}"/>
          </ac:spMkLst>
        </pc:spChg>
        <pc:spChg chg="add del mod">
          <ac:chgData name="Kebba Jeng" userId="fe4cc296-ba7d-48a2-8799-89b58d218255" providerId="ADAL" clId="{388EFDEE-447E-42B4-98EF-30C01AB2E8CD}" dt="2022-03-28T17:57:00.220" v="2268"/>
          <ac:spMkLst>
            <pc:docMk/>
            <pc:sldMk cId="0" sldId="261"/>
            <ac:spMk id="1688" creationId="{122B8C8D-21DD-401F-813D-E1C750237053}"/>
          </ac:spMkLst>
        </pc:spChg>
        <pc:spChg chg="add del mod">
          <ac:chgData name="Kebba Jeng" userId="fe4cc296-ba7d-48a2-8799-89b58d218255" providerId="ADAL" clId="{388EFDEE-447E-42B4-98EF-30C01AB2E8CD}" dt="2022-03-28T17:57:00.220" v="2268"/>
          <ac:spMkLst>
            <pc:docMk/>
            <pc:sldMk cId="0" sldId="261"/>
            <ac:spMk id="1689" creationId="{EFFAA8A8-7378-4169-8CA0-488C41043046}"/>
          </ac:spMkLst>
        </pc:spChg>
        <pc:spChg chg="add del mod">
          <ac:chgData name="Kebba Jeng" userId="fe4cc296-ba7d-48a2-8799-89b58d218255" providerId="ADAL" clId="{388EFDEE-447E-42B4-98EF-30C01AB2E8CD}" dt="2022-03-28T17:57:00.220" v="2268"/>
          <ac:spMkLst>
            <pc:docMk/>
            <pc:sldMk cId="0" sldId="261"/>
            <ac:spMk id="1690" creationId="{C3902B5E-26D8-48AA-A828-CA279705B52F}"/>
          </ac:spMkLst>
        </pc:spChg>
        <pc:spChg chg="add del mod">
          <ac:chgData name="Kebba Jeng" userId="fe4cc296-ba7d-48a2-8799-89b58d218255" providerId="ADAL" clId="{388EFDEE-447E-42B4-98EF-30C01AB2E8CD}" dt="2022-03-28T17:57:00.220" v="2268"/>
          <ac:spMkLst>
            <pc:docMk/>
            <pc:sldMk cId="0" sldId="261"/>
            <ac:spMk id="1691" creationId="{10662593-D1F1-468B-BE5F-C46B91DA0EA3}"/>
          </ac:spMkLst>
        </pc:spChg>
        <pc:spChg chg="add del mod">
          <ac:chgData name="Kebba Jeng" userId="fe4cc296-ba7d-48a2-8799-89b58d218255" providerId="ADAL" clId="{388EFDEE-447E-42B4-98EF-30C01AB2E8CD}" dt="2022-03-28T17:57:00.220" v="2268"/>
          <ac:spMkLst>
            <pc:docMk/>
            <pc:sldMk cId="0" sldId="261"/>
            <ac:spMk id="1692" creationId="{06574BA9-5018-48F8-AF88-B773B8F174A2}"/>
          </ac:spMkLst>
        </pc:spChg>
        <pc:spChg chg="add del mod">
          <ac:chgData name="Kebba Jeng" userId="fe4cc296-ba7d-48a2-8799-89b58d218255" providerId="ADAL" clId="{388EFDEE-447E-42B4-98EF-30C01AB2E8CD}" dt="2022-03-28T17:57:00.220" v="2268"/>
          <ac:spMkLst>
            <pc:docMk/>
            <pc:sldMk cId="0" sldId="261"/>
            <ac:spMk id="1693" creationId="{788EDD1A-5405-4213-9CA1-C6558C5E128D}"/>
          </ac:spMkLst>
        </pc:spChg>
        <pc:spChg chg="add del mod">
          <ac:chgData name="Kebba Jeng" userId="fe4cc296-ba7d-48a2-8799-89b58d218255" providerId="ADAL" clId="{388EFDEE-447E-42B4-98EF-30C01AB2E8CD}" dt="2022-03-28T17:57:00.220" v="2268"/>
          <ac:spMkLst>
            <pc:docMk/>
            <pc:sldMk cId="0" sldId="261"/>
            <ac:spMk id="1694" creationId="{F48D618B-9F79-4401-A90E-523B0EA31F76}"/>
          </ac:spMkLst>
        </pc:spChg>
        <pc:spChg chg="add del mod">
          <ac:chgData name="Kebba Jeng" userId="fe4cc296-ba7d-48a2-8799-89b58d218255" providerId="ADAL" clId="{388EFDEE-447E-42B4-98EF-30C01AB2E8CD}" dt="2022-03-28T17:57:00.220" v="2268"/>
          <ac:spMkLst>
            <pc:docMk/>
            <pc:sldMk cId="0" sldId="261"/>
            <ac:spMk id="1695" creationId="{29032F5B-563C-4629-B528-6782CD7EFFC9}"/>
          </ac:spMkLst>
        </pc:spChg>
        <pc:spChg chg="add del mod">
          <ac:chgData name="Kebba Jeng" userId="fe4cc296-ba7d-48a2-8799-89b58d218255" providerId="ADAL" clId="{388EFDEE-447E-42B4-98EF-30C01AB2E8CD}" dt="2022-03-28T17:57:14.375" v="2273"/>
          <ac:spMkLst>
            <pc:docMk/>
            <pc:sldMk cId="0" sldId="261"/>
            <ac:spMk id="1696" creationId="{B460EFEC-0DB5-4CA4-A5B4-3812FADC8E8A}"/>
          </ac:spMkLst>
        </pc:spChg>
        <pc:spChg chg="add del mod">
          <ac:chgData name="Kebba Jeng" userId="fe4cc296-ba7d-48a2-8799-89b58d218255" providerId="ADAL" clId="{388EFDEE-447E-42B4-98EF-30C01AB2E8CD}" dt="2022-03-28T17:57:14.375" v="2273"/>
          <ac:spMkLst>
            <pc:docMk/>
            <pc:sldMk cId="0" sldId="261"/>
            <ac:spMk id="1697" creationId="{601ED5D2-AAC8-4DA0-AB7F-6EF71923D11A}"/>
          </ac:spMkLst>
        </pc:spChg>
        <pc:spChg chg="add del mod">
          <ac:chgData name="Kebba Jeng" userId="fe4cc296-ba7d-48a2-8799-89b58d218255" providerId="ADAL" clId="{388EFDEE-447E-42B4-98EF-30C01AB2E8CD}" dt="2022-03-28T17:57:14.375" v="2273"/>
          <ac:spMkLst>
            <pc:docMk/>
            <pc:sldMk cId="0" sldId="261"/>
            <ac:spMk id="1698" creationId="{1FBB8857-1DBD-4A27-BA2B-E6A1CC651E7B}"/>
          </ac:spMkLst>
        </pc:spChg>
        <pc:spChg chg="add del mod">
          <ac:chgData name="Kebba Jeng" userId="fe4cc296-ba7d-48a2-8799-89b58d218255" providerId="ADAL" clId="{388EFDEE-447E-42B4-98EF-30C01AB2E8CD}" dt="2022-03-28T17:57:14.375" v="2273"/>
          <ac:spMkLst>
            <pc:docMk/>
            <pc:sldMk cId="0" sldId="261"/>
            <ac:spMk id="1699" creationId="{8D511C5F-F566-4343-88E4-51BA9079AF21}"/>
          </ac:spMkLst>
        </pc:spChg>
        <pc:spChg chg="add del mod">
          <ac:chgData name="Kebba Jeng" userId="fe4cc296-ba7d-48a2-8799-89b58d218255" providerId="ADAL" clId="{388EFDEE-447E-42B4-98EF-30C01AB2E8CD}" dt="2022-03-28T17:57:14.375" v="2273"/>
          <ac:spMkLst>
            <pc:docMk/>
            <pc:sldMk cId="0" sldId="261"/>
            <ac:spMk id="1700" creationId="{BDF3DDB4-0B73-40B0-89E8-A15E39209103}"/>
          </ac:spMkLst>
        </pc:spChg>
        <pc:spChg chg="add del mod">
          <ac:chgData name="Kebba Jeng" userId="fe4cc296-ba7d-48a2-8799-89b58d218255" providerId="ADAL" clId="{388EFDEE-447E-42B4-98EF-30C01AB2E8CD}" dt="2022-03-28T17:57:14.375" v="2273"/>
          <ac:spMkLst>
            <pc:docMk/>
            <pc:sldMk cId="0" sldId="261"/>
            <ac:spMk id="1701" creationId="{041DCC0E-725C-40C6-9B9E-34CF1029309E}"/>
          </ac:spMkLst>
        </pc:spChg>
        <pc:spChg chg="add del mod">
          <ac:chgData name="Kebba Jeng" userId="fe4cc296-ba7d-48a2-8799-89b58d218255" providerId="ADAL" clId="{388EFDEE-447E-42B4-98EF-30C01AB2E8CD}" dt="2022-03-28T17:57:14.375" v="2273"/>
          <ac:spMkLst>
            <pc:docMk/>
            <pc:sldMk cId="0" sldId="261"/>
            <ac:spMk id="1702" creationId="{50462620-AC54-4333-8031-78AEB9354615}"/>
          </ac:spMkLst>
        </pc:spChg>
        <pc:spChg chg="add del mod">
          <ac:chgData name="Kebba Jeng" userId="fe4cc296-ba7d-48a2-8799-89b58d218255" providerId="ADAL" clId="{388EFDEE-447E-42B4-98EF-30C01AB2E8CD}" dt="2022-03-28T17:57:14.375" v="2273"/>
          <ac:spMkLst>
            <pc:docMk/>
            <pc:sldMk cId="0" sldId="261"/>
            <ac:spMk id="1703" creationId="{9BAA7771-F91E-4D51-B456-7B8E0169B33E}"/>
          </ac:spMkLst>
        </pc:spChg>
        <pc:spChg chg="add del mod">
          <ac:chgData name="Kebba Jeng" userId="fe4cc296-ba7d-48a2-8799-89b58d218255" providerId="ADAL" clId="{388EFDEE-447E-42B4-98EF-30C01AB2E8CD}" dt="2022-03-28T17:57:14.375" v="2273"/>
          <ac:spMkLst>
            <pc:docMk/>
            <pc:sldMk cId="0" sldId="261"/>
            <ac:spMk id="1704" creationId="{6A864A1E-DD1A-4E6C-BBB8-C912D3D158AD}"/>
          </ac:spMkLst>
        </pc:spChg>
        <pc:spChg chg="add del mod">
          <ac:chgData name="Kebba Jeng" userId="fe4cc296-ba7d-48a2-8799-89b58d218255" providerId="ADAL" clId="{388EFDEE-447E-42B4-98EF-30C01AB2E8CD}" dt="2022-03-28T17:57:14.375" v="2273"/>
          <ac:spMkLst>
            <pc:docMk/>
            <pc:sldMk cId="0" sldId="261"/>
            <ac:spMk id="1705" creationId="{51AE4E0C-B7E1-45E7-8FF2-4FC41489B777}"/>
          </ac:spMkLst>
        </pc:spChg>
        <pc:spChg chg="add del mod">
          <ac:chgData name="Kebba Jeng" userId="fe4cc296-ba7d-48a2-8799-89b58d218255" providerId="ADAL" clId="{388EFDEE-447E-42B4-98EF-30C01AB2E8CD}" dt="2022-03-28T17:57:14.375" v="2273"/>
          <ac:spMkLst>
            <pc:docMk/>
            <pc:sldMk cId="0" sldId="261"/>
            <ac:spMk id="1706" creationId="{335663B7-6AB9-4472-96AF-AADEE48BFBB8}"/>
          </ac:spMkLst>
        </pc:spChg>
        <pc:spChg chg="add del mod">
          <ac:chgData name="Kebba Jeng" userId="fe4cc296-ba7d-48a2-8799-89b58d218255" providerId="ADAL" clId="{388EFDEE-447E-42B4-98EF-30C01AB2E8CD}" dt="2022-03-28T17:57:14.375" v="2273"/>
          <ac:spMkLst>
            <pc:docMk/>
            <pc:sldMk cId="0" sldId="261"/>
            <ac:spMk id="1707" creationId="{DE406B19-FEE3-47B6-A14D-E1AAB1C3B9E4}"/>
          </ac:spMkLst>
        </pc:spChg>
        <pc:spChg chg="add del mod">
          <ac:chgData name="Kebba Jeng" userId="fe4cc296-ba7d-48a2-8799-89b58d218255" providerId="ADAL" clId="{388EFDEE-447E-42B4-98EF-30C01AB2E8CD}" dt="2022-03-28T17:57:14.375" v="2273"/>
          <ac:spMkLst>
            <pc:docMk/>
            <pc:sldMk cId="0" sldId="261"/>
            <ac:spMk id="1708" creationId="{4755497E-9367-4648-8BAD-2CCC4879801E}"/>
          </ac:spMkLst>
        </pc:spChg>
        <pc:spChg chg="add del mod">
          <ac:chgData name="Kebba Jeng" userId="fe4cc296-ba7d-48a2-8799-89b58d218255" providerId="ADAL" clId="{388EFDEE-447E-42B4-98EF-30C01AB2E8CD}" dt="2022-03-28T17:57:14.375" v="2273"/>
          <ac:spMkLst>
            <pc:docMk/>
            <pc:sldMk cId="0" sldId="261"/>
            <ac:spMk id="1709" creationId="{019F2F19-7D9B-427B-8102-16C2B4C37117}"/>
          </ac:spMkLst>
        </pc:spChg>
        <pc:spChg chg="add del mod">
          <ac:chgData name="Kebba Jeng" userId="fe4cc296-ba7d-48a2-8799-89b58d218255" providerId="ADAL" clId="{388EFDEE-447E-42B4-98EF-30C01AB2E8CD}" dt="2022-03-28T17:57:14.375" v="2273"/>
          <ac:spMkLst>
            <pc:docMk/>
            <pc:sldMk cId="0" sldId="261"/>
            <ac:spMk id="1710" creationId="{5B38D886-DC5B-48F2-9102-8FC9F2B2FA6C}"/>
          </ac:spMkLst>
        </pc:spChg>
        <pc:spChg chg="add del mod">
          <ac:chgData name="Kebba Jeng" userId="fe4cc296-ba7d-48a2-8799-89b58d218255" providerId="ADAL" clId="{388EFDEE-447E-42B4-98EF-30C01AB2E8CD}" dt="2022-03-28T17:57:14.375" v="2273"/>
          <ac:spMkLst>
            <pc:docMk/>
            <pc:sldMk cId="0" sldId="261"/>
            <ac:spMk id="1711" creationId="{80D038A8-0F5B-458A-99D2-60DE6EFAFDE9}"/>
          </ac:spMkLst>
        </pc:spChg>
        <pc:spChg chg="add del mod">
          <ac:chgData name="Kebba Jeng" userId="fe4cc296-ba7d-48a2-8799-89b58d218255" providerId="ADAL" clId="{388EFDEE-447E-42B4-98EF-30C01AB2E8CD}" dt="2022-03-28T17:57:14.375" v="2273"/>
          <ac:spMkLst>
            <pc:docMk/>
            <pc:sldMk cId="0" sldId="261"/>
            <ac:spMk id="1712" creationId="{365E9999-9A2C-459F-8A2E-E2E94A200701}"/>
          </ac:spMkLst>
        </pc:spChg>
        <pc:spChg chg="add del mod">
          <ac:chgData name="Kebba Jeng" userId="fe4cc296-ba7d-48a2-8799-89b58d218255" providerId="ADAL" clId="{388EFDEE-447E-42B4-98EF-30C01AB2E8CD}" dt="2022-03-28T17:57:14.375" v="2273"/>
          <ac:spMkLst>
            <pc:docMk/>
            <pc:sldMk cId="0" sldId="261"/>
            <ac:spMk id="1713" creationId="{FA5E8F31-041B-494F-968B-BC21B1D36704}"/>
          </ac:spMkLst>
        </pc:spChg>
        <pc:spChg chg="add del mod">
          <ac:chgData name="Kebba Jeng" userId="fe4cc296-ba7d-48a2-8799-89b58d218255" providerId="ADAL" clId="{388EFDEE-447E-42B4-98EF-30C01AB2E8CD}" dt="2022-03-28T17:57:14.375" v="2273"/>
          <ac:spMkLst>
            <pc:docMk/>
            <pc:sldMk cId="0" sldId="261"/>
            <ac:spMk id="1714" creationId="{8B6F9E57-8A8F-494F-9D7C-2861E6437010}"/>
          </ac:spMkLst>
        </pc:spChg>
        <pc:spChg chg="add del mod">
          <ac:chgData name="Kebba Jeng" userId="fe4cc296-ba7d-48a2-8799-89b58d218255" providerId="ADAL" clId="{388EFDEE-447E-42B4-98EF-30C01AB2E8CD}" dt="2022-03-28T17:57:14.375" v="2273"/>
          <ac:spMkLst>
            <pc:docMk/>
            <pc:sldMk cId="0" sldId="261"/>
            <ac:spMk id="1715" creationId="{7382C707-60C3-485C-8555-5D5A890626FB}"/>
          </ac:spMkLst>
        </pc:spChg>
        <pc:spChg chg="add del mod">
          <ac:chgData name="Kebba Jeng" userId="fe4cc296-ba7d-48a2-8799-89b58d218255" providerId="ADAL" clId="{388EFDEE-447E-42B4-98EF-30C01AB2E8CD}" dt="2022-03-28T17:57:14.375" v="2273"/>
          <ac:spMkLst>
            <pc:docMk/>
            <pc:sldMk cId="0" sldId="261"/>
            <ac:spMk id="1716" creationId="{7C8537B6-FC4E-4E3C-AA7B-687484A60258}"/>
          </ac:spMkLst>
        </pc:spChg>
        <pc:spChg chg="add del mod">
          <ac:chgData name="Kebba Jeng" userId="fe4cc296-ba7d-48a2-8799-89b58d218255" providerId="ADAL" clId="{388EFDEE-447E-42B4-98EF-30C01AB2E8CD}" dt="2022-03-28T17:57:14.375" v="2273"/>
          <ac:spMkLst>
            <pc:docMk/>
            <pc:sldMk cId="0" sldId="261"/>
            <ac:spMk id="1717" creationId="{143B86FB-C99E-4494-BE5E-A6BC348EC84D}"/>
          </ac:spMkLst>
        </pc:spChg>
        <pc:spChg chg="add del mod">
          <ac:chgData name="Kebba Jeng" userId="fe4cc296-ba7d-48a2-8799-89b58d218255" providerId="ADAL" clId="{388EFDEE-447E-42B4-98EF-30C01AB2E8CD}" dt="2022-03-28T17:57:14.375" v="2273"/>
          <ac:spMkLst>
            <pc:docMk/>
            <pc:sldMk cId="0" sldId="261"/>
            <ac:spMk id="1718" creationId="{CCA1A620-7427-435C-825B-E3BA03360589}"/>
          </ac:spMkLst>
        </pc:spChg>
        <pc:spChg chg="add del mod">
          <ac:chgData name="Kebba Jeng" userId="fe4cc296-ba7d-48a2-8799-89b58d218255" providerId="ADAL" clId="{388EFDEE-447E-42B4-98EF-30C01AB2E8CD}" dt="2022-03-28T17:57:14.375" v="2273"/>
          <ac:spMkLst>
            <pc:docMk/>
            <pc:sldMk cId="0" sldId="261"/>
            <ac:spMk id="1719" creationId="{2DF844B6-48B5-4953-839F-008E578070DA}"/>
          </ac:spMkLst>
        </pc:spChg>
        <pc:spChg chg="add del mod">
          <ac:chgData name="Kebba Jeng" userId="fe4cc296-ba7d-48a2-8799-89b58d218255" providerId="ADAL" clId="{388EFDEE-447E-42B4-98EF-30C01AB2E8CD}" dt="2022-03-28T17:57:14.375" v="2273"/>
          <ac:spMkLst>
            <pc:docMk/>
            <pc:sldMk cId="0" sldId="261"/>
            <ac:spMk id="1720" creationId="{0BA8750B-473C-4D26-9304-606F781DB237}"/>
          </ac:spMkLst>
        </pc:spChg>
        <pc:spChg chg="add del mod">
          <ac:chgData name="Kebba Jeng" userId="fe4cc296-ba7d-48a2-8799-89b58d218255" providerId="ADAL" clId="{388EFDEE-447E-42B4-98EF-30C01AB2E8CD}" dt="2022-03-28T17:57:14.375" v="2273"/>
          <ac:spMkLst>
            <pc:docMk/>
            <pc:sldMk cId="0" sldId="261"/>
            <ac:spMk id="1721" creationId="{E8B77ADA-2B3D-4B03-93B3-170F1B2458C2}"/>
          </ac:spMkLst>
        </pc:spChg>
        <pc:spChg chg="add del mod">
          <ac:chgData name="Kebba Jeng" userId="fe4cc296-ba7d-48a2-8799-89b58d218255" providerId="ADAL" clId="{388EFDEE-447E-42B4-98EF-30C01AB2E8CD}" dt="2022-03-28T17:57:14.375" v="2273"/>
          <ac:spMkLst>
            <pc:docMk/>
            <pc:sldMk cId="0" sldId="261"/>
            <ac:spMk id="1722" creationId="{FCF316A0-5A54-4B19-8A3C-32E5E35BB5AB}"/>
          </ac:spMkLst>
        </pc:spChg>
        <pc:spChg chg="add del mod">
          <ac:chgData name="Kebba Jeng" userId="fe4cc296-ba7d-48a2-8799-89b58d218255" providerId="ADAL" clId="{388EFDEE-447E-42B4-98EF-30C01AB2E8CD}" dt="2022-03-28T17:57:14.375" v="2273"/>
          <ac:spMkLst>
            <pc:docMk/>
            <pc:sldMk cId="0" sldId="261"/>
            <ac:spMk id="1723" creationId="{FBDE7F96-9B41-4953-962F-9976B11C6774}"/>
          </ac:spMkLst>
        </pc:spChg>
        <pc:spChg chg="add del mod">
          <ac:chgData name="Kebba Jeng" userId="fe4cc296-ba7d-48a2-8799-89b58d218255" providerId="ADAL" clId="{388EFDEE-447E-42B4-98EF-30C01AB2E8CD}" dt="2022-03-28T17:57:14.375" v="2273"/>
          <ac:spMkLst>
            <pc:docMk/>
            <pc:sldMk cId="0" sldId="261"/>
            <ac:spMk id="1724" creationId="{8E64374C-E579-4189-840C-BB095470C1A6}"/>
          </ac:spMkLst>
        </pc:spChg>
        <pc:spChg chg="add del mod">
          <ac:chgData name="Kebba Jeng" userId="fe4cc296-ba7d-48a2-8799-89b58d218255" providerId="ADAL" clId="{388EFDEE-447E-42B4-98EF-30C01AB2E8CD}" dt="2022-03-28T17:57:14.375" v="2273"/>
          <ac:spMkLst>
            <pc:docMk/>
            <pc:sldMk cId="0" sldId="261"/>
            <ac:spMk id="1725" creationId="{965F3FEB-2FC7-481F-8BF4-8D9C57951B75}"/>
          </ac:spMkLst>
        </pc:spChg>
        <pc:spChg chg="add del mod">
          <ac:chgData name="Kebba Jeng" userId="fe4cc296-ba7d-48a2-8799-89b58d218255" providerId="ADAL" clId="{388EFDEE-447E-42B4-98EF-30C01AB2E8CD}" dt="2022-03-28T17:57:14.375" v="2273"/>
          <ac:spMkLst>
            <pc:docMk/>
            <pc:sldMk cId="0" sldId="261"/>
            <ac:spMk id="1726" creationId="{2706FFEA-7965-424E-A89A-C13061CC2A4F}"/>
          </ac:spMkLst>
        </pc:spChg>
        <pc:spChg chg="add del mod">
          <ac:chgData name="Kebba Jeng" userId="fe4cc296-ba7d-48a2-8799-89b58d218255" providerId="ADAL" clId="{388EFDEE-447E-42B4-98EF-30C01AB2E8CD}" dt="2022-03-28T17:57:14.375" v="2273"/>
          <ac:spMkLst>
            <pc:docMk/>
            <pc:sldMk cId="0" sldId="261"/>
            <ac:spMk id="1727" creationId="{74F71021-4AE1-4D27-93CA-B964FF7008DE}"/>
          </ac:spMkLst>
        </pc:spChg>
        <pc:spChg chg="add del mod">
          <ac:chgData name="Kebba Jeng" userId="fe4cc296-ba7d-48a2-8799-89b58d218255" providerId="ADAL" clId="{388EFDEE-447E-42B4-98EF-30C01AB2E8CD}" dt="2022-03-28T17:57:14.375" v="2273"/>
          <ac:spMkLst>
            <pc:docMk/>
            <pc:sldMk cId="0" sldId="261"/>
            <ac:spMk id="1728" creationId="{6B8011B8-5C08-428A-ADD9-0DA05C6958F1}"/>
          </ac:spMkLst>
        </pc:spChg>
        <pc:spChg chg="add del mod">
          <ac:chgData name="Kebba Jeng" userId="fe4cc296-ba7d-48a2-8799-89b58d218255" providerId="ADAL" clId="{388EFDEE-447E-42B4-98EF-30C01AB2E8CD}" dt="2022-03-28T17:57:14.375" v="2273"/>
          <ac:spMkLst>
            <pc:docMk/>
            <pc:sldMk cId="0" sldId="261"/>
            <ac:spMk id="1729" creationId="{7BA811BF-1DD6-4345-879E-FDACF6CCE7C3}"/>
          </ac:spMkLst>
        </pc:spChg>
        <pc:spChg chg="add del mod">
          <ac:chgData name="Kebba Jeng" userId="fe4cc296-ba7d-48a2-8799-89b58d218255" providerId="ADAL" clId="{388EFDEE-447E-42B4-98EF-30C01AB2E8CD}" dt="2022-03-28T17:57:14.375" v="2273"/>
          <ac:spMkLst>
            <pc:docMk/>
            <pc:sldMk cId="0" sldId="261"/>
            <ac:spMk id="1730" creationId="{F8DD9403-2EA8-45E0-B469-91C20E232AB0}"/>
          </ac:spMkLst>
        </pc:spChg>
        <pc:spChg chg="add del mod">
          <ac:chgData name="Kebba Jeng" userId="fe4cc296-ba7d-48a2-8799-89b58d218255" providerId="ADAL" clId="{388EFDEE-447E-42B4-98EF-30C01AB2E8CD}" dt="2022-03-28T17:57:14.375" v="2273"/>
          <ac:spMkLst>
            <pc:docMk/>
            <pc:sldMk cId="0" sldId="261"/>
            <ac:spMk id="1731" creationId="{7081F013-8476-4031-BAF5-3DDE1E97A5DE}"/>
          </ac:spMkLst>
        </pc:spChg>
        <pc:spChg chg="add del mod">
          <ac:chgData name="Kebba Jeng" userId="fe4cc296-ba7d-48a2-8799-89b58d218255" providerId="ADAL" clId="{388EFDEE-447E-42B4-98EF-30C01AB2E8CD}" dt="2022-03-28T17:57:14.375" v="2273"/>
          <ac:spMkLst>
            <pc:docMk/>
            <pc:sldMk cId="0" sldId="261"/>
            <ac:spMk id="1732" creationId="{54D2B581-5541-4DA8-8B32-CA4097109271}"/>
          </ac:spMkLst>
        </pc:spChg>
        <pc:spChg chg="add del mod">
          <ac:chgData name="Kebba Jeng" userId="fe4cc296-ba7d-48a2-8799-89b58d218255" providerId="ADAL" clId="{388EFDEE-447E-42B4-98EF-30C01AB2E8CD}" dt="2022-03-28T17:57:14.375" v="2273"/>
          <ac:spMkLst>
            <pc:docMk/>
            <pc:sldMk cId="0" sldId="261"/>
            <ac:spMk id="1733" creationId="{F8D62B6B-45C5-479F-9182-533C028AB9C0}"/>
          </ac:spMkLst>
        </pc:spChg>
        <pc:spChg chg="add del mod">
          <ac:chgData name="Kebba Jeng" userId="fe4cc296-ba7d-48a2-8799-89b58d218255" providerId="ADAL" clId="{388EFDEE-447E-42B4-98EF-30C01AB2E8CD}" dt="2022-03-28T17:57:14.375" v="2273"/>
          <ac:spMkLst>
            <pc:docMk/>
            <pc:sldMk cId="0" sldId="261"/>
            <ac:spMk id="1734" creationId="{6CC7DE11-2646-4651-A9F4-77999E07D0B0}"/>
          </ac:spMkLst>
        </pc:spChg>
        <pc:spChg chg="add del mod">
          <ac:chgData name="Kebba Jeng" userId="fe4cc296-ba7d-48a2-8799-89b58d218255" providerId="ADAL" clId="{388EFDEE-447E-42B4-98EF-30C01AB2E8CD}" dt="2022-03-28T17:57:14.375" v="2273"/>
          <ac:spMkLst>
            <pc:docMk/>
            <pc:sldMk cId="0" sldId="261"/>
            <ac:spMk id="1735" creationId="{451C46C4-0787-4C33-B23B-C2B9505315FA}"/>
          </ac:spMkLst>
        </pc:spChg>
        <pc:spChg chg="add del mod">
          <ac:chgData name="Kebba Jeng" userId="fe4cc296-ba7d-48a2-8799-89b58d218255" providerId="ADAL" clId="{388EFDEE-447E-42B4-98EF-30C01AB2E8CD}" dt="2022-03-28T17:57:14.375" v="2273"/>
          <ac:spMkLst>
            <pc:docMk/>
            <pc:sldMk cId="0" sldId="261"/>
            <ac:spMk id="1736" creationId="{9D0CD253-EB71-42C0-9382-D76057F72992}"/>
          </ac:spMkLst>
        </pc:spChg>
        <pc:spChg chg="add del mod">
          <ac:chgData name="Kebba Jeng" userId="fe4cc296-ba7d-48a2-8799-89b58d218255" providerId="ADAL" clId="{388EFDEE-447E-42B4-98EF-30C01AB2E8CD}" dt="2022-03-28T17:57:14.375" v="2273"/>
          <ac:spMkLst>
            <pc:docMk/>
            <pc:sldMk cId="0" sldId="261"/>
            <ac:spMk id="1737" creationId="{F3827A80-FC0A-49B5-8216-4F88607E6908}"/>
          </ac:spMkLst>
        </pc:spChg>
        <pc:spChg chg="add del mod">
          <ac:chgData name="Kebba Jeng" userId="fe4cc296-ba7d-48a2-8799-89b58d218255" providerId="ADAL" clId="{388EFDEE-447E-42B4-98EF-30C01AB2E8CD}" dt="2022-03-28T17:57:14.375" v="2273"/>
          <ac:spMkLst>
            <pc:docMk/>
            <pc:sldMk cId="0" sldId="261"/>
            <ac:spMk id="1738" creationId="{637B0F3F-88AF-4DC5-8C90-78B6EC9BA700}"/>
          </ac:spMkLst>
        </pc:spChg>
        <pc:spChg chg="add del mod">
          <ac:chgData name="Kebba Jeng" userId="fe4cc296-ba7d-48a2-8799-89b58d218255" providerId="ADAL" clId="{388EFDEE-447E-42B4-98EF-30C01AB2E8CD}" dt="2022-03-28T17:57:14.375" v="2273"/>
          <ac:spMkLst>
            <pc:docMk/>
            <pc:sldMk cId="0" sldId="261"/>
            <ac:spMk id="1739" creationId="{F75CAE0D-7E67-47C7-9F7F-9B9975F3ED8B}"/>
          </ac:spMkLst>
        </pc:spChg>
        <pc:spChg chg="add del mod">
          <ac:chgData name="Kebba Jeng" userId="fe4cc296-ba7d-48a2-8799-89b58d218255" providerId="ADAL" clId="{388EFDEE-447E-42B4-98EF-30C01AB2E8CD}" dt="2022-03-28T17:57:14.375" v="2273"/>
          <ac:spMkLst>
            <pc:docMk/>
            <pc:sldMk cId="0" sldId="261"/>
            <ac:spMk id="1740" creationId="{9A3A5840-0057-4B92-AA03-588E32FDF053}"/>
          </ac:spMkLst>
        </pc:spChg>
        <pc:spChg chg="add del mod">
          <ac:chgData name="Kebba Jeng" userId="fe4cc296-ba7d-48a2-8799-89b58d218255" providerId="ADAL" clId="{388EFDEE-447E-42B4-98EF-30C01AB2E8CD}" dt="2022-03-28T17:57:14.375" v="2273"/>
          <ac:spMkLst>
            <pc:docMk/>
            <pc:sldMk cId="0" sldId="261"/>
            <ac:spMk id="1741" creationId="{23E204CA-77F6-46B5-AF46-D53DA9F33CA2}"/>
          </ac:spMkLst>
        </pc:spChg>
        <pc:spChg chg="add del mod">
          <ac:chgData name="Kebba Jeng" userId="fe4cc296-ba7d-48a2-8799-89b58d218255" providerId="ADAL" clId="{388EFDEE-447E-42B4-98EF-30C01AB2E8CD}" dt="2022-03-28T17:57:14.375" v="2273"/>
          <ac:spMkLst>
            <pc:docMk/>
            <pc:sldMk cId="0" sldId="261"/>
            <ac:spMk id="1742" creationId="{D314BECA-FD9D-43FA-8953-2B3161018DBE}"/>
          </ac:spMkLst>
        </pc:spChg>
        <pc:spChg chg="add del mod">
          <ac:chgData name="Kebba Jeng" userId="fe4cc296-ba7d-48a2-8799-89b58d218255" providerId="ADAL" clId="{388EFDEE-447E-42B4-98EF-30C01AB2E8CD}" dt="2022-03-28T17:57:14.375" v="2273"/>
          <ac:spMkLst>
            <pc:docMk/>
            <pc:sldMk cId="0" sldId="261"/>
            <ac:spMk id="1743" creationId="{2AF63AE0-2D65-4237-819C-6A2A59827BFF}"/>
          </ac:spMkLst>
        </pc:spChg>
        <pc:spChg chg="add del mod">
          <ac:chgData name="Kebba Jeng" userId="fe4cc296-ba7d-48a2-8799-89b58d218255" providerId="ADAL" clId="{388EFDEE-447E-42B4-98EF-30C01AB2E8CD}" dt="2022-03-28T17:57:14.375" v="2273"/>
          <ac:spMkLst>
            <pc:docMk/>
            <pc:sldMk cId="0" sldId="261"/>
            <ac:spMk id="1744" creationId="{395FCFC1-8742-45E7-872D-06F29D1FFF90}"/>
          </ac:spMkLst>
        </pc:spChg>
        <pc:spChg chg="add del mod">
          <ac:chgData name="Kebba Jeng" userId="fe4cc296-ba7d-48a2-8799-89b58d218255" providerId="ADAL" clId="{388EFDEE-447E-42B4-98EF-30C01AB2E8CD}" dt="2022-03-28T17:57:14.375" v="2273"/>
          <ac:spMkLst>
            <pc:docMk/>
            <pc:sldMk cId="0" sldId="261"/>
            <ac:spMk id="1745" creationId="{AEC0F035-C28C-4F0F-B587-164E29D1F6B2}"/>
          </ac:spMkLst>
        </pc:spChg>
        <pc:spChg chg="add del mod">
          <ac:chgData name="Kebba Jeng" userId="fe4cc296-ba7d-48a2-8799-89b58d218255" providerId="ADAL" clId="{388EFDEE-447E-42B4-98EF-30C01AB2E8CD}" dt="2022-03-28T17:57:14.375" v="2273"/>
          <ac:spMkLst>
            <pc:docMk/>
            <pc:sldMk cId="0" sldId="261"/>
            <ac:spMk id="1746" creationId="{C724F1F2-223D-47B9-BE9B-2C68ABD29A76}"/>
          </ac:spMkLst>
        </pc:spChg>
        <pc:spChg chg="add del mod">
          <ac:chgData name="Kebba Jeng" userId="fe4cc296-ba7d-48a2-8799-89b58d218255" providerId="ADAL" clId="{388EFDEE-447E-42B4-98EF-30C01AB2E8CD}" dt="2022-03-28T17:57:14.375" v="2273"/>
          <ac:spMkLst>
            <pc:docMk/>
            <pc:sldMk cId="0" sldId="261"/>
            <ac:spMk id="1747" creationId="{54770A8A-E9EA-4F8A-A9C5-EF13C1418C8D}"/>
          </ac:spMkLst>
        </pc:spChg>
        <pc:spChg chg="add del mod">
          <ac:chgData name="Kebba Jeng" userId="fe4cc296-ba7d-48a2-8799-89b58d218255" providerId="ADAL" clId="{388EFDEE-447E-42B4-98EF-30C01AB2E8CD}" dt="2022-03-28T17:57:14.375" v="2273"/>
          <ac:spMkLst>
            <pc:docMk/>
            <pc:sldMk cId="0" sldId="261"/>
            <ac:spMk id="1748" creationId="{F80E4619-96AD-4FEB-9D5E-36A995E6D915}"/>
          </ac:spMkLst>
        </pc:spChg>
        <pc:spChg chg="add del mod">
          <ac:chgData name="Kebba Jeng" userId="fe4cc296-ba7d-48a2-8799-89b58d218255" providerId="ADAL" clId="{388EFDEE-447E-42B4-98EF-30C01AB2E8CD}" dt="2022-03-28T17:57:14.375" v="2273"/>
          <ac:spMkLst>
            <pc:docMk/>
            <pc:sldMk cId="0" sldId="261"/>
            <ac:spMk id="1749" creationId="{10FDA14E-BF9A-407F-8C4A-E42A4FA1CFE9}"/>
          </ac:spMkLst>
        </pc:spChg>
        <pc:spChg chg="add del mod">
          <ac:chgData name="Kebba Jeng" userId="fe4cc296-ba7d-48a2-8799-89b58d218255" providerId="ADAL" clId="{388EFDEE-447E-42B4-98EF-30C01AB2E8CD}" dt="2022-03-28T17:57:14.375" v="2273"/>
          <ac:spMkLst>
            <pc:docMk/>
            <pc:sldMk cId="0" sldId="261"/>
            <ac:spMk id="1750" creationId="{3A633F65-D954-49CF-8430-276A5C9ECB40}"/>
          </ac:spMkLst>
        </pc:spChg>
        <pc:spChg chg="add del mod">
          <ac:chgData name="Kebba Jeng" userId="fe4cc296-ba7d-48a2-8799-89b58d218255" providerId="ADAL" clId="{388EFDEE-447E-42B4-98EF-30C01AB2E8CD}" dt="2022-03-28T17:57:14.375" v="2273"/>
          <ac:spMkLst>
            <pc:docMk/>
            <pc:sldMk cId="0" sldId="261"/>
            <ac:spMk id="1751" creationId="{850A052E-92C6-4C86-B729-B17B8CA9A4F0}"/>
          </ac:spMkLst>
        </pc:spChg>
        <pc:spChg chg="add del mod">
          <ac:chgData name="Kebba Jeng" userId="fe4cc296-ba7d-48a2-8799-89b58d218255" providerId="ADAL" clId="{388EFDEE-447E-42B4-98EF-30C01AB2E8CD}" dt="2022-03-28T17:57:14.375" v="2273"/>
          <ac:spMkLst>
            <pc:docMk/>
            <pc:sldMk cId="0" sldId="261"/>
            <ac:spMk id="1752" creationId="{2C09CAD5-BFE2-496C-BF44-E6AC017BF49F}"/>
          </ac:spMkLst>
        </pc:spChg>
        <pc:spChg chg="add del mod">
          <ac:chgData name="Kebba Jeng" userId="fe4cc296-ba7d-48a2-8799-89b58d218255" providerId="ADAL" clId="{388EFDEE-447E-42B4-98EF-30C01AB2E8CD}" dt="2022-03-28T17:57:14.375" v="2273"/>
          <ac:spMkLst>
            <pc:docMk/>
            <pc:sldMk cId="0" sldId="261"/>
            <ac:spMk id="1753" creationId="{114BDA72-AD09-4DB1-8C8B-DAFD9623D769}"/>
          </ac:spMkLst>
        </pc:spChg>
        <pc:spChg chg="add del mod">
          <ac:chgData name="Kebba Jeng" userId="fe4cc296-ba7d-48a2-8799-89b58d218255" providerId="ADAL" clId="{388EFDEE-447E-42B4-98EF-30C01AB2E8CD}" dt="2022-03-28T17:57:14.375" v="2273"/>
          <ac:spMkLst>
            <pc:docMk/>
            <pc:sldMk cId="0" sldId="261"/>
            <ac:spMk id="1754" creationId="{E5DF0470-7940-49E6-BAAA-25CC25DB1C7E}"/>
          </ac:spMkLst>
        </pc:spChg>
        <pc:spChg chg="add del mod">
          <ac:chgData name="Kebba Jeng" userId="fe4cc296-ba7d-48a2-8799-89b58d218255" providerId="ADAL" clId="{388EFDEE-447E-42B4-98EF-30C01AB2E8CD}" dt="2022-03-28T17:57:14.375" v="2273"/>
          <ac:spMkLst>
            <pc:docMk/>
            <pc:sldMk cId="0" sldId="261"/>
            <ac:spMk id="1755" creationId="{5D929C04-DC51-4E3D-BF7D-4D51A3636D7A}"/>
          </ac:spMkLst>
        </pc:spChg>
        <pc:spChg chg="add del mod">
          <ac:chgData name="Kebba Jeng" userId="fe4cc296-ba7d-48a2-8799-89b58d218255" providerId="ADAL" clId="{388EFDEE-447E-42B4-98EF-30C01AB2E8CD}" dt="2022-03-28T17:57:14.375" v="2273"/>
          <ac:spMkLst>
            <pc:docMk/>
            <pc:sldMk cId="0" sldId="261"/>
            <ac:spMk id="1756" creationId="{79BC68F9-71E1-4ED8-BB03-22AC254B49C2}"/>
          </ac:spMkLst>
        </pc:spChg>
        <pc:spChg chg="add del mod">
          <ac:chgData name="Kebba Jeng" userId="fe4cc296-ba7d-48a2-8799-89b58d218255" providerId="ADAL" clId="{388EFDEE-447E-42B4-98EF-30C01AB2E8CD}" dt="2022-03-28T17:57:14.375" v="2273"/>
          <ac:spMkLst>
            <pc:docMk/>
            <pc:sldMk cId="0" sldId="261"/>
            <ac:spMk id="1757" creationId="{F4EF3020-AA10-45C3-8B37-40E6EAC3DBAD}"/>
          </ac:spMkLst>
        </pc:spChg>
        <pc:spChg chg="add del mod">
          <ac:chgData name="Kebba Jeng" userId="fe4cc296-ba7d-48a2-8799-89b58d218255" providerId="ADAL" clId="{388EFDEE-447E-42B4-98EF-30C01AB2E8CD}" dt="2022-03-28T17:57:14.375" v="2273"/>
          <ac:spMkLst>
            <pc:docMk/>
            <pc:sldMk cId="0" sldId="261"/>
            <ac:spMk id="1758" creationId="{60E4E7EC-E5B3-4930-B13A-B62382DD4EC7}"/>
          </ac:spMkLst>
        </pc:spChg>
        <pc:spChg chg="add del mod">
          <ac:chgData name="Kebba Jeng" userId="fe4cc296-ba7d-48a2-8799-89b58d218255" providerId="ADAL" clId="{388EFDEE-447E-42B4-98EF-30C01AB2E8CD}" dt="2022-03-28T17:57:14.375" v="2273"/>
          <ac:spMkLst>
            <pc:docMk/>
            <pc:sldMk cId="0" sldId="261"/>
            <ac:spMk id="1759" creationId="{679466F8-1F81-42B5-BCDE-762A8FBD3ED2}"/>
          </ac:spMkLst>
        </pc:spChg>
        <pc:spChg chg="add del mod">
          <ac:chgData name="Kebba Jeng" userId="fe4cc296-ba7d-48a2-8799-89b58d218255" providerId="ADAL" clId="{388EFDEE-447E-42B4-98EF-30C01AB2E8CD}" dt="2022-03-28T17:57:14.375" v="2273"/>
          <ac:spMkLst>
            <pc:docMk/>
            <pc:sldMk cId="0" sldId="261"/>
            <ac:spMk id="1760" creationId="{5B02D671-FA43-4DB0-B951-CB06F0F13181}"/>
          </ac:spMkLst>
        </pc:spChg>
        <pc:spChg chg="add del mod">
          <ac:chgData name="Kebba Jeng" userId="fe4cc296-ba7d-48a2-8799-89b58d218255" providerId="ADAL" clId="{388EFDEE-447E-42B4-98EF-30C01AB2E8CD}" dt="2022-03-28T17:57:14.375" v="2273"/>
          <ac:spMkLst>
            <pc:docMk/>
            <pc:sldMk cId="0" sldId="261"/>
            <ac:spMk id="1761" creationId="{52E22C64-7732-4E5E-806C-F38DFC489F63}"/>
          </ac:spMkLst>
        </pc:spChg>
        <pc:spChg chg="add del mod">
          <ac:chgData name="Kebba Jeng" userId="fe4cc296-ba7d-48a2-8799-89b58d218255" providerId="ADAL" clId="{388EFDEE-447E-42B4-98EF-30C01AB2E8CD}" dt="2022-03-28T17:57:14.375" v="2273"/>
          <ac:spMkLst>
            <pc:docMk/>
            <pc:sldMk cId="0" sldId="261"/>
            <ac:spMk id="1762" creationId="{D3701F4B-7B84-49C7-AD3E-0BB4C44CFF6B}"/>
          </ac:spMkLst>
        </pc:spChg>
        <pc:spChg chg="add del mod">
          <ac:chgData name="Kebba Jeng" userId="fe4cc296-ba7d-48a2-8799-89b58d218255" providerId="ADAL" clId="{388EFDEE-447E-42B4-98EF-30C01AB2E8CD}" dt="2022-03-28T17:57:14.375" v="2273"/>
          <ac:spMkLst>
            <pc:docMk/>
            <pc:sldMk cId="0" sldId="261"/>
            <ac:spMk id="1763" creationId="{4B441054-62F7-4625-9C9D-72B8B4365BED}"/>
          </ac:spMkLst>
        </pc:spChg>
        <pc:spChg chg="add del mod">
          <ac:chgData name="Kebba Jeng" userId="fe4cc296-ba7d-48a2-8799-89b58d218255" providerId="ADAL" clId="{388EFDEE-447E-42B4-98EF-30C01AB2E8CD}" dt="2022-03-28T17:57:14.375" v="2273"/>
          <ac:spMkLst>
            <pc:docMk/>
            <pc:sldMk cId="0" sldId="261"/>
            <ac:spMk id="1764" creationId="{81231543-C5E8-4B91-B575-ACDF93BB4E50}"/>
          </ac:spMkLst>
        </pc:spChg>
        <pc:spChg chg="add del mod">
          <ac:chgData name="Kebba Jeng" userId="fe4cc296-ba7d-48a2-8799-89b58d218255" providerId="ADAL" clId="{388EFDEE-447E-42B4-98EF-30C01AB2E8CD}" dt="2022-03-28T17:57:14.375" v="2273"/>
          <ac:spMkLst>
            <pc:docMk/>
            <pc:sldMk cId="0" sldId="261"/>
            <ac:spMk id="1765" creationId="{E6819FA2-4BAF-4EDD-868B-335A80017C08}"/>
          </ac:spMkLst>
        </pc:spChg>
        <pc:spChg chg="add del mod">
          <ac:chgData name="Kebba Jeng" userId="fe4cc296-ba7d-48a2-8799-89b58d218255" providerId="ADAL" clId="{388EFDEE-447E-42B4-98EF-30C01AB2E8CD}" dt="2022-03-28T17:57:14.375" v="2273"/>
          <ac:spMkLst>
            <pc:docMk/>
            <pc:sldMk cId="0" sldId="261"/>
            <ac:spMk id="1766" creationId="{E0A79CB3-8F8A-43AF-AE20-61FF2B2B6BB4}"/>
          </ac:spMkLst>
        </pc:spChg>
        <pc:spChg chg="add del mod">
          <ac:chgData name="Kebba Jeng" userId="fe4cc296-ba7d-48a2-8799-89b58d218255" providerId="ADAL" clId="{388EFDEE-447E-42B4-98EF-30C01AB2E8CD}" dt="2022-03-28T17:57:14.375" v="2273"/>
          <ac:spMkLst>
            <pc:docMk/>
            <pc:sldMk cId="0" sldId="261"/>
            <ac:spMk id="1767" creationId="{1218E3D0-9EB6-4729-ABB3-C2604750B860}"/>
          </ac:spMkLst>
        </pc:spChg>
        <pc:spChg chg="add del mod">
          <ac:chgData name="Kebba Jeng" userId="fe4cc296-ba7d-48a2-8799-89b58d218255" providerId="ADAL" clId="{388EFDEE-447E-42B4-98EF-30C01AB2E8CD}" dt="2022-03-28T17:57:14.375" v="2273"/>
          <ac:spMkLst>
            <pc:docMk/>
            <pc:sldMk cId="0" sldId="261"/>
            <ac:spMk id="1768" creationId="{78EEC412-9F3A-4562-83F6-839D8E7738D2}"/>
          </ac:spMkLst>
        </pc:spChg>
        <pc:spChg chg="add del mod">
          <ac:chgData name="Kebba Jeng" userId="fe4cc296-ba7d-48a2-8799-89b58d218255" providerId="ADAL" clId="{388EFDEE-447E-42B4-98EF-30C01AB2E8CD}" dt="2022-03-28T17:57:14.375" v="2273"/>
          <ac:spMkLst>
            <pc:docMk/>
            <pc:sldMk cId="0" sldId="261"/>
            <ac:spMk id="1769" creationId="{6FEC0E40-B55E-426D-B1C8-FD127E88E59D}"/>
          </ac:spMkLst>
        </pc:spChg>
        <pc:spChg chg="add del mod">
          <ac:chgData name="Kebba Jeng" userId="fe4cc296-ba7d-48a2-8799-89b58d218255" providerId="ADAL" clId="{388EFDEE-447E-42B4-98EF-30C01AB2E8CD}" dt="2022-03-28T17:57:14.375" v="2273"/>
          <ac:spMkLst>
            <pc:docMk/>
            <pc:sldMk cId="0" sldId="261"/>
            <ac:spMk id="1770" creationId="{9A49BBEC-D66B-46CC-868B-A43E198332D3}"/>
          </ac:spMkLst>
        </pc:spChg>
        <pc:spChg chg="add del mod">
          <ac:chgData name="Kebba Jeng" userId="fe4cc296-ba7d-48a2-8799-89b58d218255" providerId="ADAL" clId="{388EFDEE-447E-42B4-98EF-30C01AB2E8CD}" dt="2022-03-28T17:57:14.375" v="2273"/>
          <ac:spMkLst>
            <pc:docMk/>
            <pc:sldMk cId="0" sldId="261"/>
            <ac:spMk id="1771" creationId="{C845338E-B155-4F7D-82D3-869098AD08DE}"/>
          </ac:spMkLst>
        </pc:spChg>
        <pc:spChg chg="add del mod">
          <ac:chgData name="Kebba Jeng" userId="fe4cc296-ba7d-48a2-8799-89b58d218255" providerId="ADAL" clId="{388EFDEE-447E-42B4-98EF-30C01AB2E8CD}" dt="2022-03-28T17:57:14.375" v="2273"/>
          <ac:spMkLst>
            <pc:docMk/>
            <pc:sldMk cId="0" sldId="261"/>
            <ac:spMk id="1772" creationId="{1EBE75F3-00F1-457F-A715-66C774FCE166}"/>
          </ac:spMkLst>
        </pc:spChg>
        <pc:spChg chg="add del mod">
          <ac:chgData name="Kebba Jeng" userId="fe4cc296-ba7d-48a2-8799-89b58d218255" providerId="ADAL" clId="{388EFDEE-447E-42B4-98EF-30C01AB2E8CD}" dt="2022-03-28T17:57:14.375" v="2273"/>
          <ac:spMkLst>
            <pc:docMk/>
            <pc:sldMk cId="0" sldId="261"/>
            <ac:spMk id="1773" creationId="{06579914-A01C-476A-AC34-F6CF2449EAAA}"/>
          </ac:spMkLst>
        </pc:spChg>
        <pc:spChg chg="add del mod">
          <ac:chgData name="Kebba Jeng" userId="fe4cc296-ba7d-48a2-8799-89b58d218255" providerId="ADAL" clId="{388EFDEE-447E-42B4-98EF-30C01AB2E8CD}" dt="2022-03-28T17:57:14.375" v="2273"/>
          <ac:spMkLst>
            <pc:docMk/>
            <pc:sldMk cId="0" sldId="261"/>
            <ac:spMk id="1774" creationId="{8BE4AD5E-DA35-4735-B6A8-C08E80B30FB4}"/>
          </ac:spMkLst>
        </pc:spChg>
        <pc:spChg chg="add del mod">
          <ac:chgData name="Kebba Jeng" userId="fe4cc296-ba7d-48a2-8799-89b58d218255" providerId="ADAL" clId="{388EFDEE-447E-42B4-98EF-30C01AB2E8CD}" dt="2022-03-28T17:57:14.375" v="2273"/>
          <ac:spMkLst>
            <pc:docMk/>
            <pc:sldMk cId="0" sldId="261"/>
            <ac:spMk id="1775" creationId="{8546C429-D41E-4D98-81A9-EF2063B97524}"/>
          </ac:spMkLst>
        </pc:spChg>
        <pc:spChg chg="add del mod">
          <ac:chgData name="Kebba Jeng" userId="fe4cc296-ba7d-48a2-8799-89b58d218255" providerId="ADAL" clId="{388EFDEE-447E-42B4-98EF-30C01AB2E8CD}" dt="2022-03-28T17:57:14.375" v="2273"/>
          <ac:spMkLst>
            <pc:docMk/>
            <pc:sldMk cId="0" sldId="261"/>
            <ac:spMk id="1776" creationId="{B597C46A-58F2-4C68-83A7-50F3B05A02E9}"/>
          </ac:spMkLst>
        </pc:spChg>
        <pc:spChg chg="add del mod">
          <ac:chgData name="Kebba Jeng" userId="fe4cc296-ba7d-48a2-8799-89b58d218255" providerId="ADAL" clId="{388EFDEE-447E-42B4-98EF-30C01AB2E8CD}" dt="2022-03-28T17:57:14.375" v="2273"/>
          <ac:spMkLst>
            <pc:docMk/>
            <pc:sldMk cId="0" sldId="261"/>
            <ac:spMk id="1777" creationId="{4DBD9A62-6F25-4757-A3F5-EB91B30B83BB}"/>
          </ac:spMkLst>
        </pc:spChg>
        <pc:spChg chg="add del mod">
          <ac:chgData name="Kebba Jeng" userId="fe4cc296-ba7d-48a2-8799-89b58d218255" providerId="ADAL" clId="{388EFDEE-447E-42B4-98EF-30C01AB2E8CD}" dt="2022-03-28T17:57:14.375" v="2273"/>
          <ac:spMkLst>
            <pc:docMk/>
            <pc:sldMk cId="0" sldId="261"/>
            <ac:spMk id="1778" creationId="{3B05DBB6-72BE-4E44-81B1-17D58EA57692}"/>
          </ac:spMkLst>
        </pc:spChg>
        <pc:spChg chg="add del mod">
          <ac:chgData name="Kebba Jeng" userId="fe4cc296-ba7d-48a2-8799-89b58d218255" providerId="ADAL" clId="{388EFDEE-447E-42B4-98EF-30C01AB2E8CD}" dt="2022-03-28T17:57:14.375" v="2273"/>
          <ac:spMkLst>
            <pc:docMk/>
            <pc:sldMk cId="0" sldId="261"/>
            <ac:spMk id="1779" creationId="{6BAFFC01-0839-4AF8-A55D-5E1D56FC5081}"/>
          </ac:spMkLst>
        </pc:spChg>
        <pc:spChg chg="add del mod">
          <ac:chgData name="Kebba Jeng" userId="fe4cc296-ba7d-48a2-8799-89b58d218255" providerId="ADAL" clId="{388EFDEE-447E-42B4-98EF-30C01AB2E8CD}" dt="2022-03-28T17:57:14.375" v="2273"/>
          <ac:spMkLst>
            <pc:docMk/>
            <pc:sldMk cId="0" sldId="261"/>
            <ac:spMk id="1780" creationId="{512430A2-BA2F-4B97-BBAA-DB59A33EC1D9}"/>
          </ac:spMkLst>
        </pc:spChg>
        <pc:spChg chg="add del mod">
          <ac:chgData name="Kebba Jeng" userId="fe4cc296-ba7d-48a2-8799-89b58d218255" providerId="ADAL" clId="{388EFDEE-447E-42B4-98EF-30C01AB2E8CD}" dt="2022-03-28T17:57:14.375" v="2273"/>
          <ac:spMkLst>
            <pc:docMk/>
            <pc:sldMk cId="0" sldId="261"/>
            <ac:spMk id="1781" creationId="{46372057-B315-40C9-BA93-3D822F3AAA84}"/>
          </ac:spMkLst>
        </pc:spChg>
        <pc:spChg chg="add del mod">
          <ac:chgData name="Kebba Jeng" userId="fe4cc296-ba7d-48a2-8799-89b58d218255" providerId="ADAL" clId="{388EFDEE-447E-42B4-98EF-30C01AB2E8CD}" dt="2022-03-28T17:57:14.375" v="2273"/>
          <ac:spMkLst>
            <pc:docMk/>
            <pc:sldMk cId="0" sldId="261"/>
            <ac:spMk id="1782" creationId="{CFEB78A5-2369-4EE9-9EDC-47F173A30CA6}"/>
          </ac:spMkLst>
        </pc:spChg>
        <pc:spChg chg="add del mod">
          <ac:chgData name="Kebba Jeng" userId="fe4cc296-ba7d-48a2-8799-89b58d218255" providerId="ADAL" clId="{388EFDEE-447E-42B4-98EF-30C01AB2E8CD}" dt="2022-03-28T17:57:14.375" v="2273"/>
          <ac:spMkLst>
            <pc:docMk/>
            <pc:sldMk cId="0" sldId="261"/>
            <ac:spMk id="1783" creationId="{7B808EF3-D035-4299-A751-A72F150484E5}"/>
          </ac:spMkLst>
        </pc:spChg>
        <pc:spChg chg="add del mod">
          <ac:chgData name="Kebba Jeng" userId="fe4cc296-ba7d-48a2-8799-89b58d218255" providerId="ADAL" clId="{388EFDEE-447E-42B4-98EF-30C01AB2E8CD}" dt="2022-03-28T17:57:14.375" v="2273"/>
          <ac:spMkLst>
            <pc:docMk/>
            <pc:sldMk cId="0" sldId="261"/>
            <ac:spMk id="1784" creationId="{CAA59FE1-242C-46FF-A8BF-3B37B92BEBB0}"/>
          </ac:spMkLst>
        </pc:spChg>
        <pc:spChg chg="add del mod">
          <ac:chgData name="Kebba Jeng" userId="fe4cc296-ba7d-48a2-8799-89b58d218255" providerId="ADAL" clId="{388EFDEE-447E-42B4-98EF-30C01AB2E8CD}" dt="2022-03-28T17:57:14.375" v="2273"/>
          <ac:spMkLst>
            <pc:docMk/>
            <pc:sldMk cId="0" sldId="261"/>
            <ac:spMk id="1785" creationId="{FD00F3EA-1DD2-4256-A0C1-D2D14B3278C2}"/>
          </ac:spMkLst>
        </pc:spChg>
        <pc:spChg chg="add del mod">
          <ac:chgData name="Kebba Jeng" userId="fe4cc296-ba7d-48a2-8799-89b58d218255" providerId="ADAL" clId="{388EFDEE-447E-42B4-98EF-30C01AB2E8CD}" dt="2022-03-28T17:57:14.375" v="2273"/>
          <ac:spMkLst>
            <pc:docMk/>
            <pc:sldMk cId="0" sldId="261"/>
            <ac:spMk id="1786" creationId="{BF20B34F-176D-4C1D-B41E-B896F27C500E}"/>
          </ac:spMkLst>
        </pc:spChg>
        <pc:spChg chg="add del mod">
          <ac:chgData name="Kebba Jeng" userId="fe4cc296-ba7d-48a2-8799-89b58d218255" providerId="ADAL" clId="{388EFDEE-447E-42B4-98EF-30C01AB2E8CD}" dt="2022-03-28T17:57:14.375" v="2273"/>
          <ac:spMkLst>
            <pc:docMk/>
            <pc:sldMk cId="0" sldId="261"/>
            <ac:spMk id="1787" creationId="{BA0C7EA8-6DD2-43B0-8A43-D45A85824D42}"/>
          </ac:spMkLst>
        </pc:spChg>
        <pc:spChg chg="add del mod">
          <ac:chgData name="Kebba Jeng" userId="fe4cc296-ba7d-48a2-8799-89b58d218255" providerId="ADAL" clId="{388EFDEE-447E-42B4-98EF-30C01AB2E8CD}" dt="2022-03-28T17:57:14.375" v="2273"/>
          <ac:spMkLst>
            <pc:docMk/>
            <pc:sldMk cId="0" sldId="261"/>
            <ac:spMk id="1788" creationId="{DA19FEA0-8239-45E8-BFAC-B847C4DD37AE}"/>
          </ac:spMkLst>
        </pc:spChg>
        <pc:spChg chg="add del mod">
          <ac:chgData name="Kebba Jeng" userId="fe4cc296-ba7d-48a2-8799-89b58d218255" providerId="ADAL" clId="{388EFDEE-447E-42B4-98EF-30C01AB2E8CD}" dt="2022-03-28T17:57:14.375" v="2273"/>
          <ac:spMkLst>
            <pc:docMk/>
            <pc:sldMk cId="0" sldId="261"/>
            <ac:spMk id="1789" creationId="{03E51DF8-9209-443E-A6A9-4F60B19A894F}"/>
          </ac:spMkLst>
        </pc:spChg>
        <pc:spChg chg="add del mod">
          <ac:chgData name="Kebba Jeng" userId="fe4cc296-ba7d-48a2-8799-89b58d218255" providerId="ADAL" clId="{388EFDEE-447E-42B4-98EF-30C01AB2E8CD}" dt="2022-03-28T17:57:14.375" v="2273"/>
          <ac:spMkLst>
            <pc:docMk/>
            <pc:sldMk cId="0" sldId="261"/>
            <ac:spMk id="1790" creationId="{DC6833B7-1E7C-4EB3-B07C-2F9EB42937F0}"/>
          </ac:spMkLst>
        </pc:spChg>
        <pc:spChg chg="add del mod">
          <ac:chgData name="Kebba Jeng" userId="fe4cc296-ba7d-48a2-8799-89b58d218255" providerId="ADAL" clId="{388EFDEE-447E-42B4-98EF-30C01AB2E8CD}" dt="2022-03-28T17:57:14.375" v="2273"/>
          <ac:spMkLst>
            <pc:docMk/>
            <pc:sldMk cId="0" sldId="261"/>
            <ac:spMk id="1791" creationId="{D419DFB8-4C9E-4994-8D39-AAD06A246547}"/>
          </ac:spMkLst>
        </pc:spChg>
        <pc:spChg chg="add del mod">
          <ac:chgData name="Kebba Jeng" userId="fe4cc296-ba7d-48a2-8799-89b58d218255" providerId="ADAL" clId="{388EFDEE-447E-42B4-98EF-30C01AB2E8CD}" dt="2022-03-28T17:57:14.375" v="2273"/>
          <ac:spMkLst>
            <pc:docMk/>
            <pc:sldMk cId="0" sldId="261"/>
            <ac:spMk id="1792" creationId="{47D7B1CD-E417-406C-A5BC-B2E896011FCF}"/>
          </ac:spMkLst>
        </pc:spChg>
        <pc:spChg chg="add del mod">
          <ac:chgData name="Kebba Jeng" userId="fe4cc296-ba7d-48a2-8799-89b58d218255" providerId="ADAL" clId="{388EFDEE-447E-42B4-98EF-30C01AB2E8CD}" dt="2022-03-28T17:57:14.375" v="2273"/>
          <ac:spMkLst>
            <pc:docMk/>
            <pc:sldMk cId="0" sldId="261"/>
            <ac:spMk id="1793" creationId="{B4D6ADDC-03D6-44B8-8A36-8AB972B7C4AC}"/>
          </ac:spMkLst>
        </pc:spChg>
        <pc:spChg chg="add del mod">
          <ac:chgData name="Kebba Jeng" userId="fe4cc296-ba7d-48a2-8799-89b58d218255" providerId="ADAL" clId="{388EFDEE-447E-42B4-98EF-30C01AB2E8CD}" dt="2022-03-28T17:57:14.375" v="2273"/>
          <ac:spMkLst>
            <pc:docMk/>
            <pc:sldMk cId="0" sldId="261"/>
            <ac:spMk id="1794" creationId="{A3E570EB-9A38-4F6C-96F0-CB40BB31FDD9}"/>
          </ac:spMkLst>
        </pc:spChg>
        <pc:spChg chg="add del mod">
          <ac:chgData name="Kebba Jeng" userId="fe4cc296-ba7d-48a2-8799-89b58d218255" providerId="ADAL" clId="{388EFDEE-447E-42B4-98EF-30C01AB2E8CD}" dt="2022-03-28T17:57:14.375" v="2273"/>
          <ac:spMkLst>
            <pc:docMk/>
            <pc:sldMk cId="0" sldId="261"/>
            <ac:spMk id="1795" creationId="{E0A6BD80-942C-4108-B8B0-697C035E9541}"/>
          </ac:spMkLst>
        </pc:spChg>
        <pc:spChg chg="add del mod">
          <ac:chgData name="Kebba Jeng" userId="fe4cc296-ba7d-48a2-8799-89b58d218255" providerId="ADAL" clId="{388EFDEE-447E-42B4-98EF-30C01AB2E8CD}" dt="2022-03-28T17:57:14.375" v="2273"/>
          <ac:spMkLst>
            <pc:docMk/>
            <pc:sldMk cId="0" sldId="261"/>
            <ac:spMk id="1796" creationId="{1E824D44-6E52-4263-8598-277FD0F832E4}"/>
          </ac:spMkLst>
        </pc:spChg>
        <pc:spChg chg="add del mod">
          <ac:chgData name="Kebba Jeng" userId="fe4cc296-ba7d-48a2-8799-89b58d218255" providerId="ADAL" clId="{388EFDEE-447E-42B4-98EF-30C01AB2E8CD}" dt="2022-03-28T17:57:14.375" v="2273"/>
          <ac:spMkLst>
            <pc:docMk/>
            <pc:sldMk cId="0" sldId="261"/>
            <ac:spMk id="1797" creationId="{799C0712-8C69-4CEE-8FE5-D0A2A89230C8}"/>
          </ac:spMkLst>
        </pc:spChg>
        <pc:spChg chg="add del mod">
          <ac:chgData name="Kebba Jeng" userId="fe4cc296-ba7d-48a2-8799-89b58d218255" providerId="ADAL" clId="{388EFDEE-447E-42B4-98EF-30C01AB2E8CD}" dt="2022-03-28T17:57:14.375" v="2273"/>
          <ac:spMkLst>
            <pc:docMk/>
            <pc:sldMk cId="0" sldId="261"/>
            <ac:spMk id="1798" creationId="{D8D5E110-CD5C-4745-9F0E-F2D56A49A4DA}"/>
          </ac:spMkLst>
        </pc:spChg>
        <pc:spChg chg="add del mod">
          <ac:chgData name="Kebba Jeng" userId="fe4cc296-ba7d-48a2-8799-89b58d218255" providerId="ADAL" clId="{388EFDEE-447E-42B4-98EF-30C01AB2E8CD}" dt="2022-03-28T17:57:14.375" v="2273"/>
          <ac:spMkLst>
            <pc:docMk/>
            <pc:sldMk cId="0" sldId="261"/>
            <ac:spMk id="1799" creationId="{FCCE4096-3EAE-4FA6-A47F-2F3D38824CA9}"/>
          </ac:spMkLst>
        </pc:spChg>
        <pc:spChg chg="add del mod">
          <ac:chgData name="Kebba Jeng" userId="fe4cc296-ba7d-48a2-8799-89b58d218255" providerId="ADAL" clId="{388EFDEE-447E-42B4-98EF-30C01AB2E8CD}" dt="2022-03-28T17:57:14.375" v="2273"/>
          <ac:spMkLst>
            <pc:docMk/>
            <pc:sldMk cId="0" sldId="261"/>
            <ac:spMk id="1800" creationId="{DFBCF54A-B265-440E-A36C-B00A479097E8}"/>
          </ac:spMkLst>
        </pc:spChg>
        <pc:spChg chg="add del mod">
          <ac:chgData name="Kebba Jeng" userId="fe4cc296-ba7d-48a2-8799-89b58d218255" providerId="ADAL" clId="{388EFDEE-447E-42B4-98EF-30C01AB2E8CD}" dt="2022-03-28T17:57:14.375" v="2273"/>
          <ac:spMkLst>
            <pc:docMk/>
            <pc:sldMk cId="0" sldId="261"/>
            <ac:spMk id="1801" creationId="{B8C65ECE-227A-4E7D-B198-AA30B63E1587}"/>
          </ac:spMkLst>
        </pc:spChg>
        <pc:spChg chg="add del mod">
          <ac:chgData name="Kebba Jeng" userId="fe4cc296-ba7d-48a2-8799-89b58d218255" providerId="ADAL" clId="{388EFDEE-447E-42B4-98EF-30C01AB2E8CD}" dt="2022-03-28T17:57:14.375" v="2273"/>
          <ac:spMkLst>
            <pc:docMk/>
            <pc:sldMk cId="0" sldId="261"/>
            <ac:spMk id="1802" creationId="{7DE6F8C0-1BD4-4564-BC7F-8BF2B33B4085}"/>
          </ac:spMkLst>
        </pc:spChg>
        <pc:spChg chg="add del mod">
          <ac:chgData name="Kebba Jeng" userId="fe4cc296-ba7d-48a2-8799-89b58d218255" providerId="ADAL" clId="{388EFDEE-447E-42B4-98EF-30C01AB2E8CD}" dt="2022-03-28T17:57:14.375" v="2273"/>
          <ac:spMkLst>
            <pc:docMk/>
            <pc:sldMk cId="0" sldId="261"/>
            <ac:spMk id="1803" creationId="{C451BA88-7834-4FB3-8906-D6BFBC01E282}"/>
          </ac:spMkLst>
        </pc:spChg>
        <pc:spChg chg="add del mod">
          <ac:chgData name="Kebba Jeng" userId="fe4cc296-ba7d-48a2-8799-89b58d218255" providerId="ADAL" clId="{388EFDEE-447E-42B4-98EF-30C01AB2E8CD}" dt="2022-03-28T17:57:14.375" v="2273"/>
          <ac:spMkLst>
            <pc:docMk/>
            <pc:sldMk cId="0" sldId="261"/>
            <ac:spMk id="1804" creationId="{37B5A2B3-0806-4EA3-8C91-973546D60B98}"/>
          </ac:spMkLst>
        </pc:spChg>
        <pc:spChg chg="add del mod">
          <ac:chgData name="Kebba Jeng" userId="fe4cc296-ba7d-48a2-8799-89b58d218255" providerId="ADAL" clId="{388EFDEE-447E-42B4-98EF-30C01AB2E8CD}" dt="2022-03-28T17:57:14.375" v="2273"/>
          <ac:spMkLst>
            <pc:docMk/>
            <pc:sldMk cId="0" sldId="261"/>
            <ac:spMk id="1805" creationId="{85AA5077-12BE-48E1-8934-502D5476BC69}"/>
          </ac:spMkLst>
        </pc:spChg>
        <pc:spChg chg="add del mod">
          <ac:chgData name="Kebba Jeng" userId="fe4cc296-ba7d-48a2-8799-89b58d218255" providerId="ADAL" clId="{388EFDEE-447E-42B4-98EF-30C01AB2E8CD}" dt="2022-03-28T17:57:14.375" v="2273"/>
          <ac:spMkLst>
            <pc:docMk/>
            <pc:sldMk cId="0" sldId="261"/>
            <ac:spMk id="1806" creationId="{FD8B7D84-C0C3-494C-A864-CCCE5CA0FA80}"/>
          </ac:spMkLst>
        </pc:spChg>
        <pc:spChg chg="add del mod">
          <ac:chgData name="Kebba Jeng" userId="fe4cc296-ba7d-48a2-8799-89b58d218255" providerId="ADAL" clId="{388EFDEE-447E-42B4-98EF-30C01AB2E8CD}" dt="2022-03-28T17:57:14.375" v="2273"/>
          <ac:spMkLst>
            <pc:docMk/>
            <pc:sldMk cId="0" sldId="261"/>
            <ac:spMk id="1807" creationId="{3F79E143-A64D-41F2-BDE8-DE223E824494}"/>
          </ac:spMkLst>
        </pc:spChg>
        <pc:spChg chg="add del mod">
          <ac:chgData name="Kebba Jeng" userId="fe4cc296-ba7d-48a2-8799-89b58d218255" providerId="ADAL" clId="{388EFDEE-447E-42B4-98EF-30C01AB2E8CD}" dt="2022-03-28T17:57:14.375" v="2273"/>
          <ac:spMkLst>
            <pc:docMk/>
            <pc:sldMk cId="0" sldId="261"/>
            <ac:spMk id="1808" creationId="{868D7B4D-EF3B-4F89-AF14-D4F125E54EB2}"/>
          </ac:spMkLst>
        </pc:spChg>
        <pc:spChg chg="add del mod">
          <ac:chgData name="Kebba Jeng" userId="fe4cc296-ba7d-48a2-8799-89b58d218255" providerId="ADAL" clId="{388EFDEE-447E-42B4-98EF-30C01AB2E8CD}" dt="2022-03-28T17:57:14.375" v="2273"/>
          <ac:spMkLst>
            <pc:docMk/>
            <pc:sldMk cId="0" sldId="261"/>
            <ac:spMk id="1809" creationId="{F7ACB74E-61AF-4436-BF41-3A156267E3AC}"/>
          </ac:spMkLst>
        </pc:spChg>
        <pc:spChg chg="add del mod">
          <ac:chgData name="Kebba Jeng" userId="fe4cc296-ba7d-48a2-8799-89b58d218255" providerId="ADAL" clId="{388EFDEE-447E-42B4-98EF-30C01AB2E8CD}" dt="2022-03-28T17:57:14.375" v="2273"/>
          <ac:spMkLst>
            <pc:docMk/>
            <pc:sldMk cId="0" sldId="261"/>
            <ac:spMk id="1810" creationId="{2D192FBC-1BA4-4CAD-B536-74695AD69256}"/>
          </ac:spMkLst>
        </pc:spChg>
        <pc:spChg chg="add del mod">
          <ac:chgData name="Kebba Jeng" userId="fe4cc296-ba7d-48a2-8799-89b58d218255" providerId="ADAL" clId="{388EFDEE-447E-42B4-98EF-30C01AB2E8CD}" dt="2022-03-28T17:57:14.375" v="2273"/>
          <ac:spMkLst>
            <pc:docMk/>
            <pc:sldMk cId="0" sldId="261"/>
            <ac:spMk id="1811" creationId="{765F4072-D7C9-409B-8288-1610CF24527E}"/>
          </ac:spMkLst>
        </pc:spChg>
        <pc:spChg chg="add del mod">
          <ac:chgData name="Kebba Jeng" userId="fe4cc296-ba7d-48a2-8799-89b58d218255" providerId="ADAL" clId="{388EFDEE-447E-42B4-98EF-30C01AB2E8CD}" dt="2022-03-28T17:57:14.375" v="2273"/>
          <ac:spMkLst>
            <pc:docMk/>
            <pc:sldMk cId="0" sldId="261"/>
            <ac:spMk id="1812" creationId="{ABF6B91C-5B14-4ABA-928E-4421A8729CA3}"/>
          </ac:spMkLst>
        </pc:spChg>
        <pc:spChg chg="add del mod">
          <ac:chgData name="Kebba Jeng" userId="fe4cc296-ba7d-48a2-8799-89b58d218255" providerId="ADAL" clId="{388EFDEE-447E-42B4-98EF-30C01AB2E8CD}" dt="2022-03-28T17:57:14.375" v="2273"/>
          <ac:spMkLst>
            <pc:docMk/>
            <pc:sldMk cId="0" sldId="261"/>
            <ac:spMk id="1813" creationId="{8D0C5BE6-264B-47AC-B004-BA7EE4341852}"/>
          </ac:spMkLst>
        </pc:spChg>
        <pc:spChg chg="add del mod">
          <ac:chgData name="Kebba Jeng" userId="fe4cc296-ba7d-48a2-8799-89b58d218255" providerId="ADAL" clId="{388EFDEE-447E-42B4-98EF-30C01AB2E8CD}" dt="2022-03-28T17:57:14.375" v="2273"/>
          <ac:spMkLst>
            <pc:docMk/>
            <pc:sldMk cId="0" sldId="261"/>
            <ac:spMk id="1814" creationId="{31571536-6122-40B5-B0E6-387E8D0BC55C}"/>
          </ac:spMkLst>
        </pc:spChg>
        <pc:spChg chg="add del mod">
          <ac:chgData name="Kebba Jeng" userId="fe4cc296-ba7d-48a2-8799-89b58d218255" providerId="ADAL" clId="{388EFDEE-447E-42B4-98EF-30C01AB2E8CD}" dt="2022-03-28T17:57:14.375" v="2273"/>
          <ac:spMkLst>
            <pc:docMk/>
            <pc:sldMk cId="0" sldId="261"/>
            <ac:spMk id="1815" creationId="{FE4D9E60-17CE-4987-A725-513E4A07590A}"/>
          </ac:spMkLst>
        </pc:spChg>
        <pc:spChg chg="add del mod">
          <ac:chgData name="Kebba Jeng" userId="fe4cc296-ba7d-48a2-8799-89b58d218255" providerId="ADAL" clId="{388EFDEE-447E-42B4-98EF-30C01AB2E8CD}" dt="2022-03-28T17:57:14.375" v="2273"/>
          <ac:spMkLst>
            <pc:docMk/>
            <pc:sldMk cId="0" sldId="261"/>
            <ac:spMk id="1816" creationId="{A92F2DDE-4742-4C06-82D2-8749624F6473}"/>
          </ac:spMkLst>
        </pc:spChg>
        <pc:spChg chg="add del mod">
          <ac:chgData name="Kebba Jeng" userId="fe4cc296-ba7d-48a2-8799-89b58d218255" providerId="ADAL" clId="{388EFDEE-447E-42B4-98EF-30C01AB2E8CD}" dt="2022-03-28T17:57:14.375" v="2273"/>
          <ac:spMkLst>
            <pc:docMk/>
            <pc:sldMk cId="0" sldId="261"/>
            <ac:spMk id="1817" creationId="{7B3B93D1-1ACF-4E64-91EC-9358ABA68376}"/>
          </ac:spMkLst>
        </pc:spChg>
        <pc:spChg chg="add del mod">
          <ac:chgData name="Kebba Jeng" userId="fe4cc296-ba7d-48a2-8799-89b58d218255" providerId="ADAL" clId="{388EFDEE-447E-42B4-98EF-30C01AB2E8CD}" dt="2022-03-28T17:57:14.375" v="2273"/>
          <ac:spMkLst>
            <pc:docMk/>
            <pc:sldMk cId="0" sldId="261"/>
            <ac:spMk id="1818" creationId="{6AB159B9-0FC7-4346-AAA9-F0FCC38BB26C}"/>
          </ac:spMkLst>
        </pc:spChg>
        <pc:spChg chg="add del mod">
          <ac:chgData name="Kebba Jeng" userId="fe4cc296-ba7d-48a2-8799-89b58d218255" providerId="ADAL" clId="{388EFDEE-447E-42B4-98EF-30C01AB2E8CD}" dt="2022-03-28T17:57:14.375" v="2273"/>
          <ac:spMkLst>
            <pc:docMk/>
            <pc:sldMk cId="0" sldId="261"/>
            <ac:spMk id="1819" creationId="{EC2C0855-DD26-43D8-BC26-2FAC8E9436D7}"/>
          </ac:spMkLst>
        </pc:spChg>
        <pc:spChg chg="add del mod">
          <ac:chgData name="Kebba Jeng" userId="fe4cc296-ba7d-48a2-8799-89b58d218255" providerId="ADAL" clId="{388EFDEE-447E-42B4-98EF-30C01AB2E8CD}" dt="2022-03-28T17:57:14.375" v="2273"/>
          <ac:spMkLst>
            <pc:docMk/>
            <pc:sldMk cId="0" sldId="261"/>
            <ac:spMk id="1820" creationId="{6F4999BE-E9AE-41E4-825C-A4DF27D08650}"/>
          </ac:spMkLst>
        </pc:spChg>
        <pc:spChg chg="add del mod">
          <ac:chgData name="Kebba Jeng" userId="fe4cc296-ba7d-48a2-8799-89b58d218255" providerId="ADAL" clId="{388EFDEE-447E-42B4-98EF-30C01AB2E8CD}" dt="2022-03-28T17:57:14.375" v="2273"/>
          <ac:spMkLst>
            <pc:docMk/>
            <pc:sldMk cId="0" sldId="261"/>
            <ac:spMk id="1821" creationId="{40A93462-C6D5-403E-A68C-690F59A84672}"/>
          </ac:spMkLst>
        </pc:spChg>
        <pc:spChg chg="add del mod">
          <ac:chgData name="Kebba Jeng" userId="fe4cc296-ba7d-48a2-8799-89b58d218255" providerId="ADAL" clId="{388EFDEE-447E-42B4-98EF-30C01AB2E8CD}" dt="2022-03-28T17:57:14.375" v="2273"/>
          <ac:spMkLst>
            <pc:docMk/>
            <pc:sldMk cId="0" sldId="261"/>
            <ac:spMk id="1822" creationId="{05AF5DAC-BE03-4FA7-9A78-92AE38F81470}"/>
          </ac:spMkLst>
        </pc:spChg>
        <pc:spChg chg="add del mod">
          <ac:chgData name="Kebba Jeng" userId="fe4cc296-ba7d-48a2-8799-89b58d218255" providerId="ADAL" clId="{388EFDEE-447E-42B4-98EF-30C01AB2E8CD}" dt="2022-03-28T17:57:14.375" v="2273"/>
          <ac:spMkLst>
            <pc:docMk/>
            <pc:sldMk cId="0" sldId="261"/>
            <ac:spMk id="1823" creationId="{C975AEBC-655A-4BCD-9974-59C040ABA9B3}"/>
          </ac:spMkLst>
        </pc:spChg>
        <pc:spChg chg="add del mod">
          <ac:chgData name="Kebba Jeng" userId="fe4cc296-ba7d-48a2-8799-89b58d218255" providerId="ADAL" clId="{388EFDEE-447E-42B4-98EF-30C01AB2E8CD}" dt="2022-03-28T17:57:14.375" v="2273"/>
          <ac:spMkLst>
            <pc:docMk/>
            <pc:sldMk cId="0" sldId="261"/>
            <ac:spMk id="1824" creationId="{DB9328B1-280F-45AA-875B-EA8756283CF4}"/>
          </ac:spMkLst>
        </pc:spChg>
        <pc:spChg chg="add del mod">
          <ac:chgData name="Kebba Jeng" userId="fe4cc296-ba7d-48a2-8799-89b58d218255" providerId="ADAL" clId="{388EFDEE-447E-42B4-98EF-30C01AB2E8CD}" dt="2022-03-28T17:57:14.375" v="2273"/>
          <ac:spMkLst>
            <pc:docMk/>
            <pc:sldMk cId="0" sldId="261"/>
            <ac:spMk id="1825" creationId="{95909724-4DAF-45FF-BA55-6F3607F51BE0}"/>
          </ac:spMkLst>
        </pc:spChg>
        <pc:spChg chg="add del mod">
          <ac:chgData name="Kebba Jeng" userId="fe4cc296-ba7d-48a2-8799-89b58d218255" providerId="ADAL" clId="{388EFDEE-447E-42B4-98EF-30C01AB2E8CD}" dt="2022-03-28T17:57:14.375" v="2273"/>
          <ac:spMkLst>
            <pc:docMk/>
            <pc:sldMk cId="0" sldId="261"/>
            <ac:spMk id="1826" creationId="{8645A73B-7F77-4A48-8335-F7DA9ECA88DF}"/>
          </ac:spMkLst>
        </pc:spChg>
        <pc:spChg chg="add del mod">
          <ac:chgData name="Kebba Jeng" userId="fe4cc296-ba7d-48a2-8799-89b58d218255" providerId="ADAL" clId="{388EFDEE-447E-42B4-98EF-30C01AB2E8CD}" dt="2022-03-28T17:57:14.375" v="2273"/>
          <ac:spMkLst>
            <pc:docMk/>
            <pc:sldMk cId="0" sldId="261"/>
            <ac:spMk id="1827" creationId="{59B60376-39C0-4695-AEB5-C3186491AF1A}"/>
          </ac:spMkLst>
        </pc:spChg>
        <pc:spChg chg="add del mod">
          <ac:chgData name="Kebba Jeng" userId="fe4cc296-ba7d-48a2-8799-89b58d218255" providerId="ADAL" clId="{388EFDEE-447E-42B4-98EF-30C01AB2E8CD}" dt="2022-03-28T17:57:14.375" v="2273"/>
          <ac:spMkLst>
            <pc:docMk/>
            <pc:sldMk cId="0" sldId="261"/>
            <ac:spMk id="1828" creationId="{DB06F0EE-AA46-4B6E-8239-BD9FFA6F14AE}"/>
          </ac:spMkLst>
        </pc:spChg>
        <pc:spChg chg="add del mod">
          <ac:chgData name="Kebba Jeng" userId="fe4cc296-ba7d-48a2-8799-89b58d218255" providerId="ADAL" clId="{388EFDEE-447E-42B4-98EF-30C01AB2E8CD}" dt="2022-03-28T17:57:14.375" v="2273"/>
          <ac:spMkLst>
            <pc:docMk/>
            <pc:sldMk cId="0" sldId="261"/>
            <ac:spMk id="1829" creationId="{6EB98EED-BD01-49C3-A475-B9944E9DD770}"/>
          </ac:spMkLst>
        </pc:spChg>
        <pc:spChg chg="add del mod">
          <ac:chgData name="Kebba Jeng" userId="fe4cc296-ba7d-48a2-8799-89b58d218255" providerId="ADAL" clId="{388EFDEE-447E-42B4-98EF-30C01AB2E8CD}" dt="2022-03-28T17:57:14.375" v="2273"/>
          <ac:spMkLst>
            <pc:docMk/>
            <pc:sldMk cId="0" sldId="261"/>
            <ac:spMk id="1830" creationId="{CBCA2221-98E4-4DDA-83FB-4C0FA4148342}"/>
          </ac:spMkLst>
        </pc:spChg>
        <pc:spChg chg="add del mod">
          <ac:chgData name="Kebba Jeng" userId="fe4cc296-ba7d-48a2-8799-89b58d218255" providerId="ADAL" clId="{388EFDEE-447E-42B4-98EF-30C01AB2E8CD}" dt="2022-03-28T17:57:14.375" v="2273"/>
          <ac:spMkLst>
            <pc:docMk/>
            <pc:sldMk cId="0" sldId="261"/>
            <ac:spMk id="1831" creationId="{C8B3C0C0-E989-464E-AB1B-A94997B971A1}"/>
          </ac:spMkLst>
        </pc:spChg>
        <pc:spChg chg="add del mod">
          <ac:chgData name="Kebba Jeng" userId="fe4cc296-ba7d-48a2-8799-89b58d218255" providerId="ADAL" clId="{388EFDEE-447E-42B4-98EF-30C01AB2E8CD}" dt="2022-03-28T17:57:14.375" v="2273"/>
          <ac:spMkLst>
            <pc:docMk/>
            <pc:sldMk cId="0" sldId="261"/>
            <ac:spMk id="1832" creationId="{26B1E5BE-1806-45CF-A345-FD9D4D10E439}"/>
          </ac:spMkLst>
        </pc:spChg>
        <pc:spChg chg="add del mod">
          <ac:chgData name="Kebba Jeng" userId="fe4cc296-ba7d-48a2-8799-89b58d218255" providerId="ADAL" clId="{388EFDEE-447E-42B4-98EF-30C01AB2E8CD}" dt="2022-03-28T17:57:14.375" v="2273"/>
          <ac:spMkLst>
            <pc:docMk/>
            <pc:sldMk cId="0" sldId="261"/>
            <ac:spMk id="1833" creationId="{ECED0A2B-8E56-4574-8838-7BF34F0CD9BA}"/>
          </ac:spMkLst>
        </pc:spChg>
        <pc:spChg chg="add del mod">
          <ac:chgData name="Kebba Jeng" userId="fe4cc296-ba7d-48a2-8799-89b58d218255" providerId="ADAL" clId="{388EFDEE-447E-42B4-98EF-30C01AB2E8CD}" dt="2022-03-28T17:57:14.375" v="2273"/>
          <ac:spMkLst>
            <pc:docMk/>
            <pc:sldMk cId="0" sldId="261"/>
            <ac:spMk id="1834" creationId="{226331C8-0645-4D1D-AAD5-B9114DBD99D8}"/>
          </ac:spMkLst>
        </pc:spChg>
        <pc:spChg chg="add del mod">
          <ac:chgData name="Kebba Jeng" userId="fe4cc296-ba7d-48a2-8799-89b58d218255" providerId="ADAL" clId="{388EFDEE-447E-42B4-98EF-30C01AB2E8CD}" dt="2022-03-28T17:57:14.375" v="2273"/>
          <ac:spMkLst>
            <pc:docMk/>
            <pc:sldMk cId="0" sldId="261"/>
            <ac:spMk id="1835" creationId="{29ECBC50-B680-409D-A634-B4DD19888FE9}"/>
          </ac:spMkLst>
        </pc:spChg>
        <pc:spChg chg="add del mod">
          <ac:chgData name="Kebba Jeng" userId="fe4cc296-ba7d-48a2-8799-89b58d218255" providerId="ADAL" clId="{388EFDEE-447E-42B4-98EF-30C01AB2E8CD}" dt="2022-03-28T17:57:14.375" v="2273"/>
          <ac:spMkLst>
            <pc:docMk/>
            <pc:sldMk cId="0" sldId="261"/>
            <ac:spMk id="1836" creationId="{179D9A18-7B0D-46F7-A7AF-26C2951330AD}"/>
          </ac:spMkLst>
        </pc:spChg>
        <pc:spChg chg="add del mod">
          <ac:chgData name="Kebba Jeng" userId="fe4cc296-ba7d-48a2-8799-89b58d218255" providerId="ADAL" clId="{388EFDEE-447E-42B4-98EF-30C01AB2E8CD}" dt="2022-03-28T17:57:14.375" v="2273"/>
          <ac:spMkLst>
            <pc:docMk/>
            <pc:sldMk cId="0" sldId="261"/>
            <ac:spMk id="1837" creationId="{4544ED62-6B0B-4977-8E77-C333E0B11078}"/>
          </ac:spMkLst>
        </pc:spChg>
        <pc:spChg chg="add del mod">
          <ac:chgData name="Kebba Jeng" userId="fe4cc296-ba7d-48a2-8799-89b58d218255" providerId="ADAL" clId="{388EFDEE-447E-42B4-98EF-30C01AB2E8CD}" dt="2022-03-28T17:57:14.375" v="2273"/>
          <ac:spMkLst>
            <pc:docMk/>
            <pc:sldMk cId="0" sldId="261"/>
            <ac:spMk id="1838" creationId="{68ED05A5-9B23-4243-BD8B-606095E432D8}"/>
          </ac:spMkLst>
        </pc:spChg>
        <pc:spChg chg="add del mod">
          <ac:chgData name="Kebba Jeng" userId="fe4cc296-ba7d-48a2-8799-89b58d218255" providerId="ADAL" clId="{388EFDEE-447E-42B4-98EF-30C01AB2E8CD}" dt="2022-03-28T17:57:14.375" v="2273"/>
          <ac:spMkLst>
            <pc:docMk/>
            <pc:sldMk cId="0" sldId="261"/>
            <ac:spMk id="1839" creationId="{901F6609-8FDD-4E35-8593-69AD208E11E5}"/>
          </ac:spMkLst>
        </pc:spChg>
        <pc:spChg chg="add del mod">
          <ac:chgData name="Kebba Jeng" userId="fe4cc296-ba7d-48a2-8799-89b58d218255" providerId="ADAL" clId="{388EFDEE-447E-42B4-98EF-30C01AB2E8CD}" dt="2022-03-28T17:57:14.375" v="2273"/>
          <ac:spMkLst>
            <pc:docMk/>
            <pc:sldMk cId="0" sldId="261"/>
            <ac:spMk id="1840" creationId="{E90CF630-30D2-4336-A6F0-CAC79917F071}"/>
          </ac:spMkLst>
        </pc:spChg>
        <pc:spChg chg="add del mod">
          <ac:chgData name="Kebba Jeng" userId="fe4cc296-ba7d-48a2-8799-89b58d218255" providerId="ADAL" clId="{388EFDEE-447E-42B4-98EF-30C01AB2E8CD}" dt="2022-03-28T17:57:14.375" v="2273"/>
          <ac:spMkLst>
            <pc:docMk/>
            <pc:sldMk cId="0" sldId="261"/>
            <ac:spMk id="1841" creationId="{3A3460A8-61C9-4D19-A6BE-F6E3CD2B4CB0}"/>
          </ac:spMkLst>
        </pc:spChg>
        <pc:spChg chg="add del mod">
          <ac:chgData name="Kebba Jeng" userId="fe4cc296-ba7d-48a2-8799-89b58d218255" providerId="ADAL" clId="{388EFDEE-447E-42B4-98EF-30C01AB2E8CD}" dt="2022-03-28T17:57:14.375" v="2273"/>
          <ac:spMkLst>
            <pc:docMk/>
            <pc:sldMk cId="0" sldId="261"/>
            <ac:spMk id="1842" creationId="{CC255FD7-3566-4C6B-BDC5-CF3EE047336C}"/>
          </ac:spMkLst>
        </pc:spChg>
        <pc:spChg chg="add del mod">
          <ac:chgData name="Kebba Jeng" userId="fe4cc296-ba7d-48a2-8799-89b58d218255" providerId="ADAL" clId="{388EFDEE-447E-42B4-98EF-30C01AB2E8CD}" dt="2022-03-28T17:57:14.375" v="2273"/>
          <ac:spMkLst>
            <pc:docMk/>
            <pc:sldMk cId="0" sldId="261"/>
            <ac:spMk id="1843" creationId="{C1A123AB-6F49-4802-8DD8-25E95B5080C9}"/>
          </ac:spMkLst>
        </pc:spChg>
        <pc:spChg chg="add del mod">
          <ac:chgData name="Kebba Jeng" userId="fe4cc296-ba7d-48a2-8799-89b58d218255" providerId="ADAL" clId="{388EFDEE-447E-42B4-98EF-30C01AB2E8CD}" dt="2022-03-28T17:57:14.375" v="2273"/>
          <ac:spMkLst>
            <pc:docMk/>
            <pc:sldMk cId="0" sldId="261"/>
            <ac:spMk id="1844" creationId="{94425655-61FE-4C75-A90A-59515CD339C9}"/>
          </ac:spMkLst>
        </pc:spChg>
        <pc:spChg chg="add del mod">
          <ac:chgData name="Kebba Jeng" userId="fe4cc296-ba7d-48a2-8799-89b58d218255" providerId="ADAL" clId="{388EFDEE-447E-42B4-98EF-30C01AB2E8CD}" dt="2022-03-28T17:57:14.375" v="2273"/>
          <ac:spMkLst>
            <pc:docMk/>
            <pc:sldMk cId="0" sldId="261"/>
            <ac:spMk id="1845" creationId="{B9591626-78DF-420F-95FB-4B9C5C998953}"/>
          </ac:spMkLst>
        </pc:spChg>
        <pc:spChg chg="add del mod">
          <ac:chgData name="Kebba Jeng" userId="fe4cc296-ba7d-48a2-8799-89b58d218255" providerId="ADAL" clId="{388EFDEE-447E-42B4-98EF-30C01AB2E8CD}" dt="2022-03-28T17:57:14.375" v="2273"/>
          <ac:spMkLst>
            <pc:docMk/>
            <pc:sldMk cId="0" sldId="261"/>
            <ac:spMk id="1846" creationId="{74E7562C-AA2A-4A63-92FD-E9B40E9B1A89}"/>
          </ac:spMkLst>
        </pc:spChg>
        <pc:spChg chg="add del mod">
          <ac:chgData name="Kebba Jeng" userId="fe4cc296-ba7d-48a2-8799-89b58d218255" providerId="ADAL" clId="{388EFDEE-447E-42B4-98EF-30C01AB2E8CD}" dt="2022-03-28T17:57:14.375" v="2273"/>
          <ac:spMkLst>
            <pc:docMk/>
            <pc:sldMk cId="0" sldId="261"/>
            <ac:spMk id="1847" creationId="{52EBC742-A07F-499C-9348-630696A78399}"/>
          </ac:spMkLst>
        </pc:spChg>
        <pc:spChg chg="add del mod">
          <ac:chgData name="Kebba Jeng" userId="fe4cc296-ba7d-48a2-8799-89b58d218255" providerId="ADAL" clId="{388EFDEE-447E-42B4-98EF-30C01AB2E8CD}" dt="2022-03-28T17:57:14.375" v="2273"/>
          <ac:spMkLst>
            <pc:docMk/>
            <pc:sldMk cId="0" sldId="261"/>
            <ac:spMk id="1848" creationId="{93260098-7E4D-49EF-AC24-09EE9BE240A6}"/>
          </ac:spMkLst>
        </pc:spChg>
        <pc:spChg chg="add del mod">
          <ac:chgData name="Kebba Jeng" userId="fe4cc296-ba7d-48a2-8799-89b58d218255" providerId="ADAL" clId="{388EFDEE-447E-42B4-98EF-30C01AB2E8CD}" dt="2022-03-28T17:57:14.375" v="2273"/>
          <ac:spMkLst>
            <pc:docMk/>
            <pc:sldMk cId="0" sldId="261"/>
            <ac:spMk id="1849" creationId="{808B86F1-6C25-4D6C-979E-A9AF547FB04A}"/>
          </ac:spMkLst>
        </pc:spChg>
        <pc:spChg chg="add del mod">
          <ac:chgData name="Kebba Jeng" userId="fe4cc296-ba7d-48a2-8799-89b58d218255" providerId="ADAL" clId="{388EFDEE-447E-42B4-98EF-30C01AB2E8CD}" dt="2022-03-28T17:57:14.375" v="2273"/>
          <ac:spMkLst>
            <pc:docMk/>
            <pc:sldMk cId="0" sldId="261"/>
            <ac:spMk id="1850" creationId="{1B2375F8-7617-41F6-A794-88E8E0D80F81}"/>
          </ac:spMkLst>
        </pc:spChg>
        <pc:spChg chg="add del mod">
          <ac:chgData name="Kebba Jeng" userId="fe4cc296-ba7d-48a2-8799-89b58d218255" providerId="ADAL" clId="{388EFDEE-447E-42B4-98EF-30C01AB2E8CD}" dt="2022-03-28T17:57:14.375" v="2273"/>
          <ac:spMkLst>
            <pc:docMk/>
            <pc:sldMk cId="0" sldId="261"/>
            <ac:spMk id="1851" creationId="{AF248E6F-A241-4656-8036-52EBF030E58F}"/>
          </ac:spMkLst>
        </pc:spChg>
        <pc:spChg chg="add del mod">
          <ac:chgData name="Kebba Jeng" userId="fe4cc296-ba7d-48a2-8799-89b58d218255" providerId="ADAL" clId="{388EFDEE-447E-42B4-98EF-30C01AB2E8CD}" dt="2022-03-28T17:57:14.375" v="2273"/>
          <ac:spMkLst>
            <pc:docMk/>
            <pc:sldMk cId="0" sldId="261"/>
            <ac:spMk id="1852" creationId="{40167CCA-78FA-4BEC-8FF7-FA45D65C5C93}"/>
          </ac:spMkLst>
        </pc:spChg>
        <pc:spChg chg="add del mod">
          <ac:chgData name="Kebba Jeng" userId="fe4cc296-ba7d-48a2-8799-89b58d218255" providerId="ADAL" clId="{388EFDEE-447E-42B4-98EF-30C01AB2E8CD}" dt="2022-03-28T17:57:14.375" v="2273"/>
          <ac:spMkLst>
            <pc:docMk/>
            <pc:sldMk cId="0" sldId="261"/>
            <ac:spMk id="1853" creationId="{A2E06DCE-D101-4A39-B439-341124BFBD86}"/>
          </ac:spMkLst>
        </pc:spChg>
        <pc:spChg chg="add del mod">
          <ac:chgData name="Kebba Jeng" userId="fe4cc296-ba7d-48a2-8799-89b58d218255" providerId="ADAL" clId="{388EFDEE-447E-42B4-98EF-30C01AB2E8CD}" dt="2022-03-28T17:57:14.375" v="2273"/>
          <ac:spMkLst>
            <pc:docMk/>
            <pc:sldMk cId="0" sldId="261"/>
            <ac:spMk id="1854" creationId="{0B9DB467-71CF-4B70-B59A-7500BEEC1746}"/>
          </ac:spMkLst>
        </pc:spChg>
        <pc:spChg chg="add del mod">
          <ac:chgData name="Kebba Jeng" userId="fe4cc296-ba7d-48a2-8799-89b58d218255" providerId="ADAL" clId="{388EFDEE-447E-42B4-98EF-30C01AB2E8CD}" dt="2022-03-28T17:57:14.375" v="2273"/>
          <ac:spMkLst>
            <pc:docMk/>
            <pc:sldMk cId="0" sldId="261"/>
            <ac:spMk id="1855" creationId="{5ABB18CB-A9AD-4DD5-ADCC-A5E90AE3A18C}"/>
          </ac:spMkLst>
        </pc:spChg>
        <pc:spChg chg="add del mod">
          <ac:chgData name="Kebba Jeng" userId="fe4cc296-ba7d-48a2-8799-89b58d218255" providerId="ADAL" clId="{388EFDEE-447E-42B4-98EF-30C01AB2E8CD}" dt="2022-03-28T17:57:14.375" v="2273"/>
          <ac:spMkLst>
            <pc:docMk/>
            <pc:sldMk cId="0" sldId="261"/>
            <ac:spMk id="1856" creationId="{86316F1A-0E8D-4420-A7D5-A6545C05C0DA}"/>
          </ac:spMkLst>
        </pc:spChg>
        <pc:spChg chg="add del mod">
          <ac:chgData name="Kebba Jeng" userId="fe4cc296-ba7d-48a2-8799-89b58d218255" providerId="ADAL" clId="{388EFDEE-447E-42B4-98EF-30C01AB2E8CD}" dt="2022-03-28T17:57:14.375" v="2273"/>
          <ac:spMkLst>
            <pc:docMk/>
            <pc:sldMk cId="0" sldId="261"/>
            <ac:spMk id="1857" creationId="{713CAC9E-6157-40C7-8EAD-8DAAB60EEBBF}"/>
          </ac:spMkLst>
        </pc:spChg>
        <pc:spChg chg="add del mod">
          <ac:chgData name="Kebba Jeng" userId="fe4cc296-ba7d-48a2-8799-89b58d218255" providerId="ADAL" clId="{388EFDEE-447E-42B4-98EF-30C01AB2E8CD}" dt="2022-03-28T17:57:14.375" v="2273"/>
          <ac:spMkLst>
            <pc:docMk/>
            <pc:sldMk cId="0" sldId="261"/>
            <ac:spMk id="1858" creationId="{FFC468E6-BD9E-46F6-A2B6-9CE45980399C}"/>
          </ac:spMkLst>
        </pc:spChg>
        <pc:spChg chg="add del mod">
          <ac:chgData name="Kebba Jeng" userId="fe4cc296-ba7d-48a2-8799-89b58d218255" providerId="ADAL" clId="{388EFDEE-447E-42B4-98EF-30C01AB2E8CD}" dt="2022-03-28T17:57:14.375" v="2273"/>
          <ac:spMkLst>
            <pc:docMk/>
            <pc:sldMk cId="0" sldId="261"/>
            <ac:spMk id="1859" creationId="{AFBFC911-986A-4631-B3A9-8C6C81A6CB9F}"/>
          </ac:spMkLst>
        </pc:spChg>
        <pc:spChg chg="add del mod">
          <ac:chgData name="Kebba Jeng" userId="fe4cc296-ba7d-48a2-8799-89b58d218255" providerId="ADAL" clId="{388EFDEE-447E-42B4-98EF-30C01AB2E8CD}" dt="2022-03-28T17:57:14.375" v="2273"/>
          <ac:spMkLst>
            <pc:docMk/>
            <pc:sldMk cId="0" sldId="261"/>
            <ac:spMk id="1860" creationId="{F001447E-4C4E-4EAB-9FD1-B2FC830DEA2B}"/>
          </ac:spMkLst>
        </pc:spChg>
        <pc:spChg chg="add del mod">
          <ac:chgData name="Kebba Jeng" userId="fe4cc296-ba7d-48a2-8799-89b58d218255" providerId="ADAL" clId="{388EFDEE-447E-42B4-98EF-30C01AB2E8CD}" dt="2022-03-28T17:57:14.375" v="2273"/>
          <ac:spMkLst>
            <pc:docMk/>
            <pc:sldMk cId="0" sldId="261"/>
            <ac:spMk id="1861" creationId="{936425C9-B5EF-48AB-A79D-31360AD7FF6D}"/>
          </ac:spMkLst>
        </pc:spChg>
        <pc:spChg chg="add del mod">
          <ac:chgData name="Kebba Jeng" userId="fe4cc296-ba7d-48a2-8799-89b58d218255" providerId="ADAL" clId="{388EFDEE-447E-42B4-98EF-30C01AB2E8CD}" dt="2022-03-28T17:57:14.375" v="2273"/>
          <ac:spMkLst>
            <pc:docMk/>
            <pc:sldMk cId="0" sldId="261"/>
            <ac:spMk id="1862" creationId="{7F7F69CE-4DD0-41B2-B529-DAFB1EC38233}"/>
          </ac:spMkLst>
        </pc:spChg>
        <pc:spChg chg="add del mod">
          <ac:chgData name="Kebba Jeng" userId="fe4cc296-ba7d-48a2-8799-89b58d218255" providerId="ADAL" clId="{388EFDEE-447E-42B4-98EF-30C01AB2E8CD}" dt="2022-03-28T17:57:14.375" v="2273"/>
          <ac:spMkLst>
            <pc:docMk/>
            <pc:sldMk cId="0" sldId="261"/>
            <ac:spMk id="1863" creationId="{2205C0F2-E645-4B49-93D2-F1A3D6D96B91}"/>
          </ac:spMkLst>
        </pc:spChg>
        <pc:spChg chg="add del mod">
          <ac:chgData name="Kebba Jeng" userId="fe4cc296-ba7d-48a2-8799-89b58d218255" providerId="ADAL" clId="{388EFDEE-447E-42B4-98EF-30C01AB2E8CD}" dt="2022-03-28T17:57:14.375" v="2273"/>
          <ac:spMkLst>
            <pc:docMk/>
            <pc:sldMk cId="0" sldId="261"/>
            <ac:spMk id="1864" creationId="{F20E6F66-468B-446D-8E40-63216F581158}"/>
          </ac:spMkLst>
        </pc:spChg>
        <pc:spChg chg="add del mod">
          <ac:chgData name="Kebba Jeng" userId="fe4cc296-ba7d-48a2-8799-89b58d218255" providerId="ADAL" clId="{388EFDEE-447E-42B4-98EF-30C01AB2E8CD}" dt="2022-03-28T17:57:14.375" v="2273"/>
          <ac:spMkLst>
            <pc:docMk/>
            <pc:sldMk cId="0" sldId="261"/>
            <ac:spMk id="1865" creationId="{CCC45BD5-8A1B-4908-B18E-CD75F545BBF7}"/>
          </ac:spMkLst>
        </pc:spChg>
        <pc:spChg chg="add del mod">
          <ac:chgData name="Kebba Jeng" userId="fe4cc296-ba7d-48a2-8799-89b58d218255" providerId="ADAL" clId="{388EFDEE-447E-42B4-98EF-30C01AB2E8CD}" dt="2022-03-28T17:57:14.375" v="2273"/>
          <ac:spMkLst>
            <pc:docMk/>
            <pc:sldMk cId="0" sldId="261"/>
            <ac:spMk id="1866" creationId="{80153161-6A7D-4248-8622-C5BB134A9EAF}"/>
          </ac:spMkLst>
        </pc:spChg>
        <pc:spChg chg="add del mod">
          <ac:chgData name="Kebba Jeng" userId="fe4cc296-ba7d-48a2-8799-89b58d218255" providerId="ADAL" clId="{388EFDEE-447E-42B4-98EF-30C01AB2E8CD}" dt="2022-03-28T17:57:14.375" v="2273"/>
          <ac:spMkLst>
            <pc:docMk/>
            <pc:sldMk cId="0" sldId="261"/>
            <ac:spMk id="1867" creationId="{9E14FDF7-3591-46CE-95DE-B497980560F8}"/>
          </ac:spMkLst>
        </pc:spChg>
        <pc:spChg chg="add del mod">
          <ac:chgData name="Kebba Jeng" userId="fe4cc296-ba7d-48a2-8799-89b58d218255" providerId="ADAL" clId="{388EFDEE-447E-42B4-98EF-30C01AB2E8CD}" dt="2022-03-28T17:57:14.375" v="2273"/>
          <ac:spMkLst>
            <pc:docMk/>
            <pc:sldMk cId="0" sldId="261"/>
            <ac:spMk id="1868" creationId="{4E8E97F5-F98D-4003-B351-CD35C1B7AA19}"/>
          </ac:spMkLst>
        </pc:spChg>
        <pc:spChg chg="add del mod">
          <ac:chgData name="Kebba Jeng" userId="fe4cc296-ba7d-48a2-8799-89b58d218255" providerId="ADAL" clId="{388EFDEE-447E-42B4-98EF-30C01AB2E8CD}" dt="2022-03-28T17:57:14.375" v="2273"/>
          <ac:spMkLst>
            <pc:docMk/>
            <pc:sldMk cId="0" sldId="261"/>
            <ac:spMk id="1869" creationId="{6B6625A3-C083-4510-A20B-0AF744659B40}"/>
          </ac:spMkLst>
        </pc:spChg>
        <pc:spChg chg="add del mod">
          <ac:chgData name="Kebba Jeng" userId="fe4cc296-ba7d-48a2-8799-89b58d218255" providerId="ADAL" clId="{388EFDEE-447E-42B4-98EF-30C01AB2E8CD}" dt="2022-03-28T17:57:14.375" v="2273"/>
          <ac:spMkLst>
            <pc:docMk/>
            <pc:sldMk cId="0" sldId="261"/>
            <ac:spMk id="1870" creationId="{AE89F946-00DC-4123-957F-662D895FBA1F}"/>
          </ac:spMkLst>
        </pc:spChg>
        <pc:spChg chg="add del mod">
          <ac:chgData name="Kebba Jeng" userId="fe4cc296-ba7d-48a2-8799-89b58d218255" providerId="ADAL" clId="{388EFDEE-447E-42B4-98EF-30C01AB2E8CD}" dt="2022-03-28T17:57:14.375" v="2273"/>
          <ac:spMkLst>
            <pc:docMk/>
            <pc:sldMk cId="0" sldId="261"/>
            <ac:spMk id="1871" creationId="{B3BB5757-5060-48AE-B8C4-E44001FA8425}"/>
          </ac:spMkLst>
        </pc:spChg>
        <pc:spChg chg="add del mod">
          <ac:chgData name="Kebba Jeng" userId="fe4cc296-ba7d-48a2-8799-89b58d218255" providerId="ADAL" clId="{388EFDEE-447E-42B4-98EF-30C01AB2E8CD}" dt="2022-03-28T17:57:14.375" v="2273"/>
          <ac:spMkLst>
            <pc:docMk/>
            <pc:sldMk cId="0" sldId="261"/>
            <ac:spMk id="1872" creationId="{1005F03F-74E5-4CB2-AA8E-349256B112D4}"/>
          </ac:spMkLst>
        </pc:spChg>
        <pc:spChg chg="add del mod">
          <ac:chgData name="Kebba Jeng" userId="fe4cc296-ba7d-48a2-8799-89b58d218255" providerId="ADAL" clId="{388EFDEE-447E-42B4-98EF-30C01AB2E8CD}" dt="2022-03-28T17:57:14.375" v="2273"/>
          <ac:spMkLst>
            <pc:docMk/>
            <pc:sldMk cId="0" sldId="261"/>
            <ac:spMk id="1873" creationId="{54ACEE4C-2AFE-4100-8885-125365F5AB52}"/>
          </ac:spMkLst>
        </pc:spChg>
        <pc:spChg chg="add del mod">
          <ac:chgData name="Kebba Jeng" userId="fe4cc296-ba7d-48a2-8799-89b58d218255" providerId="ADAL" clId="{388EFDEE-447E-42B4-98EF-30C01AB2E8CD}" dt="2022-03-28T17:57:14.375" v="2273"/>
          <ac:spMkLst>
            <pc:docMk/>
            <pc:sldMk cId="0" sldId="261"/>
            <ac:spMk id="1874" creationId="{365F6078-0097-4616-968F-C17246CB66F1}"/>
          </ac:spMkLst>
        </pc:spChg>
        <pc:spChg chg="add del mod">
          <ac:chgData name="Kebba Jeng" userId="fe4cc296-ba7d-48a2-8799-89b58d218255" providerId="ADAL" clId="{388EFDEE-447E-42B4-98EF-30C01AB2E8CD}" dt="2022-03-28T17:57:14.375" v="2273"/>
          <ac:spMkLst>
            <pc:docMk/>
            <pc:sldMk cId="0" sldId="261"/>
            <ac:spMk id="1875" creationId="{F09BB640-B608-4106-AC25-FEA9AA3B92D8}"/>
          </ac:spMkLst>
        </pc:spChg>
        <pc:spChg chg="add del mod">
          <ac:chgData name="Kebba Jeng" userId="fe4cc296-ba7d-48a2-8799-89b58d218255" providerId="ADAL" clId="{388EFDEE-447E-42B4-98EF-30C01AB2E8CD}" dt="2022-03-28T17:57:14.375" v="2273"/>
          <ac:spMkLst>
            <pc:docMk/>
            <pc:sldMk cId="0" sldId="261"/>
            <ac:spMk id="1876" creationId="{0A112EB3-D987-4EAB-9987-7F0C5218FA48}"/>
          </ac:spMkLst>
        </pc:spChg>
        <pc:spChg chg="add del mod">
          <ac:chgData name="Kebba Jeng" userId="fe4cc296-ba7d-48a2-8799-89b58d218255" providerId="ADAL" clId="{388EFDEE-447E-42B4-98EF-30C01AB2E8CD}" dt="2022-03-28T17:57:14.375" v="2273"/>
          <ac:spMkLst>
            <pc:docMk/>
            <pc:sldMk cId="0" sldId="261"/>
            <ac:spMk id="1877" creationId="{0F91E723-31A5-43F9-A366-1443041A3DE3}"/>
          </ac:spMkLst>
        </pc:spChg>
        <pc:spChg chg="add del mod">
          <ac:chgData name="Kebba Jeng" userId="fe4cc296-ba7d-48a2-8799-89b58d218255" providerId="ADAL" clId="{388EFDEE-447E-42B4-98EF-30C01AB2E8CD}" dt="2022-03-28T17:57:14.375" v="2273"/>
          <ac:spMkLst>
            <pc:docMk/>
            <pc:sldMk cId="0" sldId="261"/>
            <ac:spMk id="1878" creationId="{BA74A6CA-1D79-41FF-9D49-2DA1181B84DD}"/>
          </ac:spMkLst>
        </pc:spChg>
        <pc:spChg chg="add del mod">
          <ac:chgData name="Kebba Jeng" userId="fe4cc296-ba7d-48a2-8799-89b58d218255" providerId="ADAL" clId="{388EFDEE-447E-42B4-98EF-30C01AB2E8CD}" dt="2022-03-28T17:57:14.375" v="2273"/>
          <ac:spMkLst>
            <pc:docMk/>
            <pc:sldMk cId="0" sldId="261"/>
            <ac:spMk id="1879" creationId="{4B2F1CCB-F641-4861-842D-CCED60305D77}"/>
          </ac:spMkLst>
        </pc:spChg>
        <pc:spChg chg="add del mod">
          <ac:chgData name="Kebba Jeng" userId="fe4cc296-ba7d-48a2-8799-89b58d218255" providerId="ADAL" clId="{388EFDEE-447E-42B4-98EF-30C01AB2E8CD}" dt="2022-03-28T17:57:14.375" v="2273"/>
          <ac:spMkLst>
            <pc:docMk/>
            <pc:sldMk cId="0" sldId="261"/>
            <ac:spMk id="1880" creationId="{8756E304-29CC-4235-8739-740E0DE8534D}"/>
          </ac:spMkLst>
        </pc:spChg>
        <pc:spChg chg="add del mod">
          <ac:chgData name="Kebba Jeng" userId="fe4cc296-ba7d-48a2-8799-89b58d218255" providerId="ADAL" clId="{388EFDEE-447E-42B4-98EF-30C01AB2E8CD}" dt="2022-03-28T17:57:14.375" v="2273"/>
          <ac:spMkLst>
            <pc:docMk/>
            <pc:sldMk cId="0" sldId="261"/>
            <ac:spMk id="1881" creationId="{F47395C9-3FF2-499F-8671-4A438BE88A8C}"/>
          </ac:spMkLst>
        </pc:spChg>
        <pc:spChg chg="add del mod">
          <ac:chgData name="Kebba Jeng" userId="fe4cc296-ba7d-48a2-8799-89b58d218255" providerId="ADAL" clId="{388EFDEE-447E-42B4-98EF-30C01AB2E8CD}" dt="2022-03-28T17:57:14.375" v="2273"/>
          <ac:spMkLst>
            <pc:docMk/>
            <pc:sldMk cId="0" sldId="261"/>
            <ac:spMk id="1882" creationId="{94C0E970-3816-4B7E-8F3E-45B97E0B6C90}"/>
          </ac:spMkLst>
        </pc:spChg>
        <pc:spChg chg="add del mod">
          <ac:chgData name="Kebba Jeng" userId="fe4cc296-ba7d-48a2-8799-89b58d218255" providerId="ADAL" clId="{388EFDEE-447E-42B4-98EF-30C01AB2E8CD}" dt="2022-03-28T17:57:14.375" v="2273"/>
          <ac:spMkLst>
            <pc:docMk/>
            <pc:sldMk cId="0" sldId="261"/>
            <ac:spMk id="1883" creationId="{5B25C6A1-C075-4E9F-AD63-9CD885E2E75A}"/>
          </ac:spMkLst>
        </pc:spChg>
        <pc:spChg chg="add del mod">
          <ac:chgData name="Kebba Jeng" userId="fe4cc296-ba7d-48a2-8799-89b58d218255" providerId="ADAL" clId="{388EFDEE-447E-42B4-98EF-30C01AB2E8CD}" dt="2022-03-28T17:57:14.375" v="2273"/>
          <ac:spMkLst>
            <pc:docMk/>
            <pc:sldMk cId="0" sldId="261"/>
            <ac:spMk id="1884" creationId="{9C51E3F0-34AD-4707-A19D-F3529BE8C150}"/>
          </ac:spMkLst>
        </pc:spChg>
        <pc:spChg chg="add del mod">
          <ac:chgData name="Kebba Jeng" userId="fe4cc296-ba7d-48a2-8799-89b58d218255" providerId="ADAL" clId="{388EFDEE-447E-42B4-98EF-30C01AB2E8CD}" dt="2022-03-28T17:57:14.375" v="2273"/>
          <ac:spMkLst>
            <pc:docMk/>
            <pc:sldMk cId="0" sldId="261"/>
            <ac:spMk id="1885" creationId="{73EE0AF2-2222-45E1-B711-60B15CE75261}"/>
          </ac:spMkLst>
        </pc:spChg>
        <pc:spChg chg="add del mod">
          <ac:chgData name="Kebba Jeng" userId="fe4cc296-ba7d-48a2-8799-89b58d218255" providerId="ADAL" clId="{388EFDEE-447E-42B4-98EF-30C01AB2E8CD}" dt="2022-03-28T17:57:14.375" v="2273"/>
          <ac:spMkLst>
            <pc:docMk/>
            <pc:sldMk cId="0" sldId="261"/>
            <ac:spMk id="1886" creationId="{9BA9FF94-52F5-427A-9FF5-BBC0DBCDE289}"/>
          </ac:spMkLst>
        </pc:spChg>
        <pc:spChg chg="add del mod">
          <ac:chgData name="Kebba Jeng" userId="fe4cc296-ba7d-48a2-8799-89b58d218255" providerId="ADAL" clId="{388EFDEE-447E-42B4-98EF-30C01AB2E8CD}" dt="2022-03-28T17:57:14.375" v="2273"/>
          <ac:spMkLst>
            <pc:docMk/>
            <pc:sldMk cId="0" sldId="261"/>
            <ac:spMk id="1887" creationId="{4BC77064-2D5F-4478-9BDB-B50644BE420F}"/>
          </ac:spMkLst>
        </pc:spChg>
        <pc:spChg chg="add del mod">
          <ac:chgData name="Kebba Jeng" userId="fe4cc296-ba7d-48a2-8799-89b58d218255" providerId="ADAL" clId="{388EFDEE-447E-42B4-98EF-30C01AB2E8CD}" dt="2022-03-28T17:57:14.375" v="2273"/>
          <ac:spMkLst>
            <pc:docMk/>
            <pc:sldMk cId="0" sldId="261"/>
            <ac:spMk id="1888" creationId="{C1875209-890C-46DB-8233-52D9C0D8C397}"/>
          </ac:spMkLst>
        </pc:spChg>
        <pc:spChg chg="add del mod">
          <ac:chgData name="Kebba Jeng" userId="fe4cc296-ba7d-48a2-8799-89b58d218255" providerId="ADAL" clId="{388EFDEE-447E-42B4-98EF-30C01AB2E8CD}" dt="2022-03-28T17:57:14.375" v="2273"/>
          <ac:spMkLst>
            <pc:docMk/>
            <pc:sldMk cId="0" sldId="261"/>
            <ac:spMk id="1889" creationId="{6713D147-53D5-4F0A-A41C-DB77FE0BBA69}"/>
          </ac:spMkLst>
        </pc:spChg>
        <pc:spChg chg="add del mod">
          <ac:chgData name="Kebba Jeng" userId="fe4cc296-ba7d-48a2-8799-89b58d218255" providerId="ADAL" clId="{388EFDEE-447E-42B4-98EF-30C01AB2E8CD}" dt="2022-03-28T17:57:14.375" v="2273"/>
          <ac:spMkLst>
            <pc:docMk/>
            <pc:sldMk cId="0" sldId="261"/>
            <ac:spMk id="1890" creationId="{637BDDB4-DA6B-4C52-A572-7968A88ED635}"/>
          </ac:spMkLst>
        </pc:spChg>
        <pc:spChg chg="add mod">
          <ac:chgData name="Kebba Jeng" userId="fe4cc296-ba7d-48a2-8799-89b58d218255" providerId="ADAL" clId="{388EFDEE-447E-42B4-98EF-30C01AB2E8CD}" dt="2022-03-28T18:07:21.545" v="2661" actId="20577"/>
          <ac:spMkLst>
            <pc:docMk/>
            <pc:sldMk cId="0" sldId="261"/>
            <ac:spMk id="1891" creationId="{9F2A9366-C2B7-4701-9311-32D822031E99}"/>
          </ac:spMkLst>
        </pc:spChg>
        <pc:spChg chg="add mod">
          <ac:chgData name="Kebba Jeng" userId="fe4cc296-ba7d-48a2-8799-89b58d218255" providerId="ADAL" clId="{388EFDEE-447E-42B4-98EF-30C01AB2E8CD}" dt="2022-03-28T18:06:24.351" v="2615" actId="207"/>
          <ac:spMkLst>
            <pc:docMk/>
            <pc:sldMk cId="0" sldId="261"/>
            <ac:spMk id="1892" creationId="{B4DAC36F-1CBB-40E5-9DBF-9C98975C2DA7}"/>
          </ac:spMkLst>
        </pc:spChg>
        <pc:spChg chg="add mod">
          <ac:chgData name="Kebba Jeng" userId="fe4cc296-ba7d-48a2-8799-89b58d218255" providerId="ADAL" clId="{388EFDEE-447E-42B4-98EF-30C01AB2E8CD}" dt="2022-03-28T18:06:30.915" v="2616" actId="571"/>
          <ac:spMkLst>
            <pc:docMk/>
            <pc:sldMk cId="0" sldId="261"/>
            <ac:spMk id="1893" creationId="{759EE0F5-4E97-4309-9E36-F8398C06B3A8}"/>
          </ac:spMkLst>
        </pc:spChg>
        <pc:spChg chg="add mod">
          <ac:chgData name="Kebba Jeng" userId="fe4cc296-ba7d-48a2-8799-89b58d218255" providerId="ADAL" clId="{388EFDEE-447E-42B4-98EF-30C01AB2E8CD}" dt="2022-03-28T18:06:30.915" v="2616" actId="571"/>
          <ac:spMkLst>
            <pc:docMk/>
            <pc:sldMk cId="0" sldId="261"/>
            <ac:spMk id="1894" creationId="{E466B3DC-888E-4679-9A1B-E18944BA62AD}"/>
          </ac:spMkLst>
        </pc:spChg>
        <pc:spChg chg="add mod">
          <ac:chgData name="Kebba Jeng" userId="fe4cc296-ba7d-48a2-8799-89b58d218255" providerId="ADAL" clId="{388EFDEE-447E-42B4-98EF-30C01AB2E8CD}" dt="2022-03-28T18:06:30.915" v="2616" actId="571"/>
          <ac:spMkLst>
            <pc:docMk/>
            <pc:sldMk cId="0" sldId="261"/>
            <ac:spMk id="1895" creationId="{4416A948-B53D-4E74-AA0D-813A57E5BF0C}"/>
          </ac:spMkLst>
        </pc:spChg>
        <pc:spChg chg="add mod">
          <ac:chgData name="Kebba Jeng" userId="fe4cc296-ba7d-48a2-8799-89b58d218255" providerId="ADAL" clId="{388EFDEE-447E-42B4-98EF-30C01AB2E8CD}" dt="2022-03-28T18:06:35.028" v="2617" actId="571"/>
          <ac:spMkLst>
            <pc:docMk/>
            <pc:sldMk cId="0" sldId="261"/>
            <ac:spMk id="1896" creationId="{4A5937D3-B3B5-486F-AAE3-578961016B35}"/>
          </ac:spMkLst>
        </pc:spChg>
        <pc:spChg chg="add mod">
          <ac:chgData name="Kebba Jeng" userId="fe4cc296-ba7d-48a2-8799-89b58d218255" providerId="ADAL" clId="{388EFDEE-447E-42B4-98EF-30C01AB2E8CD}" dt="2022-03-28T18:06:35.028" v="2617" actId="571"/>
          <ac:spMkLst>
            <pc:docMk/>
            <pc:sldMk cId="0" sldId="261"/>
            <ac:spMk id="1897" creationId="{671D742B-2FFD-4344-9250-71A059C11927}"/>
          </ac:spMkLst>
        </pc:spChg>
        <pc:spChg chg="add mod">
          <ac:chgData name="Kebba Jeng" userId="fe4cc296-ba7d-48a2-8799-89b58d218255" providerId="ADAL" clId="{388EFDEE-447E-42B4-98EF-30C01AB2E8CD}" dt="2022-03-28T18:06:41.016" v="2619" actId="20577"/>
          <ac:spMkLst>
            <pc:docMk/>
            <pc:sldMk cId="0" sldId="261"/>
            <ac:spMk id="1898" creationId="{9965CFE3-F405-4532-A9AD-DBF78C38C08F}"/>
          </ac:spMkLst>
        </pc:spChg>
        <pc:picChg chg="add del mod">
          <ac:chgData name="Kebba Jeng" userId="fe4cc296-ba7d-48a2-8799-89b58d218255" providerId="ADAL" clId="{388EFDEE-447E-42B4-98EF-30C01AB2E8CD}" dt="2022-03-28T17:56:21.603" v="2255"/>
          <ac:picMkLst>
            <pc:docMk/>
            <pc:sldMk cId="0" sldId="261"/>
            <ac:picMk id="4" creationId="{A1A21558-A383-4E72-B273-9C7CB31B4804}"/>
          </ac:picMkLst>
        </pc:picChg>
        <pc:picChg chg="add mod">
          <ac:chgData name="Kebba Jeng" userId="fe4cc296-ba7d-48a2-8799-89b58d218255" providerId="ADAL" clId="{388EFDEE-447E-42B4-98EF-30C01AB2E8CD}" dt="2022-03-28T18:04:06.194" v="2539" actId="1076"/>
          <ac:picMkLst>
            <pc:docMk/>
            <pc:sldMk cId="0" sldId="261"/>
            <ac:picMk id="5" creationId="{4B0810EB-FF18-46B7-8B00-8AC6D9C4AF79}"/>
          </ac:picMkLst>
        </pc:picChg>
        <pc:picChg chg="add mod">
          <ac:chgData name="Kebba Jeng" userId="fe4cc296-ba7d-48a2-8799-89b58d218255" providerId="ADAL" clId="{388EFDEE-447E-42B4-98EF-30C01AB2E8CD}" dt="2022-03-28T18:04:06.194" v="2539" actId="1076"/>
          <ac:picMkLst>
            <pc:docMk/>
            <pc:sldMk cId="0" sldId="261"/>
            <ac:picMk id="6" creationId="{0EBFF919-8803-4A9C-A014-4026BA78917D}"/>
          </ac:picMkLst>
        </pc:picChg>
        <pc:picChg chg="add mod">
          <ac:chgData name="Kebba Jeng" userId="fe4cc296-ba7d-48a2-8799-89b58d218255" providerId="ADAL" clId="{388EFDEE-447E-42B4-98EF-30C01AB2E8CD}" dt="2022-03-28T18:04:06.194" v="2539" actId="1076"/>
          <ac:picMkLst>
            <pc:docMk/>
            <pc:sldMk cId="0" sldId="261"/>
            <ac:picMk id="7" creationId="{D0CEEC6D-920A-4BEB-8B28-6610031F589F}"/>
          </ac:picMkLst>
        </pc:picChg>
      </pc:sldChg>
      <pc:sldChg chg="addSp delSp modSp del mod ord">
        <pc:chgData name="Kebba Jeng" userId="fe4cc296-ba7d-48a2-8799-89b58d218255" providerId="ADAL" clId="{388EFDEE-447E-42B4-98EF-30C01AB2E8CD}" dt="2022-03-28T06:58:14.177" v="463" actId="47"/>
        <pc:sldMkLst>
          <pc:docMk/>
          <pc:sldMk cId="0" sldId="262"/>
        </pc:sldMkLst>
        <pc:spChg chg="add mod">
          <ac:chgData name="Kebba Jeng" userId="fe4cc296-ba7d-48a2-8799-89b58d218255" providerId="ADAL" clId="{388EFDEE-447E-42B4-98EF-30C01AB2E8CD}" dt="2022-03-28T06:43:50.432" v="89" actId="2085"/>
          <ac:spMkLst>
            <pc:docMk/>
            <pc:sldMk cId="0" sldId="262"/>
            <ac:spMk id="2" creationId="{7189D2EF-F77B-4A3A-8823-DF46885DC979}"/>
          </ac:spMkLst>
        </pc:spChg>
        <pc:spChg chg="add mod">
          <ac:chgData name="Kebba Jeng" userId="fe4cc296-ba7d-48a2-8799-89b58d218255" providerId="ADAL" clId="{388EFDEE-447E-42B4-98EF-30C01AB2E8CD}" dt="2022-03-28T06:37:46.393" v="44" actId="14100"/>
          <ac:spMkLst>
            <pc:docMk/>
            <pc:sldMk cId="0" sldId="262"/>
            <ac:spMk id="588" creationId="{1A55D231-D735-4B84-BD0B-7414B441B296}"/>
          </ac:spMkLst>
        </pc:spChg>
        <pc:spChg chg="add mod">
          <ac:chgData name="Kebba Jeng" userId="fe4cc296-ba7d-48a2-8799-89b58d218255" providerId="ADAL" clId="{388EFDEE-447E-42B4-98EF-30C01AB2E8CD}" dt="2022-03-28T06:37:51.193" v="46" actId="14100"/>
          <ac:spMkLst>
            <pc:docMk/>
            <pc:sldMk cId="0" sldId="262"/>
            <ac:spMk id="589" creationId="{F920DD24-AFF3-42E5-9A8A-C208157E2012}"/>
          </ac:spMkLst>
        </pc:spChg>
        <pc:spChg chg="del">
          <ac:chgData name="Kebba Jeng" userId="fe4cc296-ba7d-48a2-8799-89b58d218255" providerId="ADAL" clId="{388EFDEE-447E-42B4-98EF-30C01AB2E8CD}" dt="2022-03-28T06:43:22.341" v="86" actId="478"/>
          <ac:spMkLst>
            <pc:docMk/>
            <pc:sldMk cId="0" sldId="262"/>
            <ac:spMk id="1110" creationId="{00000000-0000-0000-0000-000000000000}"/>
          </ac:spMkLst>
        </pc:spChg>
        <pc:spChg chg="del">
          <ac:chgData name="Kebba Jeng" userId="fe4cc296-ba7d-48a2-8799-89b58d218255" providerId="ADAL" clId="{388EFDEE-447E-42B4-98EF-30C01AB2E8CD}" dt="2022-03-28T06:43:22.341" v="86" actId="478"/>
          <ac:spMkLst>
            <pc:docMk/>
            <pc:sldMk cId="0" sldId="262"/>
            <ac:spMk id="1111" creationId="{00000000-0000-0000-0000-000000000000}"/>
          </ac:spMkLst>
        </pc:spChg>
        <pc:spChg chg="del">
          <ac:chgData name="Kebba Jeng" userId="fe4cc296-ba7d-48a2-8799-89b58d218255" providerId="ADAL" clId="{388EFDEE-447E-42B4-98EF-30C01AB2E8CD}" dt="2022-03-28T06:43:22.341" v="86" actId="478"/>
          <ac:spMkLst>
            <pc:docMk/>
            <pc:sldMk cId="0" sldId="262"/>
            <ac:spMk id="1112" creationId="{00000000-0000-0000-0000-000000000000}"/>
          </ac:spMkLst>
        </pc:spChg>
        <pc:spChg chg="del">
          <ac:chgData name="Kebba Jeng" userId="fe4cc296-ba7d-48a2-8799-89b58d218255" providerId="ADAL" clId="{388EFDEE-447E-42B4-98EF-30C01AB2E8CD}" dt="2022-03-28T06:43:22.341" v="86" actId="478"/>
          <ac:spMkLst>
            <pc:docMk/>
            <pc:sldMk cId="0" sldId="262"/>
            <ac:spMk id="1113" creationId="{00000000-0000-0000-0000-000000000000}"/>
          </ac:spMkLst>
        </pc:spChg>
        <pc:spChg chg="del">
          <ac:chgData name="Kebba Jeng" userId="fe4cc296-ba7d-48a2-8799-89b58d218255" providerId="ADAL" clId="{388EFDEE-447E-42B4-98EF-30C01AB2E8CD}" dt="2022-03-28T06:43:22.341" v="86" actId="478"/>
          <ac:spMkLst>
            <pc:docMk/>
            <pc:sldMk cId="0" sldId="262"/>
            <ac:spMk id="1114" creationId="{00000000-0000-0000-0000-000000000000}"/>
          </ac:spMkLst>
        </pc:spChg>
        <pc:spChg chg="del">
          <ac:chgData name="Kebba Jeng" userId="fe4cc296-ba7d-48a2-8799-89b58d218255" providerId="ADAL" clId="{388EFDEE-447E-42B4-98EF-30C01AB2E8CD}" dt="2022-03-28T06:43:22.341" v="86" actId="478"/>
          <ac:spMkLst>
            <pc:docMk/>
            <pc:sldMk cId="0" sldId="262"/>
            <ac:spMk id="1115" creationId="{00000000-0000-0000-0000-000000000000}"/>
          </ac:spMkLst>
        </pc:spChg>
        <pc:spChg chg="del">
          <ac:chgData name="Kebba Jeng" userId="fe4cc296-ba7d-48a2-8799-89b58d218255" providerId="ADAL" clId="{388EFDEE-447E-42B4-98EF-30C01AB2E8CD}" dt="2022-03-28T06:43:22.341" v="86" actId="478"/>
          <ac:spMkLst>
            <pc:docMk/>
            <pc:sldMk cId="0" sldId="262"/>
            <ac:spMk id="1116" creationId="{00000000-0000-0000-0000-000000000000}"/>
          </ac:spMkLst>
        </pc:spChg>
        <pc:spChg chg="del">
          <ac:chgData name="Kebba Jeng" userId="fe4cc296-ba7d-48a2-8799-89b58d218255" providerId="ADAL" clId="{388EFDEE-447E-42B4-98EF-30C01AB2E8CD}" dt="2022-03-28T06:43:22.341" v="86" actId="478"/>
          <ac:spMkLst>
            <pc:docMk/>
            <pc:sldMk cId="0" sldId="262"/>
            <ac:spMk id="1117" creationId="{00000000-0000-0000-0000-000000000000}"/>
          </ac:spMkLst>
        </pc:spChg>
        <pc:spChg chg="del">
          <ac:chgData name="Kebba Jeng" userId="fe4cc296-ba7d-48a2-8799-89b58d218255" providerId="ADAL" clId="{388EFDEE-447E-42B4-98EF-30C01AB2E8CD}" dt="2022-03-28T06:43:22.341" v="86" actId="478"/>
          <ac:spMkLst>
            <pc:docMk/>
            <pc:sldMk cId="0" sldId="262"/>
            <ac:spMk id="1118" creationId="{00000000-0000-0000-0000-000000000000}"/>
          </ac:spMkLst>
        </pc:spChg>
        <pc:spChg chg="del">
          <ac:chgData name="Kebba Jeng" userId="fe4cc296-ba7d-48a2-8799-89b58d218255" providerId="ADAL" clId="{388EFDEE-447E-42B4-98EF-30C01AB2E8CD}" dt="2022-03-28T06:43:22.341" v="86" actId="478"/>
          <ac:spMkLst>
            <pc:docMk/>
            <pc:sldMk cId="0" sldId="262"/>
            <ac:spMk id="1119" creationId="{00000000-0000-0000-0000-000000000000}"/>
          </ac:spMkLst>
        </pc:spChg>
        <pc:spChg chg="del">
          <ac:chgData name="Kebba Jeng" userId="fe4cc296-ba7d-48a2-8799-89b58d218255" providerId="ADAL" clId="{388EFDEE-447E-42B4-98EF-30C01AB2E8CD}" dt="2022-03-28T06:43:22.341" v="86" actId="478"/>
          <ac:spMkLst>
            <pc:docMk/>
            <pc:sldMk cId="0" sldId="262"/>
            <ac:spMk id="1120" creationId="{00000000-0000-0000-0000-000000000000}"/>
          </ac:spMkLst>
        </pc:spChg>
        <pc:spChg chg="del">
          <ac:chgData name="Kebba Jeng" userId="fe4cc296-ba7d-48a2-8799-89b58d218255" providerId="ADAL" clId="{388EFDEE-447E-42B4-98EF-30C01AB2E8CD}" dt="2022-03-28T06:43:22.341" v="86" actId="478"/>
          <ac:spMkLst>
            <pc:docMk/>
            <pc:sldMk cId="0" sldId="262"/>
            <ac:spMk id="1121" creationId="{00000000-0000-0000-0000-000000000000}"/>
          </ac:spMkLst>
        </pc:spChg>
        <pc:spChg chg="del">
          <ac:chgData name="Kebba Jeng" userId="fe4cc296-ba7d-48a2-8799-89b58d218255" providerId="ADAL" clId="{388EFDEE-447E-42B4-98EF-30C01AB2E8CD}" dt="2022-03-28T06:43:22.341" v="86" actId="478"/>
          <ac:spMkLst>
            <pc:docMk/>
            <pc:sldMk cId="0" sldId="262"/>
            <ac:spMk id="1122" creationId="{00000000-0000-0000-0000-000000000000}"/>
          </ac:spMkLst>
        </pc:spChg>
        <pc:spChg chg="del">
          <ac:chgData name="Kebba Jeng" userId="fe4cc296-ba7d-48a2-8799-89b58d218255" providerId="ADAL" clId="{388EFDEE-447E-42B4-98EF-30C01AB2E8CD}" dt="2022-03-28T06:43:22.341" v="86" actId="478"/>
          <ac:spMkLst>
            <pc:docMk/>
            <pc:sldMk cId="0" sldId="262"/>
            <ac:spMk id="1123" creationId="{00000000-0000-0000-0000-000000000000}"/>
          </ac:spMkLst>
        </pc:spChg>
        <pc:spChg chg="del">
          <ac:chgData name="Kebba Jeng" userId="fe4cc296-ba7d-48a2-8799-89b58d218255" providerId="ADAL" clId="{388EFDEE-447E-42B4-98EF-30C01AB2E8CD}" dt="2022-03-28T06:43:22.341" v="86" actId="478"/>
          <ac:spMkLst>
            <pc:docMk/>
            <pc:sldMk cId="0" sldId="262"/>
            <ac:spMk id="1124" creationId="{00000000-0000-0000-0000-000000000000}"/>
          </ac:spMkLst>
        </pc:spChg>
        <pc:spChg chg="del">
          <ac:chgData name="Kebba Jeng" userId="fe4cc296-ba7d-48a2-8799-89b58d218255" providerId="ADAL" clId="{388EFDEE-447E-42B4-98EF-30C01AB2E8CD}" dt="2022-03-28T06:43:22.341" v="86" actId="478"/>
          <ac:spMkLst>
            <pc:docMk/>
            <pc:sldMk cId="0" sldId="262"/>
            <ac:spMk id="1125" creationId="{00000000-0000-0000-0000-000000000000}"/>
          </ac:spMkLst>
        </pc:spChg>
        <pc:spChg chg="del">
          <ac:chgData name="Kebba Jeng" userId="fe4cc296-ba7d-48a2-8799-89b58d218255" providerId="ADAL" clId="{388EFDEE-447E-42B4-98EF-30C01AB2E8CD}" dt="2022-03-28T06:43:22.341" v="86" actId="478"/>
          <ac:spMkLst>
            <pc:docMk/>
            <pc:sldMk cId="0" sldId="262"/>
            <ac:spMk id="1126" creationId="{00000000-0000-0000-0000-000000000000}"/>
          </ac:spMkLst>
        </pc:spChg>
        <pc:spChg chg="del">
          <ac:chgData name="Kebba Jeng" userId="fe4cc296-ba7d-48a2-8799-89b58d218255" providerId="ADAL" clId="{388EFDEE-447E-42B4-98EF-30C01AB2E8CD}" dt="2022-03-28T06:43:22.341" v="86" actId="478"/>
          <ac:spMkLst>
            <pc:docMk/>
            <pc:sldMk cId="0" sldId="262"/>
            <ac:spMk id="1127" creationId="{00000000-0000-0000-0000-000000000000}"/>
          </ac:spMkLst>
        </pc:spChg>
        <pc:spChg chg="del">
          <ac:chgData name="Kebba Jeng" userId="fe4cc296-ba7d-48a2-8799-89b58d218255" providerId="ADAL" clId="{388EFDEE-447E-42B4-98EF-30C01AB2E8CD}" dt="2022-03-28T06:43:22.341" v="86" actId="478"/>
          <ac:spMkLst>
            <pc:docMk/>
            <pc:sldMk cId="0" sldId="262"/>
            <ac:spMk id="1128" creationId="{00000000-0000-0000-0000-000000000000}"/>
          </ac:spMkLst>
        </pc:spChg>
        <pc:spChg chg="del">
          <ac:chgData name="Kebba Jeng" userId="fe4cc296-ba7d-48a2-8799-89b58d218255" providerId="ADAL" clId="{388EFDEE-447E-42B4-98EF-30C01AB2E8CD}" dt="2022-03-28T06:43:22.341" v="86" actId="478"/>
          <ac:spMkLst>
            <pc:docMk/>
            <pc:sldMk cId="0" sldId="262"/>
            <ac:spMk id="1129" creationId="{00000000-0000-0000-0000-000000000000}"/>
          </ac:spMkLst>
        </pc:spChg>
        <pc:spChg chg="del">
          <ac:chgData name="Kebba Jeng" userId="fe4cc296-ba7d-48a2-8799-89b58d218255" providerId="ADAL" clId="{388EFDEE-447E-42B4-98EF-30C01AB2E8CD}" dt="2022-03-28T06:43:22.341" v="86" actId="478"/>
          <ac:spMkLst>
            <pc:docMk/>
            <pc:sldMk cId="0" sldId="262"/>
            <ac:spMk id="1130" creationId="{00000000-0000-0000-0000-000000000000}"/>
          </ac:spMkLst>
        </pc:spChg>
        <pc:spChg chg="del">
          <ac:chgData name="Kebba Jeng" userId="fe4cc296-ba7d-48a2-8799-89b58d218255" providerId="ADAL" clId="{388EFDEE-447E-42B4-98EF-30C01AB2E8CD}" dt="2022-03-28T06:43:22.341" v="86" actId="478"/>
          <ac:spMkLst>
            <pc:docMk/>
            <pc:sldMk cId="0" sldId="262"/>
            <ac:spMk id="1131" creationId="{00000000-0000-0000-0000-000000000000}"/>
          </ac:spMkLst>
        </pc:spChg>
        <pc:spChg chg="del">
          <ac:chgData name="Kebba Jeng" userId="fe4cc296-ba7d-48a2-8799-89b58d218255" providerId="ADAL" clId="{388EFDEE-447E-42B4-98EF-30C01AB2E8CD}" dt="2022-03-28T06:43:22.341" v="86" actId="478"/>
          <ac:spMkLst>
            <pc:docMk/>
            <pc:sldMk cId="0" sldId="262"/>
            <ac:spMk id="1132" creationId="{00000000-0000-0000-0000-000000000000}"/>
          </ac:spMkLst>
        </pc:spChg>
        <pc:spChg chg="del">
          <ac:chgData name="Kebba Jeng" userId="fe4cc296-ba7d-48a2-8799-89b58d218255" providerId="ADAL" clId="{388EFDEE-447E-42B4-98EF-30C01AB2E8CD}" dt="2022-03-28T06:43:22.341" v="86" actId="478"/>
          <ac:spMkLst>
            <pc:docMk/>
            <pc:sldMk cId="0" sldId="262"/>
            <ac:spMk id="1133" creationId="{00000000-0000-0000-0000-000000000000}"/>
          </ac:spMkLst>
        </pc:spChg>
        <pc:spChg chg="del">
          <ac:chgData name="Kebba Jeng" userId="fe4cc296-ba7d-48a2-8799-89b58d218255" providerId="ADAL" clId="{388EFDEE-447E-42B4-98EF-30C01AB2E8CD}" dt="2022-03-28T06:43:22.341" v="86" actId="478"/>
          <ac:spMkLst>
            <pc:docMk/>
            <pc:sldMk cId="0" sldId="262"/>
            <ac:spMk id="1134" creationId="{00000000-0000-0000-0000-000000000000}"/>
          </ac:spMkLst>
        </pc:spChg>
        <pc:spChg chg="del">
          <ac:chgData name="Kebba Jeng" userId="fe4cc296-ba7d-48a2-8799-89b58d218255" providerId="ADAL" clId="{388EFDEE-447E-42B4-98EF-30C01AB2E8CD}" dt="2022-03-28T06:43:22.341" v="86" actId="478"/>
          <ac:spMkLst>
            <pc:docMk/>
            <pc:sldMk cId="0" sldId="262"/>
            <ac:spMk id="1135" creationId="{00000000-0000-0000-0000-000000000000}"/>
          </ac:spMkLst>
        </pc:spChg>
        <pc:spChg chg="del">
          <ac:chgData name="Kebba Jeng" userId="fe4cc296-ba7d-48a2-8799-89b58d218255" providerId="ADAL" clId="{388EFDEE-447E-42B4-98EF-30C01AB2E8CD}" dt="2022-03-28T06:43:22.341" v="86" actId="478"/>
          <ac:spMkLst>
            <pc:docMk/>
            <pc:sldMk cId="0" sldId="262"/>
            <ac:spMk id="1136" creationId="{00000000-0000-0000-0000-000000000000}"/>
          </ac:spMkLst>
        </pc:spChg>
        <pc:spChg chg="del">
          <ac:chgData name="Kebba Jeng" userId="fe4cc296-ba7d-48a2-8799-89b58d218255" providerId="ADAL" clId="{388EFDEE-447E-42B4-98EF-30C01AB2E8CD}" dt="2022-03-28T06:43:22.341" v="86" actId="478"/>
          <ac:spMkLst>
            <pc:docMk/>
            <pc:sldMk cId="0" sldId="262"/>
            <ac:spMk id="1137" creationId="{00000000-0000-0000-0000-000000000000}"/>
          </ac:spMkLst>
        </pc:spChg>
        <pc:spChg chg="del">
          <ac:chgData name="Kebba Jeng" userId="fe4cc296-ba7d-48a2-8799-89b58d218255" providerId="ADAL" clId="{388EFDEE-447E-42B4-98EF-30C01AB2E8CD}" dt="2022-03-28T06:43:22.341" v="86" actId="478"/>
          <ac:spMkLst>
            <pc:docMk/>
            <pc:sldMk cId="0" sldId="262"/>
            <ac:spMk id="1138" creationId="{00000000-0000-0000-0000-000000000000}"/>
          </ac:spMkLst>
        </pc:spChg>
        <pc:spChg chg="del">
          <ac:chgData name="Kebba Jeng" userId="fe4cc296-ba7d-48a2-8799-89b58d218255" providerId="ADAL" clId="{388EFDEE-447E-42B4-98EF-30C01AB2E8CD}" dt="2022-03-28T06:43:22.341" v="86" actId="478"/>
          <ac:spMkLst>
            <pc:docMk/>
            <pc:sldMk cId="0" sldId="262"/>
            <ac:spMk id="1139" creationId="{00000000-0000-0000-0000-000000000000}"/>
          </ac:spMkLst>
        </pc:spChg>
        <pc:spChg chg="del">
          <ac:chgData name="Kebba Jeng" userId="fe4cc296-ba7d-48a2-8799-89b58d218255" providerId="ADAL" clId="{388EFDEE-447E-42B4-98EF-30C01AB2E8CD}" dt="2022-03-28T06:43:22.341" v="86" actId="478"/>
          <ac:spMkLst>
            <pc:docMk/>
            <pc:sldMk cId="0" sldId="262"/>
            <ac:spMk id="1140" creationId="{00000000-0000-0000-0000-000000000000}"/>
          </ac:spMkLst>
        </pc:spChg>
        <pc:spChg chg="del">
          <ac:chgData name="Kebba Jeng" userId="fe4cc296-ba7d-48a2-8799-89b58d218255" providerId="ADAL" clId="{388EFDEE-447E-42B4-98EF-30C01AB2E8CD}" dt="2022-03-28T06:43:22.341" v="86" actId="478"/>
          <ac:spMkLst>
            <pc:docMk/>
            <pc:sldMk cId="0" sldId="262"/>
            <ac:spMk id="1141" creationId="{00000000-0000-0000-0000-000000000000}"/>
          </ac:spMkLst>
        </pc:spChg>
        <pc:spChg chg="del">
          <ac:chgData name="Kebba Jeng" userId="fe4cc296-ba7d-48a2-8799-89b58d218255" providerId="ADAL" clId="{388EFDEE-447E-42B4-98EF-30C01AB2E8CD}" dt="2022-03-28T06:43:22.341" v="86" actId="478"/>
          <ac:spMkLst>
            <pc:docMk/>
            <pc:sldMk cId="0" sldId="262"/>
            <ac:spMk id="1142" creationId="{00000000-0000-0000-0000-000000000000}"/>
          </ac:spMkLst>
        </pc:spChg>
        <pc:spChg chg="del">
          <ac:chgData name="Kebba Jeng" userId="fe4cc296-ba7d-48a2-8799-89b58d218255" providerId="ADAL" clId="{388EFDEE-447E-42B4-98EF-30C01AB2E8CD}" dt="2022-03-28T06:43:22.341" v="86" actId="478"/>
          <ac:spMkLst>
            <pc:docMk/>
            <pc:sldMk cId="0" sldId="262"/>
            <ac:spMk id="1143" creationId="{00000000-0000-0000-0000-000000000000}"/>
          </ac:spMkLst>
        </pc:spChg>
        <pc:spChg chg="del">
          <ac:chgData name="Kebba Jeng" userId="fe4cc296-ba7d-48a2-8799-89b58d218255" providerId="ADAL" clId="{388EFDEE-447E-42B4-98EF-30C01AB2E8CD}" dt="2022-03-28T06:43:22.341" v="86" actId="478"/>
          <ac:spMkLst>
            <pc:docMk/>
            <pc:sldMk cId="0" sldId="262"/>
            <ac:spMk id="1144" creationId="{00000000-0000-0000-0000-000000000000}"/>
          </ac:spMkLst>
        </pc:spChg>
        <pc:spChg chg="del">
          <ac:chgData name="Kebba Jeng" userId="fe4cc296-ba7d-48a2-8799-89b58d218255" providerId="ADAL" clId="{388EFDEE-447E-42B4-98EF-30C01AB2E8CD}" dt="2022-03-28T06:43:22.341" v="86" actId="478"/>
          <ac:spMkLst>
            <pc:docMk/>
            <pc:sldMk cId="0" sldId="262"/>
            <ac:spMk id="1145" creationId="{00000000-0000-0000-0000-000000000000}"/>
          </ac:spMkLst>
        </pc:spChg>
        <pc:spChg chg="del">
          <ac:chgData name="Kebba Jeng" userId="fe4cc296-ba7d-48a2-8799-89b58d218255" providerId="ADAL" clId="{388EFDEE-447E-42B4-98EF-30C01AB2E8CD}" dt="2022-03-28T06:43:22.341" v="86" actId="478"/>
          <ac:spMkLst>
            <pc:docMk/>
            <pc:sldMk cId="0" sldId="262"/>
            <ac:spMk id="1146" creationId="{00000000-0000-0000-0000-000000000000}"/>
          </ac:spMkLst>
        </pc:spChg>
        <pc:spChg chg="del">
          <ac:chgData name="Kebba Jeng" userId="fe4cc296-ba7d-48a2-8799-89b58d218255" providerId="ADAL" clId="{388EFDEE-447E-42B4-98EF-30C01AB2E8CD}" dt="2022-03-28T06:43:22.341" v="86" actId="478"/>
          <ac:spMkLst>
            <pc:docMk/>
            <pc:sldMk cId="0" sldId="262"/>
            <ac:spMk id="1147" creationId="{00000000-0000-0000-0000-000000000000}"/>
          </ac:spMkLst>
        </pc:spChg>
        <pc:spChg chg="del">
          <ac:chgData name="Kebba Jeng" userId="fe4cc296-ba7d-48a2-8799-89b58d218255" providerId="ADAL" clId="{388EFDEE-447E-42B4-98EF-30C01AB2E8CD}" dt="2022-03-28T06:43:22.341" v="86" actId="478"/>
          <ac:spMkLst>
            <pc:docMk/>
            <pc:sldMk cId="0" sldId="262"/>
            <ac:spMk id="1148" creationId="{00000000-0000-0000-0000-000000000000}"/>
          </ac:spMkLst>
        </pc:spChg>
        <pc:spChg chg="del">
          <ac:chgData name="Kebba Jeng" userId="fe4cc296-ba7d-48a2-8799-89b58d218255" providerId="ADAL" clId="{388EFDEE-447E-42B4-98EF-30C01AB2E8CD}" dt="2022-03-28T06:43:22.341" v="86" actId="478"/>
          <ac:spMkLst>
            <pc:docMk/>
            <pc:sldMk cId="0" sldId="262"/>
            <ac:spMk id="1149" creationId="{00000000-0000-0000-0000-000000000000}"/>
          </ac:spMkLst>
        </pc:spChg>
        <pc:spChg chg="del">
          <ac:chgData name="Kebba Jeng" userId="fe4cc296-ba7d-48a2-8799-89b58d218255" providerId="ADAL" clId="{388EFDEE-447E-42B4-98EF-30C01AB2E8CD}" dt="2022-03-28T06:43:22.341" v="86" actId="478"/>
          <ac:spMkLst>
            <pc:docMk/>
            <pc:sldMk cId="0" sldId="262"/>
            <ac:spMk id="1150" creationId="{00000000-0000-0000-0000-000000000000}"/>
          </ac:spMkLst>
        </pc:spChg>
        <pc:spChg chg="del">
          <ac:chgData name="Kebba Jeng" userId="fe4cc296-ba7d-48a2-8799-89b58d218255" providerId="ADAL" clId="{388EFDEE-447E-42B4-98EF-30C01AB2E8CD}" dt="2022-03-28T06:43:22.341" v="86" actId="478"/>
          <ac:spMkLst>
            <pc:docMk/>
            <pc:sldMk cId="0" sldId="262"/>
            <ac:spMk id="1151" creationId="{00000000-0000-0000-0000-000000000000}"/>
          </ac:spMkLst>
        </pc:spChg>
        <pc:spChg chg="del">
          <ac:chgData name="Kebba Jeng" userId="fe4cc296-ba7d-48a2-8799-89b58d218255" providerId="ADAL" clId="{388EFDEE-447E-42B4-98EF-30C01AB2E8CD}" dt="2022-03-28T06:43:22.341" v="86" actId="478"/>
          <ac:spMkLst>
            <pc:docMk/>
            <pc:sldMk cId="0" sldId="262"/>
            <ac:spMk id="1152" creationId="{00000000-0000-0000-0000-000000000000}"/>
          </ac:spMkLst>
        </pc:spChg>
        <pc:spChg chg="del">
          <ac:chgData name="Kebba Jeng" userId="fe4cc296-ba7d-48a2-8799-89b58d218255" providerId="ADAL" clId="{388EFDEE-447E-42B4-98EF-30C01AB2E8CD}" dt="2022-03-28T06:43:22.341" v="86" actId="478"/>
          <ac:spMkLst>
            <pc:docMk/>
            <pc:sldMk cId="0" sldId="262"/>
            <ac:spMk id="1153" creationId="{00000000-0000-0000-0000-000000000000}"/>
          </ac:spMkLst>
        </pc:spChg>
        <pc:spChg chg="del">
          <ac:chgData name="Kebba Jeng" userId="fe4cc296-ba7d-48a2-8799-89b58d218255" providerId="ADAL" clId="{388EFDEE-447E-42B4-98EF-30C01AB2E8CD}" dt="2022-03-28T06:43:22.341" v="86" actId="478"/>
          <ac:spMkLst>
            <pc:docMk/>
            <pc:sldMk cId="0" sldId="262"/>
            <ac:spMk id="1154" creationId="{00000000-0000-0000-0000-000000000000}"/>
          </ac:spMkLst>
        </pc:spChg>
        <pc:spChg chg="del">
          <ac:chgData name="Kebba Jeng" userId="fe4cc296-ba7d-48a2-8799-89b58d218255" providerId="ADAL" clId="{388EFDEE-447E-42B4-98EF-30C01AB2E8CD}" dt="2022-03-28T06:43:22.341" v="86" actId="478"/>
          <ac:spMkLst>
            <pc:docMk/>
            <pc:sldMk cId="0" sldId="262"/>
            <ac:spMk id="1155" creationId="{00000000-0000-0000-0000-000000000000}"/>
          </ac:spMkLst>
        </pc:spChg>
        <pc:spChg chg="del">
          <ac:chgData name="Kebba Jeng" userId="fe4cc296-ba7d-48a2-8799-89b58d218255" providerId="ADAL" clId="{388EFDEE-447E-42B4-98EF-30C01AB2E8CD}" dt="2022-03-28T06:43:22.341" v="86" actId="478"/>
          <ac:spMkLst>
            <pc:docMk/>
            <pc:sldMk cId="0" sldId="262"/>
            <ac:spMk id="1156" creationId="{00000000-0000-0000-0000-000000000000}"/>
          </ac:spMkLst>
        </pc:spChg>
        <pc:spChg chg="del">
          <ac:chgData name="Kebba Jeng" userId="fe4cc296-ba7d-48a2-8799-89b58d218255" providerId="ADAL" clId="{388EFDEE-447E-42B4-98EF-30C01AB2E8CD}" dt="2022-03-28T06:43:22.341" v="86" actId="478"/>
          <ac:spMkLst>
            <pc:docMk/>
            <pc:sldMk cId="0" sldId="262"/>
            <ac:spMk id="1157" creationId="{00000000-0000-0000-0000-000000000000}"/>
          </ac:spMkLst>
        </pc:spChg>
        <pc:spChg chg="del">
          <ac:chgData name="Kebba Jeng" userId="fe4cc296-ba7d-48a2-8799-89b58d218255" providerId="ADAL" clId="{388EFDEE-447E-42B4-98EF-30C01AB2E8CD}" dt="2022-03-28T06:43:22.341" v="86" actId="478"/>
          <ac:spMkLst>
            <pc:docMk/>
            <pc:sldMk cId="0" sldId="262"/>
            <ac:spMk id="1158" creationId="{00000000-0000-0000-0000-000000000000}"/>
          </ac:spMkLst>
        </pc:spChg>
        <pc:spChg chg="del">
          <ac:chgData name="Kebba Jeng" userId="fe4cc296-ba7d-48a2-8799-89b58d218255" providerId="ADAL" clId="{388EFDEE-447E-42B4-98EF-30C01AB2E8CD}" dt="2022-03-28T06:43:22.341" v="86" actId="478"/>
          <ac:spMkLst>
            <pc:docMk/>
            <pc:sldMk cId="0" sldId="262"/>
            <ac:spMk id="1159" creationId="{00000000-0000-0000-0000-000000000000}"/>
          </ac:spMkLst>
        </pc:spChg>
        <pc:spChg chg="del">
          <ac:chgData name="Kebba Jeng" userId="fe4cc296-ba7d-48a2-8799-89b58d218255" providerId="ADAL" clId="{388EFDEE-447E-42B4-98EF-30C01AB2E8CD}" dt="2022-03-28T06:43:22.341" v="86" actId="478"/>
          <ac:spMkLst>
            <pc:docMk/>
            <pc:sldMk cId="0" sldId="262"/>
            <ac:spMk id="1160" creationId="{00000000-0000-0000-0000-000000000000}"/>
          </ac:spMkLst>
        </pc:spChg>
        <pc:spChg chg="del">
          <ac:chgData name="Kebba Jeng" userId="fe4cc296-ba7d-48a2-8799-89b58d218255" providerId="ADAL" clId="{388EFDEE-447E-42B4-98EF-30C01AB2E8CD}" dt="2022-03-28T06:43:22.341" v="86" actId="478"/>
          <ac:spMkLst>
            <pc:docMk/>
            <pc:sldMk cId="0" sldId="262"/>
            <ac:spMk id="1161" creationId="{00000000-0000-0000-0000-000000000000}"/>
          </ac:spMkLst>
        </pc:spChg>
        <pc:spChg chg="del">
          <ac:chgData name="Kebba Jeng" userId="fe4cc296-ba7d-48a2-8799-89b58d218255" providerId="ADAL" clId="{388EFDEE-447E-42B4-98EF-30C01AB2E8CD}" dt="2022-03-28T06:43:22.341" v="86" actId="478"/>
          <ac:spMkLst>
            <pc:docMk/>
            <pc:sldMk cId="0" sldId="262"/>
            <ac:spMk id="1162" creationId="{00000000-0000-0000-0000-000000000000}"/>
          </ac:spMkLst>
        </pc:spChg>
        <pc:spChg chg="del">
          <ac:chgData name="Kebba Jeng" userId="fe4cc296-ba7d-48a2-8799-89b58d218255" providerId="ADAL" clId="{388EFDEE-447E-42B4-98EF-30C01AB2E8CD}" dt="2022-03-28T06:43:22.341" v="86" actId="478"/>
          <ac:spMkLst>
            <pc:docMk/>
            <pc:sldMk cId="0" sldId="262"/>
            <ac:spMk id="1163" creationId="{00000000-0000-0000-0000-000000000000}"/>
          </ac:spMkLst>
        </pc:spChg>
        <pc:spChg chg="del">
          <ac:chgData name="Kebba Jeng" userId="fe4cc296-ba7d-48a2-8799-89b58d218255" providerId="ADAL" clId="{388EFDEE-447E-42B4-98EF-30C01AB2E8CD}" dt="2022-03-28T06:43:22.341" v="86" actId="478"/>
          <ac:spMkLst>
            <pc:docMk/>
            <pc:sldMk cId="0" sldId="262"/>
            <ac:spMk id="1164" creationId="{00000000-0000-0000-0000-000000000000}"/>
          </ac:spMkLst>
        </pc:spChg>
        <pc:spChg chg="del">
          <ac:chgData name="Kebba Jeng" userId="fe4cc296-ba7d-48a2-8799-89b58d218255" providerId="ADAL" clId="{388EFDEE-447E-42B4-98EF-30C01AB2E8CD}" dt="2022-03-28T06:43:22.341" v="86" actId="478"/>
          <ac:spMkLst>
            <pc:docMk/>
            <pc:sldMk cId="0" sldId="262"/>
            <ac:spMk id="1165" creationId="{00000000-0000-0000-0000-000000000000}"/>
          </ac:spMkLst>
        </pc:spChg>
        <pc:spChg chg="del">
          <ac:chgData name="Kebba Jeng" userId="fe4cc296-ba7d-48a2-8799-89b58d218255" providerId="ADAL" clId="{388EFDEE-447E-42B4-98EF-30C01AB2E8CD}" dt="2022-03-28T06:43:22.341" v="86" actId="478"/>
          <ac:spMkLst>
            <pc:docMk/>
            <pc:sldMk cId="0" sldId="262"/>
            <ac:spMk id="1166" creationId="{00000000-0000-0000-0000-000000000000}"/>
          </ac:spMkLst>
        </pc:spChg>
        <pc:spChg chg="del">
          <ac:chgData name="Kebba Jeng" userId="fe4cc296-ba7d-48a2-8799-89b58d218255" providerId="ADAL" clId="{388EFDEE-447E-42B4-98EF-30C01AB2E8CD}" dt="2022-03-28T06:43:22.341" v="86" actId="478"/>
          <ac:spMkLst>
            <pc:docMk/>
            <pc:sldMk cId="0" sldId="262"/>
            <ac:spMk id="1167" creationId="{00000000-0000-0000-0000-000000000000}"/>
          </ac:spMkLst>
        </pc:spChg>
        <pc:spChg chg="del">
          <ac:chgData name="Kebba Jeng" userId="fe4cc296-ba7d-48a2-8799-89b58d218255" providerId="ADAL" clId="{388EFDEE-447E-42B4-98EF-30C01AB2E8CD}" dt="2022-03-28T06:43:22.341" v="86" actId="478"/>
          <ac:spMkLst>
            <pc:docMk/>
            <pc:sldMk cId="0" sldId="262"/>
            <ac:spMk id="1168" creationId="{00000000-0000-0000-0000-000000000000}"/>
          </ac:spMkLst>
        </pc:spChg>
        <pc:spChg chg="del">
          <ac:chgData name="Kebba Jeng" userId="fe4cc296-ba7d-48a2-8799-89b58d218255" providerId="ADAL" clId="{388EFDEE-447E-42B4-98EF-30C01AB2E8CD}" dt="2022-03-28T06:43:22.341" v="86" actId="478"/>
          <ac:spMkLst>
            <pc:docMk/>
            <pc:sldMk cId="0" sldId="262"/>
            <ac:spMk id="1169" creationId="{00000000-0000-0000-0000-000000000000}"/>
          </ac:spMkLst>
        </pc:spChg>
        <pc:spChg chg="del">
          <ac:chgData name="Kebba Jeng" userId="fe4cc296-ba7d-48a2-8799-89b58d218255" providerId="ADAL" clId="{388EFDEE-447E-42B4-98EF-30C01AB2E8CD}" dt="2022-03-28T06:43:22.341" v="86" actId="478"/>
          <ac:spMkLst>
            <pc:docMk/>
            <pc:sldMk cId="0" sldId="262"/>
            <ac:spMk id="1170" creationId="{00000000-0000-0000-0000-000000000000}"/>
          </ac:spMkLst>
        </pc:spChg>
        <pc:spChg chg="del">
          <ac:chgData name="Kebba Jeng" userId="fe4cc296-ba7d-48a2-8799-89b58d218255" providerId="ADAL" clId="{388EFDEE-447E-42B4-98EF-30C01AB2E8CD}" dt="2022-03-28T06:43:22.341" v="86" actId="478"/>
          <ac:spMkLst>
            <pc:docMk/>
            <pc:sldMk cId="0" sldId="262"/>
            <ac:spMk id="1171" creationId="{00000000-0000-0000-0000-000000000000}"/>
          </ac:spMkLst>
        </pc:spChg>
        <pc:spChg chg="del">
          <ac:chgData name="Kebba Jeng" userId="fe4cc296-ba7d-48a2-8799-89b58d218255" providerId="ADAL" clId="{388EFDEE-447E-42B4-98EF-30C01AB2E8CD}" dt="2022-03-28T06:43:22.341" v="86" actId="478"/>
          <ac:spMkLst>
            <pc:docMk/>
            <pc:sldMk cId="0" sldId="262"/>
            <ac:spMk id="1172" creationId="{00000000-0000-0000-0000-000000000000}"/>
          </ac:spMkLst>
        </pc:spChg>
        <pc:spChg chg="del">
          <ac:chgData name="Kebba Jeng" userId="fe4cc296-ba7d-48a2-8799-89b58d218255" providerId="ADAL" clId="{388EFDEE-447E-42B4-98EF-30C01AB2E8CD}" dt="2022-03-28T06:43:22.341" v="86" actId="478"/>
          <ac:spMkLst>
            <pc:docMk/>
            <pc:sldMk cId="0" sldId="262"/>
            <ac:spMk id="1173" creationId="{00000000-0000-0000-0000-000000000000}"/>
          </ac:spMkLst>
        </pc:spChg>
        <pc:spChg chg="del">
          <ac:chgData name="Kebba Jeng" userId="fe4cc296-ba7d-48a2-8799-89b58d218255" providerId="ADAL" clId="{388EFDEE-447E-42B4-98EF-30C01AB2E8CD}" dt="2022-03-28T06:43:22.341" v="86" actId="478"/>
          <ac:spMkLst>
            <pc:docMk/>
            <pc:sldMk cId="0" sldId="262"/>
            <ac:spMk id="1174" creationId="{00000000-0000-0000-0000-000000000000}"/>
          </ac:spMkLst>
        </pc:spChg>
        <pc:spChg chg="del">
          <ac:chgData name="Kebba Jeng" userId="fe4cc296-ba7d-48a2-8799-89b58d218255" providerId="ADAL" clId="{388EFDEE-447E-42B4-98EF-30C01AB2E8CD}" dt="2022-03-28T06:43:22.341" v="86" actId="478"/>
          <ac:spMkLst>
            <pc:docMk/>
            <pc:sldMk cId="0" sldId="262"/>
            <ac:spMk id="1175" creationId="{00000000-0000-0000-0000-000000000000}"/>
          </ac:spMkLst>
        </pc:spChg>
        <pc:spChg chg="del">
          <ac:chgData name="Kebba Jeng" userId="fe4cc296-ba7d-48a2-8799-89b58d218255" providerId="ADAL" clId="{388EFDEE-447E-42B4-98EF-30C01AB2E8CD}" dt="2022-03-28T06:43:22.341" v="86" actId="478"/>
          <ac:spMkLst>
            <pc:docMk/>
            <pc:sldMk cId="0" sldId="262"/>
            <ac:spMk id="1176" creationId="{00000000-0000-0000-0000-000000000000}"/>
          </ac:spMkLst>
        </pc:spChg>
        <pc:spChg chg="del">
          <ac:chgData name="Kebba Jeng" userId="fe4cc296-ba7d-48a2-8799-89b58d218255" providerId="ADAL" clId="{388EFDEE-447E-42B4-98EF-30C01AB2E8CD}" dt="2022-03-28T06:43:22.341" v="86" actId="478"/>
          <ac:spMkLst>
            <pc:docMk/>
            <pc:sldMk cId="0" sldId="262"/>
            <ac:spMk id="1177" creationId="{00000000-0000-0000-0000-000000000000}"/>
          </ac:spMkLst>
        </pc:spChg>
        <pc:spChg chg="del">
          <ac:chgData name="Kebba Jeng" userId="fe4cc296-ba7d-48a2-8799-89b58d218255" providerId="ADAL" clId="{388EFDEE-447E-42B4-98EF-30C01AB2E8CD}" dt="2022-03-28T06:43:22.341" v="86" actId="478"/>
          <ac:spMkLst>
            <pc:docMk/>
            <pc:sldMk cId="0" sldId="262"/>
            <ac:spMk id="1178" creationId="{00000000-0000-0000-0000-000000000000}"/>
          </ac:spMkLst>
        </pc:spChg>
        <pc:spChg chg="del">
          <ac:chgData name="Kebba Jeng" userId="fe4cc296-ba7d-48a2-8799-89b58d218255" providerId="ADAL" clId="{388EFDEE-447E-42B4-98EF-30C01AB2E8CD}" dt="2022-03-28T06:43:22.341" v="86" actId="478"/>
          <ac:spMkLst>
            <pc:docMk/>
            <pc:sldMk cId="0" sldId="262"/>
            <ac:spMk id="1179" creationId="{00000000-0000-0000-0000-000000000000}"/>
          </ac:spMkLst>
        </pc:spChg>
        <pc:spChg chg="del">
          <ac:chgData name="Kebba Jeng" userId="fe4cc296-ba7d-48a2-8799-89b58d218255" providerId="ADAL" clId="{388EFDEE-447E-42B4-98EF-30C01AB2E8CD}" dt="2022-03-28T06:43:22.341" v="86" actId="478"/>
          <ac:spMkLst>
            <pc:docMk/>
            <pc:sldMk cId="0" sldId="262"/>
            <ac:spMk id="1180" creationId="{00000000-0000-0000-0000-000000000000}"/>
          </ac:spMkLst>
        </pc:spChg>
        <pc:spChg chg="del">
          <ac:chgData name="Kebba Jeng" userId="fe4cc296-ba7d-48a2-8799-89b58d218255" providerId="ADAL" clId="{388EFDEE-447E-42B4-98EF-30C01AB2E8CD}" dt="2022-03-28T06:43:22.341" v="86" actId="478"/>
          <ac:spMkLst>
            <pc:docMk/>
            <pc:sldMk cId="0" sldId="262"/>
            <ac:spMk id="1181" creationId="{00000000-0000-0000-0000-000000000000}"/>
          </ac:spMkLst>
        </pc:spChg>
        <pc:spChg chg="del">
          <ac:chgData name="Kebba Jeng" userId="fe4cc296-ba7d-48a2-8799-89b58d218255" providerId="ADAL" clId="{388EFDEE-447E-42B4-98EF-30C01AB2E8CD}" dt="2022-03-28T06:43:22.341" v="86" actId="478"/>
          <ac:spMkLst>
            <pc:docMk/>
            <pc:sldMk cId="0" sldId="262"/>
            <ac:spMk id="1182" creationId="{00000000-0000-0000-0000-000000000000}"/>
          </ac:spMkLst>
        </pc:spChg>
        <pc:spChg chg="del">
          <ac:chgData name="Kebba Jeng" userId="fe4cc296-ba7d-48a2-8799-89b58d218255" providerId="ADAL" clId="{388EFDEE-447E-42B4-98EF-30C01AB2E8CD}" dt="2022-03-28T06:43:22.341" v="86" actId="478"/>
          <ac:spMkLst>
            <pc:docMk/>
            <pc:sldMk cId="0" sldId="262"/>
            <ac:spMk id="1183" creationId="{00000000-0000-0000-0000-000000000000}"/>
          </ac:spMkLst>
        </pc:spChg>
        <pc:spChg chg="del">
          <ac:chgData name="Kebba Jeng" userId="fe4cc296-ba7d-48a2-8799-89b58d218255" providerId="ADAL" clId="{388EFDEE-447E-42B4-98EF-30C01AB2E8CD}" dt="2022-03-28T06:43:22.341" v="86" actId="478"/>
          <ac:spMkLst>
            <pc:docMk/>
            <pc:sldMk cId="0" sldId="262"/>
            <ac:spMk id="1184" creationId="{00000000-0000-0000-0000-000000000000}"/>
          </ac:spMkLst>
        </pc:spChg>
        <pc:spChg chg="del">
          <ac:chgData name="Kebba Jeng" userId="fe4cc296-ba7d-48a2-8799-89b58d218255" providerId="ADAL" clId="{388EFDEE-447E-42B4-98EF-30C01AB2E8CD}" dt="2022-03-28T06:43:22.341" v="86" actId="478"/>
          <ac:spMkLst>
            <pc:docMk/>
            <pc:sldMk cId="0" sldId="262"/>
            <ac:spMk id="1185" creationId="{00000000-0000-0000-0000-000000000000}"/>
          </ac:spMkLst>
        </pc:spChg>
        <pc:spChg chg="del">
          <ac:chgData name="Kebba Jeng" userId="fe4cc296-ba7d-48a2-8799-89b58d218255" providerId="ADAL" clId="{388EFDEE-447E-42B4-98EF-30C01AB2E8CD}" dt="2022-03-28T06:43:22.341" v="86" actId="478"/>
          <ac:spMkLst>
            <pc:docMk/>
            <pc:sldMk cId="0" sldId="262"/>
            <ac:spMk id="1186" creationId="{00000000-0000-0000-0000-000000000000}"/>
          </ac:spMkLst>
        </pc:spChg>
        <pc:spChg chg="del">
          <ac:chgData name="Kebba Jeng" userId="fe4cc296-ba7d-48a2-8799-89b58d218255" providerId="ADAL" clId="{388EFDEE-447E-42B4-98EF-30C01AB2E8CD}" dt="2022-03-28T06:43:22.341" v="86" actId="478"/>
          <ac:spMkLst>
            <pc:docMk/>
            <pc:sldMk cId="0" sldId="262"/>
            <ac:spMk id="1187" creationId="{00000000-0000-0000-0000-000000000000}"/>
          </ac:spMkLst>
        </pc:spChg>
        <pc:spChg chg="del">
          <ac:chgData name="Kebba Jeng" userId="fe4cc296-ba7d-48a2-8799-89b58d218255" providerId="ADAL" clId="{388EFDEE-447E-42B4-98EF-30C01AB2E8CD}" dt="2022-03-28T06:43:22.341" v="86" actId="478"/>
          <ac:spMkLst>
            <pc:docMk/>
            <pc:sldMk cId="0" sldId="262"/>
            <ac:spMk id="1188" creationId="{00000000-0000-0000-0000-000000000000}"/>
          </ac:spMkLst>
        </pc:spChg>
        <pc:spChg chg="del">
          <ac:chgData name="Kebba Jeng" userId="fe4cc296-ba7d-48a2-8799-89b58d218255" providerId="ADAL" clId="{388EFDEE-447E-42B4-98EF-30C01AB2E8CD}" dt="2022-03-28T06:43:22.341" v="86" actId="478"/>
          <ac:spMkLst>
            <pc:docMk/>
            <pc:sldMk cId="0" sldId="262"/>
            <ac:spMk id="1189" creationId="{00000000-0000-0000-0000-000000000000}"/>
          </ac:spMkLst>
        </pc:spChg>
        <pc:spChg chg="del">
          <ac:chgData name="Kebba Jeng" userId="fe4cc296-ba7d-48a2-8799-89b58d218255" providerId="ADAL" clId="{388EFDEE-447E-42B4-98EF-30C01AB2E8CD}" dt="2022-03-28T06:43:22.341" v="86" actId="478"/>
          <ac:spMkLst>
            <pc:docMk/>
            <pc:sldMk cId="0" sldId="262"/>
            <ac:spMk id="1190" creationId="{00000000-0000-0000-0000-000000000000}"/>
          </ac:spMkLst>
        </pc:spChg>
        <pc:spChg chg="del">
          <ac:chgData name="Kebba Jeng" userId="fe4cc296-ba7d-48a2-8799-89b58d218255" providerId="ADAL" clId="{388EFDEE-447E-42B4-98EF-30C01AB2E8CD}" dt="2022-03-28T06:43:22.341" v="86" actId="478"/>
          <ac:spMkLst>
            <pc:docMk/>
            <pc:sldMk cId="0" sldId="262"/>
            <ac:spMk id="1191" creationId="{00000000-0000-0000-0000-000000000000}"/>
          </ac:spMkLst>
        </pc:spChg>
        <pc:spChg chg="del">
          <ac:chgData name="Kebba Jeng" userId="fe4cc296-ba7d-48a2-8799-89b58d218255" providerId="ADAL" clId="{388EFDEE-447E-42B4-98EF-30C01AB2E8CD}" dt="2022-03-28T06:43:22.341" v="86" actId="478"/>
          <ac:spMkLst>
            <pc:docMk/>
            <pc:sldMk cId="0" sldId="262"/>
            <ac:spMk id="1192" creationId="{00000000-0000-0000-0000-000000000000}"/>
          </ac:spMkLst>
        </pc:spChg>
        <pc:spChg chg="del">
          <ac:chgData name="Kebba Jeng" userId="fe4cc296-ba7d-48a2-8799-89b58d218255" providerId="ADAL" clId="{388EFDEE-447E-42B4-98EF-30C01AB2E8CD}" dt="2022-03-28T06:43:22.341" v="86" actId="478"/>
          <ac:spMkLst>
            <pc:docMk/>
            <pc:sldMk cId="0" sldId="262"/>
            <ac:spMk id="1193" creationId="{00000000-0000-0000-0000-000000000000}"/>
          </ac:spMkLst>
        </pc:spChg>
        <pc:spChg chg="del">
          <ac:chgData name="Kebba Jeng" userId="fe4cc296-ba7d-48a2-8799-89b58d218255" providerId="ADAL" clId="{388EFDEE-447E-42B4-98EF-30C01AB2E8CD}" dt="2022-03-28T06:43:22.341" v="86" actId="478"/>
          <ac:spMkLst>
            <pc:docMk/>
            <pc:sldMk cId="0" sldId="262"/>
            <ac:spMk id="1194" creationId="{00000000-0000-0000-0000-000000000000}"/>
          </ac:spMkLst>
        </pc:spChg>
        <pc:spChg chg="del">
          <ac:chgData name="Kebba Jeng" userId="fe4cc296-ba7d-48a2-8799-89b58d218255" providerId="ADAL" clId="{388EFDEE-447E-42B4-98EF-30C01AB2E8CD}" dt="2022-03-28T06:43:22.341" v="86" actId="478"/>
          <ac:spMkLst>
            <pc:docMk/>
            <pc:sldMk cId="0" sldId="262"/>
            <ac:spMk id="1195" creationId="{00000000-0000-0000-0000-000000000000}"/>
          </ac:spMkLst>
        </pc:spChg>
        <pc:spChg chg="del">
          <ac:chgData name="Kebba Jeng" userId="fe4cc296-ba7d-48a2-8799-89b58d218255" providerId="ADAL" clId="{388EFDEE-447E-42B4-98EF-30C01AB2E8CD}" dt="2022-03-28T06:43:22.341" v="86" actId="478"/>
          <ac:spMkLst>
            <pc:docMk/>
            <pc:sldMk cId="0" sldId="262"/>
            <ac:spMk id="1196" creationId="{00000000-0000-0000-0000-000000000000}"/>
          </ac:spMkLst>
        </pc:spChg>
        <pc:spChg chg="del">
          <ac:chgData name="Kebba Jeng" userId="fe4cc296-ba7d-48a2-8799-89b58d218255" providerId="ADAL" clId="{388EFDEE-447E-42B4-98EF-30C01AB2E8CD}" dt="2022-03-28T06:43:22.341" v="86" actId="478"/>
          <ac:spMkLst>
            <pc:docMk/>
            <pc:sldMk cId="0" sldId="262"/>
            <ac:spMk id="1197" creationId="{00000000-0000-0000-0000-000000000000}"/>
          </ac:spMkLst>
        </pc:spChg>
        <pc:spChg chg="del">
          <ac:chgData name="Kebba Jeng" userId="fe4cc296-ba7d-48a2-8799-89b58d218255" providerId="ADAL" clId="{388EFDEE-447E-42B4-98EF-30C01AB2E8CD}" dt="2022-03-28T06:43:22.341" v="86" actId="478"/>
          <ac:spMkLst>
            <pc:docMk/>
            <pc:sldMk cId="0" sldId="262"/>
            <ac:spMk id="1198" creationId="{00000000-0000-0000-0000-000000000000}"/>
          </ac:spMkLst>
        </pc:spChg>
        <pc:spChg chg="del">
          <ac:chgData name="Kebba Jeng" userId="fe4cc296-ba7d-48a2-8799-89b58d218255" providerId="ADAL" clId="{388EFDEE-447E-42B4-98EF-30C01AB2E8CD}" dt="2022-03-28T06:43:22.341" v="86" actId="478"/>
          <ac:spMkLst>
            <pc:docMk/>
            <pc:sldMk cId="0" sldId="262"/>
            <ac:spMk id="1199" creationId="{00000000-0000-0000-0000-000000000000}"/>
          </ac:spMkLst>
        </pc:spChg>
        <pc:spChg chg="del">
          <ac:chgData name="Kebba Jeng" userId="fe4cc296-ba7d-48a2-8799-89b58d218255" providerId="ADAL" clId="{388EFDEE-447E-42B4-98EF-30C01AB2E8CD}" dt="2022-03-28T06:43:22.341" v="86" actId="478"/>
          <ac:spMkLst>
            <pc:docMk/>
            <pc:sldMk cId="0" sldId="262"/>
            <ac:spMk id="1200" creationId="{00000000-0000-0000-0000-000000000000}"/>
          </ac:spMkLst>
        </pc:spChg>
        <pc:spChg chg="del">
          <ac:chgData name="Kebba Jeng" userId="fe4cc296-ba7d-48a2-8799-89b58d218255" providerId="ADAL" clId="{388EFDEE-447E-42B4-98EF-30C01AB2E8CD}" dt="2022-03-28T06:43:22.341" v="86" actId="478"/>
          <ac:spMkLst>
            <pc:docMk/>
            <pc:sldMk cId="0" sldId="262"/>
            <ac:spMk id="1201" creationId="{00000000-0000-0000-0000-000000000000}"/>
          </ac:spMkLst>
        </pc:spChg>
        <pc:spChg chg="del">
          <ac:chgData name="Kebba Jeng" userId="fe4cc296-ba7d-48a2-8799-89b58d218255" providerId="ADAL" clId="{388EFDEE-447E-42B4-98EF-30C01AB2E8CD}" dt="2022-03-28T06:43:22.341" v="86" actId="478"/>
          <ac:spMkLst>
            <pc:docMk/>
            <pc:sldMk cId="0" sldId="262"/>
            <ac:spMk id="1202" creationId="{00000000-0000-0000-0000-000000000000}"/>
          </ac:spMkLst>
        </pc:spChg>
        <pc:spChg chg="del">
          <ac:chgData name="Kebba Jeng" userId="fe4cc296-ba7d-48a2-8799-89b58d218255" providerId="ADAL" clId="{388EFDEE-447E-42B4-98EF-30C01AB2E8CD}" dt="2022-03-28T06:43:22.341" v="86" actId="478"/>
          <ac:spMkLst>
            <pc:docMk/>
            <pc:sldMk cId="0" sldId="262"/>
            <ac:spMk id="1203" creationId="{00000000-0000-0000-0000-000000000000}"/>
          </ac:spMkLst>
        </pc:spChg>
        <pc:spChg chg="del">
          <ac:chgData name="Kebba Jeng" userId="fe4cc296-ba7d-48a2-8799-89b58d218255" providerId="ADAL" clId="{388EFDEE-447E-42B4-98EF-30C01AB2E8CD}" dt="2022-03-28T06:43:22.341" v="86" actId="478"/>
          <ac:spMkLst>
            <pc:docMk/>
            <pc:sldMk cId="0" sldId="262"/>
            <ac:spMk id="1204" creationId="{00000000-0000-0000-0000-000000000000}"/>
          </ac:spMkLst>
        </pc:spChg>
        <pc:spChg chg="del">
          <ac:chgData name="Kebba Jeng" userId="fe4cc296-ba7d-48a2-8799-89b58d218255" providerId="ADAL" clId="{388EFDEE-447E-42B4-98EF-30C01AB2E8CD}" dt="2022-03-28T06:43:22.341" v="86" actId="478"/>
          <ac:spMkLst>
            <pc:docMk/>
            <pc:sldMk cId="0" sldId="262"/>
            <ac:spMk id="1205" creationId="{00000000-0000-0000-0000-000000000000}"/>
          </ac:spMkLst>
        </pc:spChg>
        <pc:spChg chg="del">
          <ac:chgData name="Kebba Jeng" userId="fe4cc296-ba7d-48a2-8799-89b58d218255" providerId="ADAL" clId="{388EFDEE-447E-42B4-98EF-30C01AB2E8CD}" dt="2022-03-28T06:43:22.341" v="86" actId="478"/>
          <ac:spMkLst>
            <pc:docMk/>
            <pc:sldMk cId="0" sldId="262"/>
            <ac:spMk id="1206" creationId="{00000000-0000-0000-0000-000000000000}"/>
          </ac:spMkLst>
        </pc:spChg>
        <pc:spChg chg="del">
          <ac:chgData name="Kebba Jeng" userId="fe4cc296-ba7d-48a2-8799-89b58d218255" providerId="ADAL" clId="{388EFDEE-447E-42B4-98EF-30C01AB2E8CD}" dt="2022-03-28T06:43:22.341" v="86" actId="478"/>
          <ac:spMkLst>
            <pc:docMk/>
            <pc:sldMk cId="0" sldId="262"/>
            <ac:spMk id="1207" creationId="{00000000-0000-0000-0000-000000000000}"/>
          </ac:spMkLst>
        </pc:spChg>
        <pc:spChg chg="del">
          <ac:chgData name="Kebba Jeng" userId="fe4cc296-ba7d-48a2-8799-89b58d218255" providerId="ADAL" clId="{388EFDEE-447E-42B4-98EF-30C01AB2E8CD}" dt="2022-03-28T06:43:22.341" v="86" actId="478"/>
          <ac:spMkLst>
            <pc:docMk/>
            <pc:sldMk cId="0" sldId="262"/>
            <ac:spMk id="1208" creationId="{00000000-0000-0000-0000-000000000000}"/>
          </ac:spMkLst>
        </pc:spChg>
        <pc:spChg chg="del">
          <ac:chgData name="Kebba Jeng" userId="fe4cc296-ba7d-48a2-8799-89b58d218255" providerId="ADAL" clId="{388EFDEE-447E-42B4-98EF-30C01AB2E8CD}" dt="2022-03-28T06:43:22.341" v="86" actId="478"/>
          <ac:spMkLst>
            <pc:docMk/>
            <pc:sldMk cId="0" sldId="262"/>
            <ac:spMk id="1209" creationId="{00000000-0000-0000-0000-000000000000}"/>
          </ac:spMkLst>
        </pc:spChg>
        <pc:spChg chg="del">
          <ac:chgData name="Kebba Jeng" userId="fe4cc296-ba7d-48a2-8799-89b58d218255" providerId="ADAL" clId="{388EFDEE-447E-42B4-98EF-30C01AB2E8CD}" dt="2022-03-28T06:43:22.341" v="86" actId="478"/>
          <ac:spMkLst>
            <pc:docMk/>
            <pc:sldMk cId="0" sldId="262"/>
            <ac:spMk id="1210" creationId="{00000000-0000-0000-0000-000000000000}"/>
          </ac:spMkLst>
        </pc:spChg>
        <pc:spChg chg="del">
          <ac:chgData name="Kebba Jeng" userId="fe4cc296-ba7d-48a2-8799-89b58d218255" providerId="ADAL" clId="{388EFDEE-447E-42B4-98EF-30C01AB2E8CD}" dt="2022-03-28T06:43:22.341" v="86" actId="478"/>
          <ac:spMkLst>
            <pc:docMk/>
            <pc:sldMk cId="0" sldId="262"/>
            <ac:spMk id="1211" creationId="{00000000-0000-0000-0000-000000000000}"/>
          </ac:spMkLst>
        </pc:spChg>
        <pc:spChg chg="del">
          <ac:chgData name="Kebba Jeng" userId="fe4cc296-ba7d-48a2-8799-89b58d218255" providerId="ADAL" clId="{388EFDEE-447E-42B4-98EF-30C01AB2E8CD}" dt="2022-03-28T06:43:22.341" v="86" actId="478"/>
          <ac:spMkLst>
            <pc:docMk/>
            <pc:sldMk cId="0" sldId="262"/>
            <ac:spMk id="1212" creationId="{00000000-0000-0000-0000-000000000000}"/>
          </ac:spMkLst>
        </pc:spChg>
        <pc:spChg chg="del">
          <ac:chgData name="Kebba Jeng" userId="fe4cc296-ba7d-48a2-8799-89b58d218255" providerId="ADAL" clId="{388EFDEE-447E-42B4-98EF-30C01AB2E8CD}" dt="2022-03-28T06:43:22.341" v="86" actId="478"/>
          <ac:spMkLst>
            <pc:docMk/>
            <pc:sldMk cId="0" sldId="262"/>
            <ac:spMk id="1213" creationId="{00000000-0000-0000-0000-000000000000}"/>
          </ac:spMkLst>
        </pc:spChg>
        <pc:spChg chg="del">
          <ac:chgData name="Kebba Jeng" userId="fe4cc296-ba7d-48a2-8799-89b58d218255" providerId="ADAL" clId="{388EFDEE-447E-42B4-98EF-30C01AB2E8CD}" dt="2022-03-28T06:43:22.341" v="86" actId="478"/>
          <ac:spMkLst>
            <pc:docMk/>
            <pc:sldMk cId="0" sldId="262"/>
            <ac:spMk id="1214" creationId="{00000000-0000-0000-0000-000000000000}"/>
          </ac:spMkLst>
        </pc:spChg>
        <pc:spChg chg="del">
          <ac:chgData name="Kebba Jeng" userId="fe4cc296-ba7d-48a2-8799-89b58d218255" providerId="ADAL" clId="{388EFDEE-447E-42B4-98EF-30C01AB2E8CD}" dt="2022-03-28T06:43:22.341" v="86" actId="478"/>
          <ac:spMkLst>
            <pc:docMk/>
            <pc:sldMk cId="0" sldId="262"/>
            <ac:spMk id="1215" creationId="{00000000-0000-0000-0000-000000000000}"/>
          </ac:spMkLst>
        </pc:spChg>
        <pc:spChg chg="del">
          <ac:chgData name="Kebba Jeng" userId="fe4cc296-ba7d-48a2-8799-89b58d218255" providerId="ADAL" clId="{388EFDEE-447E-42B4-98EF-30C01AB2E8CD}" dt="2022-03-28T06:43:22.341" v="86" actId="478"/>
          <ac:spMkLst>
            <pc:docMk/>
            <pc:sldMk cId="0" sldId="262"/>
            <ac:spMk id="1216" creationId="{00000000-0000-0000-0000-000000000000}"/>
          </ac:spMkLst>
        </pc:spChg>
        <pc:spChg chg="del">
          <ac:chgData name="Kebba Jeng" userId="fe4cc296-ba7d-48a2-8799-89b58d218255" providerId="ADAL" clId="{388EFDEE-447E-42B4-98EF-30C01AB2E8CD}" dt="2022-03-28T06:43:22.341" v="86" actId="478"/>
          <ac:spMkLst>
            <pc:docMk/>
            <pc:sldMk cId="0" sldId="262"/>
            <ac:spMk id="1217" creationId="{00000000-0000-0000-0000-000000000000}"/>
          </ac:spMkLst>
        </pc:spChg>
        <pc:spChg chg="del">
          <ac:chgData name="Kebba Jeng" userId="fe4cc296-ba7d-48a2-8799-89b58d218255" providerId="ADAL" clId="{388EFDEE-447E-42B4-98EF-30C01AB2E8CD}" dt="2022-03-28T06:43:22.341" v="86" actId="478"/>
          <ac:spMkLst>
            <pc:docMk/>
            <pc:sldMk cId="0" sldId="262"/>
            <ac:spMk id="1218" creationId="{00000000-0000-0000-0000-000000000000}"/>
          </ac:spMkLst>
        </pc:spChg>
        <pc:spChg chg="del">
          <ac:chgData name="Kebba Jeng" userId="fe4cc296-ba7d-48a2-8799-89b58d218255" providerId="ADAL" clId="{388EFDEE-447E-42B4-98EF-30C01AB2E8CD}" dt="2022-03-28T06:43:22.341" v="86" actId="478"/>
          <ac:spMkLst>
            <pc:docMk/>
            <pc:sldMk cId="0" sldId="262"/>
            <ac:spMk id="1219" creationId="{00000000-0000-0000-0000-000000000000}"/>
          </ac:spMkLst>
        </pc:spChg>
        <pc:spChg chg="del">
          <ac:chgData name="Kebba Jeng" userId="fe4cc296-ba7d-48a2-8799-89b58d218255" providerId="ADAL" clId="{388EFDEE-447E-42B4-98EF-30C01AB2E8CD}" dt="2022-03-28T06:43:22.341" v="86" actId="478"/>
          <ac:spMkLst>
            <pc:docMk/>
            <pc:sldMk cId="0" sldId="262"/>
            <ac:spMk id="1220" creationId="{00000000-0000-0000-0000-000000000000}"/>
          </ac:spMkLst>
        </pc:spChg>
        <pc:spChg chg="del">
          <ac:chgData name="Kebba Jeng" userId="fe4cc296-ba7d-48a2-8799-89b58d218255" providerId="ADAL" clId="{388EFDEE-447E-42B4-98EF-30C01AB2E8CD}" dt="2022-03-28T06:43:22.341" v="86" actId="478"/>
          <ac:spMkLst>
            <pc:docMk/>
            <pc:sldMk cId="0" sldId="262"/>
            <ac:spMk id="1221" creationId="{00000000-0000-0000-0000-000000000000}"/>
          </ac:spMkLst>
        </pc:spChg>
        <pc:spChg chg="del">
          <ac:chgData name="Kebba Jeng" userId="fe4cc296-ba7d-48a2-8799-89b58d218255" providerId="ADAL" clId="{388EFDEE-447E-42B4-98EF-30C01AB2E8CD}" dt="2022-03-28T06:43:22.341" v="86" actId="478"/>
          <ac:spMkLst>
            <pc:docMk/>
            <pc:sldMk cId="0" sldId="262"/>
            <ac:spMk id="1222" creationId="{00000000-0000-0000-0000-000000000000}"/>
          </ac:spMkLst>
        </pc:spChg>
        <pc:spChg chg="del">
          <ac:chgData name="Kebba Jeng" userId="fe4cc296-ba7d-48a2-8799-89b58d218255" providerId="ADAL" clId="{388EFDEE-447E-42B4-98EF-30C01AB2E8CD}" dt="2022-03-28T06:43:22.341" v="86" actId="478"/>
          <ac:spMkLst>
            <pc:docMk/>
            <pc:sldMk cId="0" sldId="262"/>
            <ac:spMk id="1223" creationId="{00000000-0000-0000-0000-000000000000}"/>
          </ac:spMkLst>
        </pc:spChg>
        <pc:spChg chg="del">
          <ac:chgData name="Kebba Jeng" userId="fe4cc296-ba7d-48a2-8799-89b58d218255" providerId="ADAL" clId="{388EFDEE-447E-42B4-98EF-30C01AB2E8CD}" dt="2022-03-28T06:43:22.341" v="86" actId="478"/>
          <ac:spMkLst>
            <pc:docMk/>
            <pc:sldMk cId="0" sldId="262"/>
            <ac:spMk id="1224" creationId="{00000000-0000-0000-0000-000000000000}"/>
          </ac:spMkLst>
        </pc:spChg>
        <pc:spChg chg="del">
          <ac:chgData name="Kebba Jeng" userId="fe4cc296-ba7d-48a2-8799-89b58d218255" providerId="ADAL" clId="{388EFDEE-447E-42B4-98EF-30C01AB2E8CD}" dt="2022-03-28T06:43:22.341" v="86" actId="478"/>
          <ac:spMkLst>
            <pc:docMk/>
            <pc:sldMk cId="0" sldId="262"/>
            <ac:spMk id="1225" creationId="{00000000-0000-0000-0000-000000000000}"/>
          </ac:spMkLst>
        </pc:spChg>
        <pc:spChg chg="del">
          <ac:chgData name="Kebba Jeng" userId="fe4cc296-ba7d-48a2-8799-89b58d218255" providerId="ADAL" clId="{388EFDEE-447E-42B4-98EF-30C01AB2E8CD}" dt="2022-03-28T06:43:22.341" v="86" actId="478"/>
          <ac:spMkLst>
            <pc:docMk/>
            <pc:sldMk cId="0" sldId="262"/>
            <ac:spMk id="1226" creationId="{00000000-0000-0000-0000-000000000000}"/>
          </ac:spMkLst>
        </pc:spChg>
        <pc:spChg chg="del">
          <ac:chgData name="Kebba Jeng" userId="fe4cc296-ba7d-48a2-8799-89b58d218255" providerId="ADAL" clId="{388EFDEE-447E-42B4-98EF-30C01AB2E8CD}" dt="2022-03-28T06:43:22.341" v="86" actId="478"/>
          <ac:spMkLst>
            <pc:docMk/>
            <pc:sldMk cId="0" sldId="262"/>
            <ac:spMk id="1227" creationId="{00000000-0000-0000-0000-000000000000}"/>
          </ac:spMkLst>
        </pc:spChg>
        <pc:spChg chg="del">
          <ac:chgData name="Kebba Jeng" userId="fe4cc296-ba7d-48a2-8799-89b58d218255" providerId="ADAL" clId="{388EFDEE-447E-42B4-98EF-30C01AB2E8CD}" dt="2022-03-28T06:43:22.341" v="86" actId="478"/>
          <ac:spMkLst>
            <pc:docMk/>
            <pc:sldMk cId="0" sldId="262"/>
            <ac:spMk id="1228" creationId="{00000000-0000-0000-0000-000000000000}"/>
          </ac:spMkLst>
        </pc:spChg>
        <pc:spChg chg="del">
          <ac:chgData name="Kebba Jeng" userId="fe4cc296-ba7d-48a2-8799-89b58d218255" providerId="ADAL" clId="{388EFDEE-447E-42B4-98EF-30C01AB2E8CD}" dt="2022-03-28T06:43:22.341" v="86" actId="478"/>
          <ac:spMkLst>
            <pc:docMk/>
            <pc:sldMk cId="0" sldId="262"/>
            <ac:spMk id="1229" creationId="{00000000-0000-0000-0000-000000000000}"/>
          </ac:spMkLst>
        </pc:spChg>
        <pc:spChg chg="del">
          <ac:chgData name="Kebba Jeng" userId="fe4cc296-ba7d-48a2-8799-89b58d218255" providerId="ADAL" clId="{388EFDEE-447E-42B4-98EF-30C01AB2E8CD}" dt="2022-03-28T06:43:22.341" v="86" actId="478"/>
          <ac:spMkLst>
            <pc:docMk/>
            <pc:sldMk cId="0" sldId="262"/>
            <ac:spMk id="1230" creationId="{00000000-0000-0000-0000-000000000000}"/>
          </ac:spMkLst>
        </pc:spChg>
        <pc:spChg chg="del">
          <ac:chgData name="Kebba Jeng" userId="fe4cc296-ba7d-48a2-8799-89b58d218255" providerId="ADAL" clId="{388EFDEE-447E-42B4-98EF-30C01AB2E8CD}" dt="2022-03-28T06:43:22.341" v="86" actId="478"/>
          <ac:spMkLst>
            <pc:docMk/>
            <pc:sldMk cId="0" sldId="262"/>
            <ac:spMk id="1231" creationId="{00000000-0000-0000-0000-000000000000}"/>
          </ac:spMkLst>
        </pc:spChg>
        <pc:spChg chg="del">
          <ac:chgData name="Kebba Jeng" userId="fe4cc296-ba7d-48a2-8799-89b58d218255" providerId="ADAL" clId="{388EFDEE-447E-42B4-98EF-30C01AB2E8CD}" dt="2022-03-28T06:43:22.341" v="86" actId="478"/>
          <ac:spMkLst>
            <pc:docMk/>
            <pc:sldMk cId="0" sldId="262"/>
            <ac:spMk id="1232" creationId="{00000000-0000-0000-0000-000000000000}"/>
          </ac:spMkLst>
        </pc:spChg>
        <pc:spChg chg="del">
          <ac:chgData name="Kebba Jeng" userId="fe4cc296-ba7d-48a2-8799-89b58d218255" providerId="ADAL" clId="{388EFDEE-447E-42B4-98EF-30C01AB2E8CD}" dt="2022-03-28T06:43:22.341" v="86" actId="478"/>
          <ac:spMkLst>
            <pc:docMk/>
            <pc:sldMk cId="0" sldId="262"/>
            <ac:spMk id="1233" creationId="{00000000-0000-0000-0000-000000000000}"/>
          </ac:spMkLst>
        </pc:spChg>
        <pc:spChg chg="del">
          <ac:chgData name="Kebba Jeng" userId="fe4cc296-ba7d-48a2-8799-89b58d218255" providerId="ADAL" clId="{388EFDEE-447E-42B4-98EF-30C01AB2E8CD}" dt="2022-03-28T06:43:22.341" v="86" actId="478"/>
          <ac:spMkLst>
            <pc:docMk/>
            <pc:sldMk cId="0" sldId="262"/>
            <ac:spMk id="1234" creationId="{00000000-0000-0000-0000-000000000000}"/>
          </ac:spMkLst>
        </pc:spChg>
        <pc:spChg chg="del">
          <ac:chgData name="Kebba Jeng" userId="fe4cc296-ba7d-48a2-8799-89b58d218255" providerId="ADAL" clId="{388EFDEE-447E-42B4-98EF-30C01AB2E8CD}" dt="2022-03-28T06:43:22.341" v="86" actId="478"/>
          <ac:spMkLst>
            <pc:docMk/>
            <pc:sldMk cId="0" sldId="262"/>
            <ac:spMk id="1235" creationId="{00000000-0000-0000-0000-000000000000}"/>
          </ac:spMkLst>
        </pc:spChg>
        <pc:spChg chg="del">
          <ac:chgData name="Kebba Jeng" userId="fe4cc296-ba7d-48a2-8799-89b58d218255" providerId="ADAL" clId="{388EFDEE-447E-42B4-98EF-30C01AB2E8CD}" dt="2022-03-28T06:43:22.341" v="86" actId="478"/>
          <ac:spMkLst>
            <pc:docMk/>
            <pc:sldMk cId="0" sldId="262"/>
            <ac:spMk id="1236" creationId="{00000000-0000-0000-0000-000000000000}"/>
          </ac:spMkLst>
        </pc:spChg>
        <pc:spChg chg="del">
          <ac:chgData name="Kebba Jeng" userId="fe4cc296-ba7d-48a2-8799-89b58d218255" providerId="ADAL" clId="{388EFDEE-447E-42B4-98EF-30C01AB2E8CD}" dt="2022-03-28T06:43:22.341" v="86" actId="478"/>
          <ac:spMkLst>
            <pc:docMk/>
            <pc:sldMk cId="0" sldId="262"/>
            <ac:spMk id="1237" creationId="{00000000-0000-0000-0000-000000000000}"/>
          </ac:spMkLst>
        </pc:spChg>
        <pc:spChg chg="del">
          <ac:chgData name="Kebba Jeng" userId="fe4cc296-ba7d-48a2-8799-89b58d218255" providerId="ADAL" clId="{388EFDEE-447E-42B4-98EF-30C01AB2E8CD}" dt="2022-03-28T06:43:22.341" v="86" actId="478"/>
          <ac:spMkLst>
            <pc:docMk/>
            <pc:sldMk cId="0" sldId="262"/>
            <ac:spMk id="1238" creationId="{00000000-0000-0000-0000-000000000000}"/>
          </ac:spMkLst>
        </pc:spChg>
        <pc:spChg chg="del">
          <ac:chgData name="Kebba Jeng" userId="fe4cc296-ba7d-48a2-8799-89b58d218255" providerId="ADAL" clId="{388EFDEE-447E-42B4-98EF-30C01AB2E8CD}" dt="2022-03-28T06:43:22.341" v="86" actId="478"/>
          <ac:spMkLst>
            <pc:docMk/>
            <pc:sldMk cId="0" sldId="262"/>
            <ac:spMk id="1239" creationId="{00000000-0000-0000-0000-000000000000}"/>
          </ac:spMkLst>
        </pc:spChg>
        <pc:spChg chg="del">
          <ac:chgData name="Kebba Jeng" userId="fe4cc296-ba7d-48a2-8799-89b58d218255" providerId="ADAL" clId="{388EFDEE-447E-42B4-98EF-30C01AB2E8CD}" dt="2022-03-28T06:43:22.341" v="86" actId="478"/>
          <ac:spMkLst>
            <pc:docMk/>
            <pc:sldMk cId="0" sldId="262"/>
            <ac:spMk id="1240" creationId="{00000000-0000-0000-0000-000000000000}"/>
          </ac:spMkLst>
        </pc:spChg>
        <pc:spChg chg="del">
          <ac:chgData name="Kebba Jeng" userId="fe4cc296-ba7d-48a2-8799-89b58d218255" providerId="ADAL" clId="{388EFDEE-447E-42B4-98EF-30C01AB2E8CD}" dt="2022-03-28T06:43:22.341" v="86" actId="478"/>
          <ac:spMkLst>
            <pc:docMk/>
            <pc:sldMk cId="0" sldId="262"/>
            <ac:spMk id="1241" creationId="{00000000-0000-0000-0000-000000000000}"/>
          </ac:spMkLst>
        </pc:spChg>
        <pc:spChg chg="del">
          <ac:chgData name="Kebba Jeng" userId="fe4cc296-ba7d-48a2-8799-89b58d218255" providerId="ADAL" clId="{388EFDEE-447E-42B4-98EF-30C01AB2E8CD}" dt="2022-03-28T06:43:22.341" v="86" actId="478"/>
          <ac:spMkLst>
            <pc:docMk/>
            <pc:sldMk cId="0" sldId="262"/>
            <ac:spMk id="1242" creationId="{00000000-0000-0000-0000-000000000000}"/>
          </ac:spMkLst>
        </pc:spChg>
        <pc:spChg chg="del">
          <ac:chgData name="Kebba Jeng" userId="fe4cc296-ba7d-48a2-8799-89b58d218255" providerId="ADAL" clId="{388EFDEE-447E-42B4-98EF-30C01AB2E8CD}" dt="2022-03-28T06:43:22.341" v="86" actId="478"/>
          <ac:spMkLst>
            <pc:docMk/>
            <pc:sldMk cId="0" sldId="262"/>
            <ac:spMk id="1243" creationId="{00000000-0000-0000-0000-000000000000}"/>
          </ac:spMkLst>
        </pc:spChg>
        <pc:spChg chg="del">
          <ac:chgData name="Kebba Jeng" userId="fe4cc296-ba7d-48a2-8799-89b58d218255" providerId="ADAL" clId="{388EFDEE-447E-42B4-98EF-30C01AB2E8CD}" dt="2022-03-28T06:43:22.341" v="86" actId="478"/>
          <ac:spMkLst>
            <pc:docMk/>
            <pc:sldMk cId="0" sldId="262"/>
            <ac:spMk id="1244" creationId="{00000000-0000-0000-0000-000000000000}"/>
          </ac:spMkLst>
        </pc:spChg>
        <pc:spChg chg="del">
          <ac:chgData name="Kebba Jeng" userId="fe4cc296-ba7d-48a2-8799-89b58d218255" providerId="ADAL" clId="{388EFDEE-447E-42B4-98EF-30C01AB2E8CD}" dt="2022-03-28T06:43:22.341" v="86" actId="478"/>
          <ac:spMkLst>
            <pc:docMk/>
            <pc:sldMk cId="0" sldId="262"/>
            <ac:spMk id="1245" creationId="{00000000-0000-0000-0000-000000000000}"/>
          </ac:spMkLst>
        </pc:spChg>
        <pc:spChg chg="del">
          <ac:chgData name="Kebba Jeng" userId="fe4cc296-ba7d-48a2-8799-89b58d218255" providerId="ADAL" clId="{388EFDEE-447E-42B4-98EF-30C01AB2E8CD}" dt="2022-03-28T06:43:22.341" v="86" actId="478"/>
          <ac:spMkLst>
            <pc:docMk/>
            <pc:sldMk cId="0" sldId="262"/>
            <ac:spMk id="1246" creationId="{00000000-0000-0000-0000-000000000000}"/>
          </ac:spMkLst>
        </pc:spChg>
        <pc:spChg chg="del">
          <ac:chgData name="Kebba Jeng" userId="fe4cc296-ba7d-48a2-8799-89b58d218255" providerId="ADAL" clId="{388EFDEE-447E-42B4-98EF-30C01AB2E8CD}" dt="2022-03-28T06:43:22.341" v="86" actId="478"/>
          <ac:spMkLst>
            <pc:docMk/>
            <pc:sldMk cId="0" sldId="262"/>
            <ac:spMk id="1247" creationId="{00000000-0000-0000-0000-000000000000}"/>
          </ac:spMkLst>
        </pc:spChg>
        <pc:spChg chg="del">
          <ac:chgData name="Kebba Jeng" userId="fe4cc296-ba7d-48a2-8799-89b58d218255" providerId="ADAL" clId="{388EFDEE-447E-42B4-98EF-30C01AB2E8CD}" dt="2022-03-28T06:43:22.341" v="86" actId="478"/>
          <ac:spMkLst>
            <pc:docMk/>
            <pc:sldMk cId="0" sldId="262"/>
            <ac:spMk id="1248" creationId="{00000000-0000-0000-0000-000000000000}"/>
          </ac:spMkLst>
        </pc:spChg>
        <pc:spChg chg="del">
          <ac:chgData name="Kebba Jeng" userId="fe4cc296-ba7d-48a2-8799-89b58d218255" providerId="ADAL" clId="{388EFDEE-447E-42B4-98EF-30C01AB2E8CD}" dt="2022-03-28T06:43:22.341" v="86" actId="478"/>
          <ac:spMkLst>
            <pc:docMk/>
            <pc:sldMk cId="0" sldId="262"/>
            <ac:spMk id="1249" creationId="{00000000-0000-0000-0000-000000000000}"/>
          </ac:spMkLst>
        </pc:spChg>
        <pc:spChg chg="del">
          <ac:chgData name="Kebba Jeng" userId="fe4cc296-ba7d-48a2-8799-89b58d218255" providerId="ADAL" clId="{388EFDEE-447E-42B4-98EF-30C01AB2E8CD}" dt="2022-03-28T06:43:22.341" v="86" actId="478"/>
          <ac:spMkLst>
            <pc:docMk/>
            <pc:sldMk cId="0" sldId="262"/>
            <ac:spMk id="1250" creationId="{00000000-0000-0000-0000-000000000000}"/>
          </ac:spMkLst>
        </pc:spChg>
        <pc:spChg chg="del">
          <ac:chgData name="Kebba Jeng" userId="fe4cc296-ba7d-48a2-8799-89b58d218255" providerId="ADAL" clId="{388EFDEE-447E-42B4-98EF-30C01AB2E8CD}" dt="2022-03-28T06:43:22.341" v="86" actId="478"/>
          <ac:spMkLst>
            <pc:docMk/>
            <pc:sldMk cId="0" sldId="262"/>
            <ac:spMk id="1251" creationId="{00000000-0000-0000-0000-000000000000}"/>
          </ac:spMkLst>
        </pc:spChg>
        <pc:spChg chg="del">
          <ac:chgData name="Kebba Jeng" userId="fe4cc296-ba7d-48a2-8799-89b58d218255" providerId="ADAL" clId="{388EFDEE-447E-42B4-98EF-30C01AB2E8CD}" dt="2022-03-28T06:43:22.341" v="86" actId="478"/>
          <ac:spMkLst>
            <pc:docMk/>
            <pc:sldMk cId="0" sldId="262"/>
            <ac:spMk id="1252" creationId="{00000000-0000-0000-0000-000000000000}"/>
          </ac:spMkLst>
        </pc:spChg>
        <pc:spChg chg="del">
          <ac:chgData name="Kebba Jeng" userId="fe4cc296-ba7d-48a2-8799-89b58d218255" providerId="ADAL" clId="{388EFDEE-447E-42B4-98EF-30C01AB2E8CD}" dt="2022-03-28T06:43:22.341" v="86" actId="478"/>
          <ac:spMkLst>
            <pc:docMk/>
            <pc:sldMk cId="0" sldId="262"/>
            <ac:spMk id="1253" creationId="{00000000-0000-0000-0000-000000000000}"/>
          </ac:spMkLst>
        </pc:spChg>
        <pc:spChg chg="del">
          <ac:chgData name="Kebba Jeng" userId="fe4cc296-ba7d-48a2-8799-89b58d218255" providerId="ADAL" clId="{388EFDEE-447E-42B4-98EF-30C01AB2E8CD}" dt="2022-03-28T06:43:22.341" v="86" actId="478"/>
          <ac:spMkLst>
            <pc:docMk/>
            <pc:sldMk cId="0" sldId="262"/>
            <ac:spMk id="1254" creationId="{00000000-0000-0000-0000-000000000000}"/>
          </ac:spMkLst>
        </pc:spChg>
        <pc:spChg chg="del">
          <ac:chgData name="Kebba Jeng" userId="fe4cc296-ba7d-48a2-8799-89b58d218255" providerId="ADAL" clId="{388EFDEE-447E-42B4-98EF-30C01AB2E8CD}" dt="2022-03-28T06:43:22.341" v="86" actId="478"/>
          <ac:spMkLst>
            <pc:docMk/>
            <pc:sldMk cId="0" sldId="262"/>
            <ac:spMk id="1255" creationId="{00000000-0000-0000-0000-000000000000}"/>
          </ac:spMkLst>
        </pc:spChg>
        <pc:spChg chg="del">
          <ac:chgData name="Kebba Jeng" userId="fe4cc296-ba7d-48a2-8799-89b58d218255" providerId="ADAL" clId="{388EFDEE-447E-42B4-98EF-30C01AB2E8CD}" dt="2022-03-28T06:43:22.341" v="86" actId="478"/>
          <ac:spMkLst>
            <pc:docMk/>
            <pc:sldMk cId="0" sldId="262"/>
            <ac:spMk id="1256" creationId="{00000000-0000-0000-0000-000000000000}"/>
          </ac:spMkLst>
        </pc:spChg>
        <pc:spChg chg="del">
          <ac:chgData name="Kebba Jeng" userId="fe4cc296-ba7d-48a2-8799-89b58d218255" providerId="ADAL" clId="{388EFDEE-447E-42B4-98EF-30C01AB2E8CD}" dt="2022-03-28T06:43:22.341" v="86" actId="478"/>
          <ac:spMkLst>
            <pc:docMk/>
            <pc:sldMk cId="0" sldId="262"/>
            <ac:spMk id="1257" creationId="{00000000-0000-0000-0000-000000000000}"/>
          </ac:spMkLst>
        </pc:spChg>
        <pc:spChg chg="del">
          <ac:chgData name="Kebba Jeng" userId="fe4cc296-ba7d-48a2-8799-89b58d218255" providerId="ADAL" clId="{388EFDEE-447E-42B4-98EF-30C01AB2E8CD}" dt="2022-03-28T06:43:22.341" v="86" actId="478"/>
          <ac:spMkLst>
            <pc:docMk/>
            <pc:sldMk cId="0" sldId="262"/>
            <ac:spMk id="1258" creationId="{00000000-0000-0000-0000-000000000000}"/>
          </ac:spMkLst>
        </pc:spChg>
        <pc:spChg chg="del">
          <ac:chgData name="Kebba Jeng" userId="fe4cc296-ba7d-48a2-8799-89b58d218255" providerId="ADAL" clId="{388EFDEE-447E-42B4-98EF-30C01AB2E8CD}" dt="2022-03-28T06:43:22.341" v="86" actId="478"/>
          <ac:spMkLst>
            <pc:docMk/>
            <pc:sldMk cId="0" sldId="262"/>
            <ac:spMk id="1259" creationId="{00000000-0000-0000-0000-000000000000}"/>
          </ac:spMkLst>
        </pc:spChg>
        <pc:spChg chg="del">
          <ac:chgData name="Kebba Jeng" userId="fe4cc296-ba7d-48a2-8799-89b58d218255" providerId="ADAL" clId="{388EFDEE-447E-42B4-98EF-30C01AB2E8CD}" dt="2022-03-28T06:43:22.341" v="86" actId="478"/>
          <ac:spMkLst>
            <pc:docMk/>
            <pc:sldMk cId="0" sldId="262"/>
            <ac:spMk id="1260" creationId="{00000000-0000-0000-0000-000000000000}"/>
          </ac:spMkLst>
        </pc:spChg>
        <pc:spChg chg="del">
          <ac:chgData name="Kebba Jeng" userId="fe4cc296-ba7d-48a2-8799-89b58d218255" providerId="ADAL" clId="{388EFDEE-447E-42B4-98EF-30C01AB2E8CD}" dt="2022-03-28T06:43:22.341" v="86" actId="478"/>
          <ac:spMkLst>
            <pc:docMk/>
            <pc:sldMk cId="0" sldId="262"/>
            <ac:spMk id="1261" creationId="{00000000-0000-0000-0000-000000000000}"/>
          </ac:spMkLst>
        </pc:spChg>
        <pc:spChg chg="del">
          <ac:chgData name="Kebba Jeng" userId="fe4cc296-ba7d-48a2-8799-89b58d218255" providerId="ADAL" clId="{388EFDEE-447E-42B4-98EF-30C01AB2E8CD}" dt="2022-03-28T06:43:22.341" v="86" actId="478"/>
          <ac:spMkLst>
            <pc:docMk/>
            <pc:sldMk cId="0" sldId="262"/>
            <ac:spMk id="1262" creationId="{00000000-0000-0000-0000-000000000000}"/>
          </ac:spMkLst>
        </pc:spChg>
        <pc:spChg chg="del">
          <ac:chgData name="Kebba Jeng" userId="fe4cc296-ba7d-48a2-8799-89b58d218255" providerId="ADAL" clId="{388EFDEE-447E-42B4-98EF-30C01AB2E8CD}" dt="2022-03-28T06:43:22.341" v="86" actId="478"/>
          <ac:spMkLst>
            <pc:docMk/>
            <pc:sldMk cId="0" sldId="262"/>
            <ac:spMk id="1263" creationId="{00000000-0000-0000-0000-000000000000}"/>
          </ac:spMkLst>
        </pc:spChg>
        <pc:spChg chg="del">
          <ac:chgData name="Kebba Jeng" userId="fe4cc296-ba7d-48a2-8799-89b58d218255" providerId="ADAL" clId="{388EFDEE-447E-42B4-98EF-30C01AB2E8CD}" dt="2022-03-28T06:43:22.341" v="86" actId="478"/>
          <ac:spMkLst>
            <pc:docMk/>
            <pc:sldMk cId="0" sldId="262"/>
            <ac:spMk id="1264" creationId="{00000000-0000-0000-0000-000000000000}"/>
          </ac:spMkLst>
        </pc:spChg>
        <pc:spChg chg="del">
          <ac:chgData name="Kebba Jeng" userId="fe4cc296-ba7d-48a2-8799-89b58d218255" providerId="ADAL" clId="{388EFDEE-447E-42B4-98EF-30C01AB2E8CD}" dt="2022-03-28T06:43:22.341" v="86" actId="478"/>
          <ac:spMkLst>
            <pc:docMk/>
            <pc:sldMk cId="0" sldId="262"/>
            <ac:spMk id="1265" creationId="{00000000-0000-0000-0000-000000000000}"/>
          </ac:spMkLst>
        </pc:spChg>
        <pc:spChg chg="del">
          <ac:chgData name="Kebba Jeng" userId="fe4cc296-ba7d-48a2-8799-89b58d218255" providerId="ADAL" clId="{388EFDEE-447E-42B4-98EF-30C01AB2E8CD}" dt="2022-03-28T06:43:22.341" v="86" actId="478"/>
          <ac:spMkLst>
            <pc:docMk/>
            <pc:sldMk cId="0" sldId="262"/>
            <ac:spMk id="1266" creationId="{00000000-0000-0000-0000-000000000000}"/>
          </ac:spMkLst>
        </pc:spChg>
        <pc:spChg chg="del">
          <ac:chgData name="Kebba Jeng" userId="fe4cc296-ba7d-48a2-8799-89b58d218255" providerId="ADAL" clId="{388EFDEE-447E-42B4-98EF-30C01AB2E8CD}" dt="2022-03-28T06:43:22.341" v="86" actId="478"/>
          <ac:spMkLst>
            <pc:docMk/>
            <pc:sldMk cId="0" sldId="262"/>
            <ac:spMk id="1267" creationId="{00000000-0000-0000-0000-000000000000}"/>
          </ac:spMkLst>
        </pc:spChg>
        <pc:spChg chg="del">
          <ac:chgData name="Kebba Jeng" userId="fe4cc296-ba7d-48a2-8799-89b58d218255" providerId="ADAL" clId="{388EFDEE-447E-42B4-98EF-30C01AB2E8CD}" dt="2022-03-28T06:43:22.341" v="86" actId="478"/>
          <ac:spMkLst>
            <pc:docMk/>
            <pc:sldMk cId="0" sldId="262"/>
            <ac:spMk id="1268" creationId="{00000000-0000-0000-0000-000000000000}"/>
          </ac:spMkLst>
        </pc:spChg>
        <pc:spChg chg="del">
          <ac:chgData name="Kebba Jeng" userId="fe4cc296-ba7d-48a2-8799-89b58d218255" providerId="ADAL" clId="{388EFDEE-447E-42B4-98EF-30C01AB2E8CD}" dt="2022-03-28T06:43:22.341" v="86" actId="478"/>
          <ac:spMkLst>
            <pc:docMk/>
            <pc:sldMk cId="0" sldId="262"/>
            <ac:spMk id="1269" creationId="{00000000-0000-0000-0000-000000000000}"/>
          </ac:spMkLst>
        </pc:spChg>
        <pc:spChg chg="del">
          <ac:chgData name="Kebba Jeng" userId="fe4cc296-ba7d-48a2-8799-89b58d218255" providerId="ADAL" clId="{388EFDEE-447E-42B4-98EF-30C01AB2E8CD}" dt="2022-03-28T06:43:22.341" v="86" actId="478"/>
          <ac:spMkLst>
            <pc:docMk/>
            <pc:sldMk cId="0" sldId="262"/>
            <ac:spMk id="1270" creationId="{00000000-0000-0000-0000-000000000000}"/>
          </ac:spMkLst>
        </pc:spChg>
        <pc:spChg chg="del">
          <ac:chgData name="Kebba Jeng" userId="fe4cc296-ba7d-48a2-8799-89b58d218255" providerId="ADAL" clId="{388EFDEE-447E-42B4-98EF-30C01AB2E8CD}" dt="2022-03-28T06:43:22.341" v="86" actId="478"/>
          <ac:spMkLst>
            <pc:docMk/>
            <pc:sldMk cId="0" sldId="262"/>
            <ac:spMk id="1271" creationId="{00000000-0000-0000-0000-000000000000}"/>
          </ac:spMkLst>
        </pc:spChg>
        <pc:spChg chg="del">
          <ac:chgData name="Kebba Jeng" userId="fe4cc296-ba7d-48a2-8799-89b58d218255" providerId="ADAL" clId="{388EFDEE-447E-42B4-98EF-30C01AB2E8CD}" dt="2022-03-28T06:43:22.341" v="86" actId="478"/>
          <ac:spMkLst>
            <pc:docMk/>
            <pc:sldMk cId="0" sldId="262"/>
            <ac:spMk id="1272" creationId="{00000000-0000-0000-0000-000000000000}"/>
          </ac:spMkLst>
        </pc:spChg>
        <pc:spChg chg="del">
          <ac:chgData name="Kebba Jeng" userId="fe4cc296-ba7d-48a2-8799-89b58d218255" providerId="ADAL" clId="{388EFDEE-447E-42B4-98EF-30C01AB2E8CD}" dt="2022-03-28T06:43:22.341" v="86" actId="478"/>
          <ac:spMkLst>
            <pc:docMk/>
            <pc:sldMk cId="0" sldId="262"/>
            <ac:spMk id="1273" creationId="{00000000-0000-0000-0000-000000000000}"/>
          </ac:spMkLst>
        </pc:spChg>
        <pc:spChg chg="del">
          <ac:chgData name="Kebba Jeng" userId="fe4cc296-ba7d-48a2-8799-89b58d218255" providerId="ADAL" clId="{388EFDEE-447E-42B4-98EF-30C01AB2E8CD}" dt="2022-03-28T06:43:22.341" v="86" actId="478"/>
          <ac:spMkLst>
            <pc:docMk/>
            <pc:sldMk cId="0" sldId="262"/>
            <ac:spMk id="1274" creationId="{00000000-0000-0000-0000-000000000000}"/>
          </ac:spMkLst>
        </pc:spChg>
        <pc:spChg chg="del">
          <ac:chgData name="Kebba Jeng" userId="fe4cc296-ba7d-48a2-8799-89b58d218255" providerId="ADAL" clId="{388EFDEE-447E-42B4-98EF-30C01AB2E8CD}" dt="2022-03-28T06:43:22.341" v="86" actId="478"/>
          <ac:spMkLst>
            <pc:docMk/>
            <pc:sldMk cId="0" sldId="262"/>
            <ac:spMk id="1275" creationId="{00000000-0000-0000-0000-000000000000}"/>
          </ac:spMkLst>
        </pc:spChg>
        <pc:spChg chg="del">
          <ac:chgData name="Kebba Jeng" userId="fe4cc296-ba7d-48a2-8799-89b58d218255" providerId="ADAL" clId="{388EFDEE-447E-42B4-98EF-30C01AB2E8CD}" dt="2022-03-28T06:43:22.341" v="86" actId="478"/>
          <ac:spMkLst>
            <pc:docMk/>
            <pc:sldMk cId="0" sldId="262"/>
            <ac:spMk id="1276" creationId="{00000000-0000-0000-0000-000000000000}"/>
          </ac:spMkLst>
        </pc:spChg>
        <pc:spChg chg="del">
          <ac:chgData name="Kebba Jeng" userId="fe4cc296-ba7d-48a2-8799-89b58d218255" providerId="ADAL" clId="{388EFDEE-447E-42B4-98EF-30C01AB2E8CD}" dt="2022-03-28T06:43:22.341" v="86" actId="478"/>
          <ac:spMkLst>
            <pc:docMk/>
            <pc:sldMk cId="0" sldId="262"/>
            <ac:spMk id="1277" creationId="{00000000-0000-0000-0000-000000000000}"/>
          </ac:spMkLst>
        </pc:spChg>
        <pc:spChg chg="del">
          <ac:chgData name="Kebba Jeng" userId="fe4cc296-ba7d-48a2-8799-89b58d218255" providerId="ADAL" clId="{388EFDEE-447E-42B4-98EF-30C01AB2E8CD}" dt="2022-03-28T06:43:22.341" v="86" actId="478"/>
          <ac:spMkLst>
            <pc:docMk/>
            <pc:sldMk cId="0" sldId="262"/>
            <ac:spMk id="1278" creationId="{00000000-0000-0000-0000-000000000000}"/>
          </ac:spMkLst>
        </pc:spChg>
        <pc:spChg chg="del">
          <ac:chgData name="Kebba Jeng" userId="fe4cc296-ba7d-48a2-8799-89b58d218255" providerId="ADAL" clId="{388EFDEE-447E-42B4-98EF-30C01AB2E8CD}" dt="2022-03-28T06:43:22.341" v="86" actId="478"/>
          <ac:spMkLst>
            <pc:docMk/>
            <pc:sldMk cId="0" sldId="262"/>
            <ac:spMk id="1279" creationId="{00000000-0000-0000-0000-000000000000}"/>
          </ac:spMkLst>
        </pc:spChg>
        <pc:spChg chg="del">
          <ac:chgData name="Kebba Jeng" userId="fe4cc296-ba7d-48a2-8799-89b58d218255" providerId="ADAL" clId="{388EFDEE-447E-42B4-98EF-30C01AB2E8CD}" dt="2022-03-28T06:43:22.341" v="86" actId="478"/>
          <ac:spMkLst>
            <pc:docMk/>
            <pc:sldMk cId="0" sldId="262"/>
            <ac:spMk id="1280" creationId="{00000000-0000-0000-0000-000000000000}"/>
          </ac:spMkLst>
        </pc:spChg>
        <pc:spChg chg="del">
          <ac:chgData name="Kebba Jeng" userId="fe4cc296-ba7d-48a2-8799-89b58d218255" providerId="ADAL" clId="{388EFDEE-447E-42B4-98EF-30C01AB2E8CD}" dt="2022-03-28T06:43:22.341" v="86" actId="478"/>
          <ac:spMkLst>
            <pc:docMk/>
            <pc:sldMk cId="0" sldId="262"/>
            <ac:spMk id="1281" creationId="{00000000-0000-0000-0000-000000000000}"/>
          </ac:spMkLst>
        </pc:spChg>
        <pc:spChg chg="del">
          <ac:chgData name="Kebba Jeng" userId="fe4cc296-ba7d-48a2-8799-89b58d218255" providerId="ADAL" clId="{388EFDEE-447E-42B4-98EF-30C01AB2E8CD}" dt="2022-03-28T06:43:22.341" v="86" actId="478"/>
          <ac:spMkLst>
            <pc:docMk/>
            <pc:sldMk cId="0" sldId="262"/>
            <ac:spMk id="1282" creationId="{00000000-0000-0000-0000-000000000000}"/>
          </ac:spMkLst>
        </pc:spChg>
        <pc:spChg chg="del">
          <ac:chgData name="Kebba Jeng" userId="fe4cc296-ba7d-48a2-8799-89b58d218255" providerId="ADAL" clId="{388EFDEE-447E-42B4-98EF-30C01AB2E8CD}" dt="2022-03-28T06:43:22.341" v="86" actId="478"/>
          <ac:spMkLst>
            <pc:docMk/>
            <pc:sldMk cId="0" sldId="262"/>
            <ac:spMk id="1283" creationId="{00000000-0000-0000-0000-000000000000}"/>
          </ac:spMkLst>
        </pc:spChg>
        <pc:spChg chg="del">
          <ac:chgData name="Kebba Jeng" userId="fe4cc296-ba7d-48a2-8799-89b58d218255" providerId="ADAL" clId="{388EFDEE-447E-42B4-98EF-30C01AB2E8CD}" dt="2022-03-28T06:43:22.341" v="86" actId="478"/>
          <ac:spMkLst>
            <pc:docMk/>
            <pc:sldMk cId="0" sldId="262"/>
            <ac:spMk id="1284" creationId="{00000000-0000-0000-0000-000000000000}"/>
          </ac:spMkLst>
        </pc:spChg>
        <pc:spChg chg="del">
          <ac:chgData name="Kebba Jeng" userId="fe4cc296-ba7d-48a2-8799-89b58d218255" providerId="ADAL" clId="{388EFDEE-447E-42B4-98EF-30C01AB2E8CD}" dt="2022-03-28T06:43:22.341" v="86" actId="478"/>
          <ac:spMkLst>
            <pc:docMk/>
            <pc:sldMk cId="0" sldId="262"/>
            <ac:spMk id="1285" creationId="{00000000-0000-0000-0000-000000000000}"/>
          </ac:spMkLst>
        </pc:spChg>
        <pc:spChg chg="del">
          <ac:chgData name="Kebba Jeng" userId="fe4cc296-ba7d-48a2-8799-89b58d218255" providerId="ADAL" clId="{388EFDEE-447E-42B4-98EF-30C01AB2E8CD}" dt="2022-03-28T06:43:22.341" v="86" actId="478"/>
          <ac:spMkLst>
            <pc:docMk/>
            <pc:sldMk cId="0" sldId="262"/>
            <ac:spMk id="1286" creationId="{00000000-0000-0000-0000-000000000000}"/>
          </ac:spMkLst>
        </pc:spChg>
        <pc:spChg chg="del">
          <ac:chgData name="Kebba Jeng" userId="fe4cc296-ba7d-48a2-8799-89b58d218255" providerId="ADAL" clId="{388EFDEE-447E-42B4-98EF-30C01AB2E8CD}" dt="2022-03-28T06:43:22.341" v="86" actId="478"/>
          <ac:spMkLst>
            <pc:docMk/>
            <pc:sldMk cId="0" sldId="262"/>
            <ac:spMk id="1287" creationId="{00000000-0000-0000-0000-000000000000}"/>
          </ac:spMkLst>
        </pc:spChg>
        <pc:spChg chg="del">
          <ac:chgData name="Kebba Jeng" userId="fe4cc296-ba7d-48a2-8799-89b58d218255" providerId="ADAL" clId="{388EFDEE-447E-42B4-98EF-30C01AB2E8CD}" dt="2022-03-28T06:43:22.341" v="86" actId="478"/>
          <ac:spMkLst>
            <pc:docMk/>
            <pc:sldMk cId="0" sldId="262"/>
            <ac:spMk id="1288" creationId="{00000000-0000-0000-0000-000000000000}"/>
          </ac:spMkLst>
        </pc:spChg>
        <pc:spChg chg="del">
          <ac:chgData name="Kebba Jeng" userId="fe4cc296-ba7d-48a2-8799-89b58d218255" providerId="ADAL" clId="{388EFDEE-447E-42B4-98EF-30C01AB2E8CD}" dt="2022-03-28T06:43:22.341" v="86" actId="478"/>
          <ac:spMkLst>
            <pc:docMk/>
            <pc:sldMk cId="0" sldId="262"/>
            <ac:spMk id="1289" creationId="{00000000-0000-0000-0000-000000000000}"/>
          </ac:spMkLst>
        </pc:spChg>
        <pc:spChg chg="del">
          <ac:chgData name="Kebba Jeng" userId="fe4cc296-ba7d-48a2-8799-89b58d218255" providerId="ADAL" clId="{388EFDEE-447E-42B4-98EF-30C01AB2E8CD}" dt="2022-03-28T06:43:22.341" v="86" actId="478"/>
          <ac:spMkLst>
            <pc:docMk/>
            <pc:sldMk cId="0" sldId="262"/>
            <ac:spMk id="1290" creationId="{00000000-0000-0000-0000-000000000000}"/>
          </ac:spMkLst>
        </pc:spChg>
        <pc:spChg chg="del">
          <ac:chgData name="Kebba Jeng" userId="fe4cc296-ba7d-48a2-8799-89b58d218255" providerId="ADAL" clId="{388EFDEE-447E-42B4-98EF-30C01AB2E8CD}" dt="2022-03-28T06:43:22.341" v="86" actId="478"/>
          <ac:spMkLst>
            <pc:docMk/>
            <pc:sldMk cId="0" sldId="262"/>
            <ac:spMk id="1291" creationId="{00000000-0000-0000-0000-000000000000}"/>
          </ac:spMkLst>
        </pc:spChg>
        <pc:spChg chg="del">
          <ac:chgData name="Kebba Jeng" userId="fe4cc296-ba7d-48a2-8799-89b58d218255" providerId="ADAL" clId="{388EFDEE-447E-42B4-98EF-30C01AB2E8CD}" dt="2022-03-28T06:43:22.341" v="86" actId="478"/>
          <ac:spMkLst>
            <pc:docMk/>
            <pc:sldMk cId="0" sldId="262"/>
            <ac:spMk id="1292" creationId="{00000000-0000-0000-0000-000000000000}"/>
          </ac:spMkLst>
        </pc:spChg>
        <pc:spChg chg="del">
          <ac:chgData name="Kebba Jeng" userId="fe4cc296-ba7d-48a2-8799-89b58d218255" providerId="ADAL" clId="{388EFDEE-447E-42B4-98EF-30C01AB2E8CD}" dt="2022-03-28T06:43:22.341" v="86" actId="478"/>
          <ac:spMkLst>
            <pc:docMk/>
            <pc:sldMk cId="0" sldId="262"/>
            <ac:spMk id="1293" creationId="{00000000-0000-0000-0000-000000000000}"/>
          </ac:spMkLst>
        </pc:spChg>
        <pc:spChg chg="del">
          <ac:chgData name="Kebba Jeng" userId="fe4cc296-ba7d-48a2-8799-89b58d218255" providerId="ADAL" clId="{388EFDEE-447E-42B4-98EF-30C01AB2E8CD}" dt="2022-03-28T06:43:22.341" v="86" actId="478"/>
          <ac:spMkLst>
            <pc:docMk/>
            <pc:sldMk cId="0" sldId="262"/>
            <ac:spMk id="1294" creationId="{00000000-0000-0000-0000-000000000000}"/>
          </ac:spMkLst>
        </pc:spChg>
        <pc:spChg chg="del">
          <ac:chgData name="Kebba Jeng" userId="fe4cc296-ba7d-48a2-8799-89b58d218255" providerId="ADAL" clId="{388EFDEE-447E-42B4-98EF-30C01AB2E8CD}" dt="2022-03-28T06:43:22.341" v="86" actId="478"/>
          <ac:spMkLst>
            <pc:docMk/>
            <pc:sldMk cId="0" sldId="262"/>
            <ac:spMk id="1295" creationId="{00000000-0000-0000-0000-000000000000}"/>
          </ac:spMkLst>
        </pc:spChg>
        <pc:spChg chg="del">
          <ac:chgData name="Kebba Jeng" userId="fe4cc296-ba7d-48a2-8799-89b58d218255" providerId="ADAL" clId="{388EFDEE-447E-42B4-98EF-30C01AB2E8CD}" dt="2022-03-28T06:43:22.341" v="86" actId="478"/>
          <ac:spMkLst>
            <pc:docMk/>
            <pc:sldMk cId="0" sldId="262"/>
            <ac:spMk id="1296" creationId="{00000000-0000-0000-0000-000000000000}"/>
          </ac:spMkLst>
        </pc:spChg>
        <pc:spChg chg="del">
          <ac:chgData name="Kebba Jeng" userId="fe4cc296-ba7d-48a2-8799-89b58d218255" providerId="ADAL" clId="{388EFDEE-447E-42B4-98EF-30C01AB2E8CD}" dt="2022-03-28T06:43:22.341" v="86" actId="478"/>
          <ac:spMkLst>
            <pc:docMk/>
            <pc:sldMk cId="0" sldId="262"/>
            <ac:spMk id="1297" creationId="{00000000-0000-0000-0000-000000000000}"/>
          </ac:spMkLst>
        </pc:spChg>
        <pc:spChg chg="del">
          <ac:chgData name="Kebba Jeng" userId="fe4cc296-ba7d-48a2-8799-89b58d218255" providerId="ADAL" clId="{388EFDEE-447E-42B4-98EF-30C01AB2E8CD}" dt="2022-03-28T06:43:22.341" v="86" actId="478"/>
          <ac:spMkLst>
            <pc:docMk/>
            <pc:sldMk cId="0" sldId="262"/>
            <ac:spMk id="1298" creationId="{00000000-0000-0000-0000-000000000000}"/>
          </ac:spMkLst>
        </pc:spChg>
        <pc:spChg chg="del">
          <ac:chgData name="Kebba Jeng" userId="fe4cc296-ba7d-48a2-8799-89b58d218255" providerId="ADAL" clId="{388EFDEE-447E-42B4-98EF-30C01AB2E8CD}" dt="2022-03-28T06:43:22.341" v="86" actId="478"/>
          <ac:spMkLst>
            <pc:docMk/>
            <pc:sldMk cId="0" sldId="262"/>
            <ac:spMk id="1299" creationId="{00000000-0000-0000-0000-000000000000}"/>
          </ac:spMkLst>
        </pc:spChg>
        <pc:spChg chg="del">
          <ac:chgData name="Kebba Jeng" userId="fe4cc296-ba7d-48a2-8799-89b58d218255" providerId="ADAL" clId="{388EFDEE-447E-42B4-98EF-30C01AB2E8CD}" dt="2022-03-28T06:43:22.341" v="86" actId="478"/>
          <ac:spMkLst>
            <pc:docMk/>
            <pc:sldMk cId="0" sldId="262"/>
            <ac:spMk id="1300" creationId="{00000000-0000-0000-0000-000000000000}"/>
          </ac:spMkLst>
        </pc:spChg>
        <pc:spChg chg="del">
          <ac:chgData name="Kebba Jeng" userId="fe4cc296-ba7d-48a2-8799-89b58d218255" providerId="ADAL" clId="{388EFDEE-447E-42B4-98EF-30C01AB2E8CD}" dt="2022-03-28T06:43:22.341" v="86" actId="478"/>
          <ac:spMkLst>
            <pc:docMk/>
            <pc:sldMk cId="0" sldId="262"/>
            <ac:spMk id="1301" creationId="{00000000-0000-0000-0000-000000000000}"/>
          </ac:spMkLst>
        </pc:spChg>
        <pc:spChg chg="del">
          <ac:chgData name="Kebba Jeng" userId="fe4cc296-ba7d-48a2-8799-89b58d218255" providerId="ADAL" clId="{388EFDEE-447E-42B4-98EF-30C01AB2E8CD}" dt="2022-03-28T06:43:22.341" v="86" actId="478"/>
          <ac:spMkLst>
            <pc:docMk/>
            <pc:sldMk cId="0" sldId="262"/>
            <ac:spMk id="1302" creationId="{00000000-0000-0000-0000-000000000000}"/>
          </ac:spMkLst>
        </pc:spChg>
        <pc:spChg chg="del">
          <ac:chgData name="Kebba Jeng" userId="fe4cc296-ba7d-48a2-8799-89b58d218255" providerId="ADAL" clId="{388EFDEE-447E-42B4-98EF-30C01AB2E8CD}" dt="2022-03-28T06:43:22.341" v="86" actId="478"/>
          <ac:spMkLst>
            <pc:docMk/>
            <pc:sldMk cId="0" sldId="262"/>
            <ac:spMk id="1303" creationId="{00000000-0000-0000-0000-000000000000}"/>
          </ac:spMkLst>
        </pc:spChg>
        <pc:spChg chg="del">
          <ac:chgData name="Kebba Jeng" userId="fe4cc296-ba7d-48a2-8799-89b58d218255" providerId="ADAL" clId="{388EFDEE-447E-42B4-98EF-30C01AB2E8CD}" dt="2022-03-28T06:43:22.341" v="86" actId="478"/>
          <ac:spMkLst>
            <pc:docMk/>
            <pc:sldMk cId="0" sldId="262"/>
            <ac:spMk id="1304" creationId="{00000000-0000-0000-0000-000000000000}"/>
          </ac:spMkLst>
        </pc:spChg>
        <pc:spChg chg="del">
          <ac:chgData name="Kebba Jeng" userId="fe4cc296-ba7d-48a2-8799-89b58d218255" providerId="ADAL" clId="{388EFDEE-447E-42B4-98EF-30C01AB2E8CD}" dt="2022-03-28T06:43:22.341" v="86" actId="478"/>
          <ac:spMkLst>
            <pc:docMk/>
            <pc:sldMk cId="0" sldId="262"/>
            <ac:spMk id="1305" creationId="{00000000-0000-0000-0000-000000000000}"/>
          </ac:spMkLst>
        </pc:spChg>
        <pc:spChg chg="del">
          <ac:chgData name="Kebba Jeng" userId="fe4cc296-ba7d-48a2-8799-89b58d218255" providerId="ADAL" clId="{388EFDEE-447E-42B4-98EF-30C01AB2E8CD}" dt="2022-03-28T06:43:22.341" v="86" actId="478"/>
          <ac:spMkLst>
            <pc:docMk/>
            <pc:sldMk cId="0" sldId="262"/>
            <ac:spMk id="1306" creationId="{00000000-0000-0000-0000-000000000000}"/>
          </ac:spMkLst>
        </pc:spChg>
        <pc:spChg chg="del">
          <ac:chgData name="Kebba Jeng" userId="fe4cc296-ba7d-48a2-8799-89b58d218255" providerId="ADAL" clId="{388EFDEE-447E-42B4-98EF-30C01AB2E8CD}" dt="2022-03-28T06:43:22.341" v="86" actId="478"/>
          <ac:spMkLst>
            <pc:docMk/>
            <pc:sldMk cId="0" sldId="262"/>
            <ac:spMk id="1307" creationId="{00000000-0000-0000-0000-000000000000}"/>
          </ac:spMkLst>
        </pc:spChg>
        <pc:spChg chg="del">
          <ac:chgData name="Kebba Jeng" userId="fe4cc296-ba7d-48a2-8799-89b58d218255" providerId="ADAL" clId="{388EFDEE-447E-42B4-98EF-30C01AB2E8CD}" dt="2022-03-28T06:43:22.341" v="86" actId="478"/>
          <ac:spMkLst>
            <pc:docMk/>
            <pc:sldMk cId="0" sldId="262"/>
            <ac:spMk id="1308" creationId="{00000000-0000-0000-0000-000000000000}"/>
          </ac:spMkLst>
        </pc:spChg>
        <pc:spChg chg="del">
          <ac:chgData name="Kebba Jeng" userId="fe4cc296-ba7d-48a2-8799-89b58d218255" providerId="ADAL" clId="{388EFDEE-447E-42B4-98EF-30C01AB2E8CD}" dt="2022-03-28T06:43:22.341" v="86" actId="478"/>
          <ac:spMkLst>
            <pc:docMk/>
            <pc:sldMk cId="0" sldId="262"/>
            <ac:spMk id="1309" creationId="{00000000-0000-0000-0000-000000000000}"/>
          </ac:spMkLst>
        </pc:spChg>
        <pc:spChg chg="del">
          <ac:chgData name="Kebba Jeng" userId="fe4cc296-ba7d-48a2-8799-89b58d218255" providerId="ADAL" clId="{388EFDEE-447E-42B4-98EF-30C01AB2E8CD}" dt="2022-03-28T06:43:22.341" v="86" actId="478"/>
          <ac:spMkLst>
            <pc:docMk/>
            <pc:sldMk cId="0" sldId="262"/>
            <ac:spMk id="1310" creationId="{00000000-0000-0000-0000-000000000000}"/>
          </ac:spMkLst>
        </pc:spChg>
        <pc:spChg chg="del">
          <ac:chgData name="Kebba Jeng" userId="fe4cc296-ba7d-48a2-8799-89b58d218255" providerId="ADAL" clId="{388EFDEE-447E-42B4-98EF-30C01AB2E8CD}" dt="2022-03-28T06:43:22.341" v="86" actId="478"/>
          <ac:spMkLst>
            <pc:docMk/>
            <pc:sldMk cId="0" sldId="262"/>
            <ac:spMk id="1311" creationId="{00000000-0000-0000-0000-000000000000}"/>
          </ac:spMkLst>
        </pc:spChg>
        <pc:spChg chg="del">
          <ac:chgData name="Kebba Jeng" userId="fe4cc296-ba7d-48a2-8799-89b58d218255" providerId="ADAL" clId="{388EFDEE-447E-42B4-98EF-30C01AB2E8CD}" dt="2022-03-28T06:43:22.341" v="86" actId="478"/>
          <ac:spMkLst>
            <pc:docMk/>
            <pc:sldMk cId="0" sldId="262"/>
            <ac:spMk id="1312" creationId="{00000000-0000-0000-0000-000000000000}"/>
          </ac:spMkLst>
        </pc:spChg>
        <pc:spChg chg="del">
          <ac:chgData name="Kebba Jeng" userId="fe4cc296-ba7d-48a2-8799-89b58d218255" providerId="ADAL" clId="{388EFDEE-447E-42B4-98EF-30C01AB2E8CD}" dt="2022-03-28T06:43:22.341" v="86" actId="478"/>
          <ac:spMkLst>
            <pc:docMk/>
            <pc:sldMk cId="0" sldId="262"/>
            <ac:spMk id="1313" creationId="{00000000-0000-0000-0000-000000000000}"/>
          </ac:spMkLst>
        </pc:spChg>
        <pc:spChg chg="del">
          <ac:chgData name="Kebba Jeng" userId="fe4cc296-ba7d-48a2-8799-89b58d218255" providerId="ADAL" clId="{388EFDEE-447E-42B4-98EF-30C01AB2E8CD}" dt="2022-03-28T06:43:22.341" v="86" actId="478"/>
          <ac:spMkLst>
            <pc:docMk/>
            <pc:sldMk cId="0" sldId="262"/>
            <ac:spMk id="1314" creationId="{00000000-0000-0000-0000-000000000000}"/>
          </ac:spMkLst>
        </pc:spChg>
        <pc:spChg chg="del">
          <ac:chgData name="Kebba Jeng" userId="fe4cc296-ba7d-48a2-8799-89b58d218255" providerId="ADAL" clId="{388EFDEE-447E-42B4-98EF-30C01AB2E8CD}" dt="2022-03-28T06:43:22.341" v="86" actId="478"/>
          <ac:spMkLst>
            <pc:docMk/>
            <pc:sldMk cId="0" sldId="262"/>
            <ac:spMk id="1315" creationId="{00000000-0000-0000-0000-000000000000}"/>
          </ac:spMkLst>
        </pc:spChg>
        <pc:spChg chg="del">
          <ac:chgData name="Kebba Jeng" userId="fe4cc296-ba7d-48a2-8799-89b58d218255" providerId="ADAL" clId="{388EFDEE-447E-42B4-98EF-30C01AB2E8CD}" dt="2022-03-28T06:43:22.341" v="86" actId="478"/>
          <ac:spMkLst>
            <pc:docMk/>
            <pc:sldMk cId="0" sldId="262"/>
            <ac:spMk id="1316" creationId="{00000000-0000-0000-0000-000000000000}"/>
          </ac:spMkLst>
        </pc:spChg>
        <pc:spChg chg="del">
          <ac:chgData name="Kebba Jeng" userId="fe4cc296-ba7d-48a2-8799-89b58d218255" providerId="ADAL" clId="{388EFDEE-447E-42B4-98EF-30C01AB2E8CD}" dt="2022-03-28T06:43:22.341" v="86" actId="478"/>
          <ac:spMkLst>
            <pc:docMk/>
            <pc:sldMk cId="0" sldId="262"/>
            <ac:spMk id="1317" creationId="{00000000-0000-0000-0000-000000000000}"/>
          </ac:spMkLst>
        </pc:spChg>
        <pc:spChg chg="del">
          <ac:chgData name="Kebba Jeng" userId="fe4cc296-ba7d-48a2-8799-89b58d218255" providerId="ADAL" clId="{388EFDEE-447E-42B4-98EF-30C01AB2E8CD}" dt="2022-03-28T06:43:22.341" v="86" actId="478"/>
          <ac:spMkLst>
            <pc:docMk/>
            <pc:sldMk cId="0" sldId="262"/>
            <ac:spMk id="1318" creationId="{00000000-0000-0000-0000-000000000000}"/>
          </ac:spMkLst>
        </pc:spChg>
        <pc:spChg chg="del">
          <ac:chgData name="Kebba Jeng" userId="fe4cc296-ba7d-48a2-8799-89b58d218255" providerId="ADAL" clId="{388EFDEE-447E-42B4-98EF-30C01AB2E8CD}" dt="2022-03-28T06:43:22.341" v="86" actId="478"/>
          <ac:spMkLst>
            <pc:docMk/>
            <pc:sldMk cId="0" sldId="262"/>
            <ac:spMk id="1319" creationId="{00000000-0000-0000-0000-000000000000}"/>
          </ac:spMkLst>
        </pc:spChg>
        <pc:spChg chg="del">
          <ac:chgData name="Kebba Jeng" userId="fe4cc296-ba7d-48a2-8799-89b58d218255" providerId="ADAL" clId="{388EFDEE-447E-42B4-98EF-30C01AB2E8CD}" dt="2022-03-28T06:43:22.341" v="86" actId="478"/>
          <ac:spMkLst>
            <pc:docMk/>
            <pc:sldMk cId="0" sldId="262"/>
            <ac:spMk id="1320" creationId="{00000000-0000-0000-0000-000000000000}"/>
          </ac:spMkLst>
        </pc:spChg>
        <pc:spChg chg="del">
          <ac:chgData name="Kebba Jeng" userId="fe4cc296-ba7d-48a2-8799-89b58d218255" providerId="ADAL" clId="{388EFDEE-447E-42B4-98EF-30C01AB2E8CD}" dt="2022-03-28T06:43:22.341" v="86" actId="478"/>
          <ac:spMkLst>
            <pc:docMk/>
            <pc:sldMk cId="0" sldId="262"/>
            <ac:spMk id="1321" creationId="{00000000-0000-0000-0000-000000000000}"/>
          </ac:spMkLst>
        </pc:spChg>
        <pc:spChg chg="del">
          <ac:chgData name="Kebba Jeng" userId="fe4cc296-ba7d-48a2-8799-89b58d218255" providerId="ADAL" clId="{388EFDEE-447E-42B4-98EF-30C01AB2E8CD}" dt="2022-03-28T06:43:22.341" v="86" actId="478"/>
          <ac:spMkLst>
            <pc:docMk/>
            <pc:sldMk cId="0" sldId="262"/>
            <ac:spMk id="1322" creationId="{00000000-0000-0000-0000-000000000000}"/>
          </ac:spMkLst>
        </pc:spChg>
        <pc:spChg chg="del">
          <ac:chgData name="Kebba Jeng" userId="fe4cc296-ba7d-48a2-8799-89b58d218255" providerId="ADAL" clId="{388EFDEE-447E-42B4-98EF-30C01AB2E8CD}" dt="2022-03-28T06:43:22.341" v="86" actId="478"/>
          <ac:spMkLst>
            <pc:docMk/>
            <pc:sldMk cId="0" sldId="262"/>
            <ac:spMk id="1323" creationId="{00000000-0000-0000-0000-000000000000}"/>
          </ac:spMkLst>
        </pc:spChg>
        <pc:spChg chg="del">
          <ac:chgData name="Kebba Jeng" userId="fe4cc296-ba7d-48a2-8799-89b58d218255" providerId="ADAL" clId="{388EFDEE-447E-42B4-98EF-30C01AB2E8CD}" dt="2022-03-28T06:43:22.341" v="86" actId="478"/>
          <ac:spMkLst>
            <pc:docMk/>
            <pc:sldMk cId="0" sldId="262"/>
            <ac:spMk id="1324" creationId="{00000000-0000-0000-0000-000000000000}"/>
          </ac:spMkLst>
        </pc:spChg>
        <pc:spChg chg="del">
          <ac:chgData name="Kebba Jeng" userId="fe4cc296-ba7d-48a2-8799-89b58d218255" providerId="ADAL" clId="{388EFDEE-447E-42B4-98EF-30C01AB2E8CD}" dt="2022-03-28T06:43:22.341" v="86" actId="478"/>
          <ac:spMkLst>
            <pc:docMk/>
            <pc:sldMk cId="0" sldId="262"/>
            <ac:spMk id="1325" creationId="{00000000-0000-0000-0000-000000000000}"/>
          </ac:spMkLst>
        </pc:spChg>
        <pc:spChg chg="del">
          <ac:chgData name="Kebba Jeng" userId="fe4cc296-ba7d-48a2-8799-89b58d218255" providerId="ADAL" clId="{388EFDEE-447E-42B4-98EF-30C01AB2E8CD}" dt="2022-03-28T06:43:22.341" v="86" actId="478"/>
          <ac:spMkLst>
            <pc:docMk/>
            <pc:sldMk cId="0" sldId="262"/>
            <ac:spMk id="1326" creationId="{00000000-0000-0000-0000-000000000000}"/>
          </ac:spMkLst>
        </pc:spChg>
        <pc:spChg chg="del">
          <ac:chgData name="Kebba Jeng" userId="fe4cc296-ba7d-48a2-8799-89b58d218255" providerId="ADAL" clId="{388EFDEE-447E-42B4-98EF-30C01AB2E8CD}" dt="2022-03-28T06:43:22.341" v="86" actId="478"/>
          <ac:spMkLst>
            <pc:docMk/>
            <pc:sldMk cId="0" sldId="262"/>
            <ac:spMk id="1327" creationId="{00000000-0000-0000-0000-000000000000}"/>
          </ac:spMkLst>
        </pc:spChg>
        <pc:spChg chg="del">
          <ac:chgData name="Kebba Jeng" userId="fe4cc296-ba7d-48a2-8799-89b58d218255" providerId="ADAL" clId="{388EFDEE-447E-42B4-98EF-30C01AB2E8CD}" dt="2022-03-28T06:43:22.341" v="86" actId="478"/>
          <ac:spMkLst>
            <pc:docMk/>
            <pc:sldMk cId="0" sldId="262"/>
            <ac:spMk id="1328" creationId="{00000000-0000-0000-0000-000000000000}"/>
          </ac:spMkLst>
        </pc:spChg>
        <pc:spChg chg="del">
          <ac:chgData name="Kebba Jeng" userId="fe4cc296-ba7d-48a2-8799-89b58d218255" providerId="ADAL" clId="{388EFDEE-447E-42B4-98EF-30C01AB2E8CD}" dt="2022-03-28T06:43:22.341" v="86" actId="478"/>
          <ac:spMkLst>
            <pc:docMk/>
            <pc:sldMk cId="0" sldId="262"/>
            <ac:spMk id="1329" creationId="{00000000-0000-0000-0000-000000000000}"/>
          </ac:spMkLst>
        </pc:spChg>
        <pc:spChg chg="del">
          <ac:chgData name="Kebba Jeng" userId="fe4cc296-ba7d-48a2-8799-89b58d218255" providerId="ADAL" clId="{388EFDEE-447E-42B4-98EF-30C01AB2E8CD}" dt="2022-03-28T06:43:22.341" v="86" actId="478"/>
          <ac:spMkLst>
            <pc:docMk/>
            <pc:sldMk cId="0" sldId="262"/>
            <ac:spMk id="1330" creationId="{00000000-0000-0000-0000-000000000000}"/>
          </ac:spMkLst>
        </pc:spChg>
        <pc:spChg chg="del">
          <ac:chgData name="Kebba Jeng" userId="fe4cc296-ba7d-48a2-8799-89b58d218255" providerId="ADAL" clId="{388EFDEE-447E-42B4-98EF-30C01AB2E8CD}" dt="2022-03-28T06:43:22.341" v="86" actId="478"/>
          <ac:spMkLst>
            <pc:docMk/>
            <pc:sldMk cId="0" sldId="262"/>
            <ac:spMk id="1331" creationId="{00000000-0000-0000-0000-000000000000}"/>
          </ac:spMkLst>
        </pc:spChg>
        <pc:spChg chg="del">
          <ac:chgData name="Kebba Jeng" userId="fe4cc296-ba7d-48a2-8799-89b58d218255" providerId="ADAL" clId="{388EFDEE-447E-42B4-98EF-30C01AB2E8CD}" dt="2022-03-28T06:43:22.341" v="86" actId="478"/>
          <ac:spMkLst>
            <pc:docMk/>
            <pc:sldMk cId="0" sldId="262"/>
            <ac:spMk id="1332" creationId="{00000000-0000-0000-0000-000000000000}"/>
          </ac:spMkLst>
        </pc:spChg>
        <pc:spChg chg="del">
          <ac:chgData name="Kebba Jeng" userId="fe4cc296-ba7d-48a2-8799-89b58d218255" providerId="ADAL" clId="{388EFDEE-447E-42B4-98EF-30C01AB2E8CD}" dt="2022-03-28T06:43:22.341" v="86" actId="478"/>
          <ac:spMkLst>
            <pc:docMk/>
            <pc:sldMk cId="0" sldId="262"/>
            <ac:spMk id="1333" creationId="{00000000-0000-0000-0000-000000000000}"/>
          </ac:spMkLst>
        </pc:spChg>
        <pc:spChg chg="del">
          <ac:chgData name="Kebba Jeng" userId="fe4cc296-ba7d-48a2-8799-89b58d218255" providerId="ADAL" clId="{388EFDEE-447E-42B4-98EF-30C01AB2E8CD}" dt="2022-03-28T06:43:22.341" v="86" actId="478"/>
          <ac:spMkLst>
            <pc:docMk/>
            <pc:sldMk cId="0" sldId="262"/>
            <ac:spMk id="1334" creationId="{00000000-0000-0000-0000-000000000000}"/>
          </ac:spMkLst>
        </pc:spChg>
        <pc:spChg chg="del">
          <ac:chgData name="Kebba Jeng" userId="fe4cc296-ba7d-48a2-8799-89b58d218255" providerId="ADAL" clId="{388EFDEE-447E-42B4-98EF-30C01AB2E8CD}" dt="2022-03-28T06:43:22.341" v="86" actId="478"/>
          <ac:spMkLst>
            <pc:docMk/>
            <pc:sldMk cId="0" sldId="262"/>
            <ac:spMk id="1335" creationId="{00000000-0000-0000-0000-000000000000}"/>
          </ac:spMkLst>
        </pc:spChg>
        <pc:spChg chg="del">
          <ac:chgData name="Kebba Jeng" userId="fe4cc296-ba7d-48a2-8799-89b58d218255" providerId="ADAL" clId="{388EFDEE-447E-42B4-98EF-30C01AB2E8CD}" dt="2022-03-28T06:43:22.341" v="86" actId="478"/>
          <ac:spMkLst>
            <pc:docMk/>
            <pc:sldMk cId="0" sldId="262"/>
            <ac:spMk id="1336" creationId="{00000000-0000-0000-0000-000000000000}"/>
          </ac:spMkLst>
        </pc:spChg>
        <pc:spChg chg="del">
          <ac:chgData name="Kebba Jeng" userId="fe4cc296-ba7d-48a2-8799-89b58d218255" providerId="ADAL" clId="{388EFDEE-447E-42B4-98EF-30C01AB2E8CD}" dt="2022-03-28T06:43:22.341" v="86" actId="478"/>
          <ac:spMkLst>
            <pc:docMk/>
            <pc:sldMk cId="0" sldId="262"/>
            <ac:spMk id="1337" creationId="{00000000-0000-0000-0000-000000000000}"/>
          </ac:spMkLst>
        </pc:spChg>
        <pc:spChg chg="del">
          <ac:chgData name="Kebba Jeng" userId="fe4cc296-ba7d-48a2-8799-89b58d218255" providerId="ADAL" clId="{388EFDEE-447E-42B4-98EF-30C01AB2E8CD}" dt="2022-03-28T06:43:22.341" v="86" actId="478"/>
          <ac:spMkLst>
            <pc:docMk/>
            <pc:sldMk cId="0" sldId="262"/>
            <ac:spMk id="1338" creationId="{00000000-0000-0000-0000-000000000000}"/>
          </ac:spMkLst>
        </pc:spChg>
        <pc:spChg chg="del">
          <ac:chgData name="Kebba Jeng" userId="fe4cc296-ba7d-48a2-8799-89b58d218255" providerId="ADAL" clId="{388EFDEE-447E-42B4-98EF-30C01AB2E8CD}" dt="2022-03-28T06:43:22.341" v="86" actId="478"/>
          <ac:spMkLst>
            <pc:docMk/>
            <pc:sldMk cId="0" sldId="262"/>
            <ac:spMk id="1339" creationId="{00000000-0000-0000-0000-000000000000}"/>
          </ac:spMkLst>
        </pc:spChg>
        <pc:spChg chg="del">
          <ac:chgData name="Kebba Jeng" userId="fe4cc296-ba7d-48a2-8799-89b58d218255" providerId="ADAL" clId="{388EFDEE-447E-42B4-98EF-30C01AB2E8CD}" dt="2022-03-28T06:43:22.341" v="86" actId="478"/>
          <ac:spMkLst>
            <pc:docMk/>
            <pc:sldMk cId="0" sldId="262"/>
            <ac:spMk id="1340" creationId="{00000000-0000-0000-0000-000000000000}"/>
          </ac:spMkLst>
        </pc:spChg>
        <pc:spChg chg="del">
          <ac:chgData name="Kebba Jeng" userId="fe4cc296-ba7d-48a2-8799-89b58d218255" providerId="ADAL" clId="{388EFDEE-447E-42B4-98EF-30C01AB2E8CD}" dt="2022-03-28T06:43:22.341" v="86" actId="478"/>
          <ac:spMkLst>
            <pc:docMk/>
            <pc:sldMk cId="0" sldId="262"/>
            <ac:spMk id="1341" creationId="{00000000-0000-0000-0000-000000000000}"/>
          </ac:spMkLst>
        </pc:spChg>
        <pc:spChg chg="del">
          <ac:chgData name="Kebba Jeng" userId="fe4cc296-ba7d-48a2-8799-89b58d218255" providerId="ADAL" clId="{388EFDEE-447E-42B4-98EF-30C01AB2E8CD}" dt="2022-03-28T06:43:22.341" v="86" actId="478"/>
          <ac:spMkLst>
            <pc:docMk/>
            <pc:sldMk cId="0" sldId="262"/>
            <ac:spMk id="1342" creationId="{00000000-0000-0000-0000-000000000000}"/>
          </ac:spMkLst>
        </pc:spChg>
        <pc:spChg chg="del">
          <ac:chgData name="Kebba Jeng" userId="fe4cc296-ba7d-48a2-8799-89b58d218255" providerId="ADAL" clId="{388EFDEE-447E-42B4-98EF-30C01AB2E8CD}" dt="2022-03-28T06:43:22.341" v="86" actId="478"/>
          <ac:spMkLst>
            <pc:docMk/>
            <pc:sldMk cId="0" sldId="262"/>
            <ac:spMk id="1343" creationId="{00000000-0000-0000-0000-000000000000}"/>
          </ac:spMkLst>
        </pc:spChg>
        <pc:spChg chg="del">
          <ac:chgData name="Kebba Jeng" userId="fe4cc296-ba7d-48a2-8799-89b58d218255" providerId="ADAL" clId="{388EFDEE-447E-42B4-98EF-30C01AB2E8CD}" dt="2022-03-28T06:43:22.341" v="86" actId="478"/>
          <ac:spMkLst>
            <pc:docMk/>
            <pc:sldMk cId="0" sldId="262"/>
            <ac:spMk id="1344" creationId="{00000000-0000-0000-0000-000000000000}"/>
          </ac:spMkLst>
        </pc:spChg>
        <pc:spChg chg="del">
          <ac:chgData name="Kebba Jeng" userId="fe4cc296-ba7d-48a2-8799-89b58d218255" providerId="ADAL" clId="{388EFDEE-447E-42B4-98EF-30C01AB2E8CD}" dt="2022-03-28T06:43:22.341" v="86" actId="478"/>
          <ac:spMkLst>
            <pc:docMk/>
            <pc:sldMk cId="0" sldId="262"/>
            <ac:spMk id="1345" creationId="{00000000-0000-0000-0000-000000000000}"/>
          </ac:spMkLst>
        </pc:spChg>
        <pc:spChg chg="del">
          <ac:chgData name="Kebba Jeng" userId="fe4cc296-ba7d-48a2-8799-89b58d218255" providerId="ADAL" clId="{388EFDEE-447E-42B4-98EF-30C01AB2E8CD}" dt="2022-03-28T06:43:22.341" v="86" actId="478"/>
          <ac:spMkLst>
            <pc:docMk/>
            <pc:sldMk cId="0" sldId="262"/>
            <ac:spMk id="1346" creationId="{00000000-0000-0000-0000-000000000000}"/>
          </ac:spMkLst>
        </pc:spChg>
        <pc:spChg chg="del">
          <ac:chgData name="Kebba Jeng" userId="fe4cc296-ba7d-48a2-8799-89b58d218255" providerId="ADAL" clId="{388EFDEE-447E-42B4-98EF-30C01AB2E8CD}" dt="2022-03-28T06:43:22.341" v="86" actId="478"/>
          <ac:spMkLst>
            <pc:docMk/>
            <pc:sldMk cId="0" sldId="262"/>
            <ac:spMk id="1347" creationId="{00000000-0000-0000-0000-000000000000}"/>
          </ac:spMkLst>
        </pc:spChg>
        <pc:spChg chg="del">
          <ac:chgData name="Kebba Jeng" userId="fe4cc296-ba7d-48a2-8799-89b58d218255" providerId="ADAL" clId="{388EFDEE-447E-42B4-98EF-30C01AB2E8CD}" dt="2022-03-28T06:43:22.341" v="86" actId="478"/>
          <ac:spMkLst>
            <pc:docMk/>
            <pc:sldMk cId="0" sldId="262"/>
            <ac:spMk id="1348" creationId="{00000000-0000-0000-0000-000000000000}"/>
          </ac:spMkLst>
        </pc:spChg>
        <pc:spChg chg="del">
          <ac:chgData name="Kebba Jeng" userId="fe4cc296-ba7d-48a2-8799-89b58d218255" providerId="ADAL" clId="{388EFDEE-447E-42B4-98EF-30C01AB2E8CD}" dt="2022-03-28T06:43:22.341" v="86" actId="478"/>
          <ac:spMkLst>
            <pc:docMk/>
            <pc:sldMk cId="0" sldId="262"/>
            <ac:spMk id="1349" creationId="{00000000-0000-0000-0000-000000000000}"/>
          </ac:spMkLst>
        </pc:spChg>
        <pc:spChg chg="del">
          <ac:chgData name="Kebba Jeng" userId="fe4cc296-ba7d-48a2-8799-89b58d218255" providerId="ADAL" clId="{388EFDEE-447E-42B4-98EF-30C01AB2E8CD}" dt="2022-03-28T06:43:22.341" v="86" actId="478"/>
          <ac:spMkLst>
            <pc:docMk/>
            <pc:sldMk cId="0" sldId="262"/>
            <ac:spMk id="1350" creationId="{00000000-0000-0000-0000-000000000000}"/>
          </ac:spMkLst>
        </pc:spChg>
        <pc:spChg chg="del">
          <ac:chgData name="Kebba Jeng" userId="fe4cc296-ba7d-48a2-8799-89b58d218255" providerId="ADAL" clId="{388EFDEE-447E-42B4-98EF-30C01AB2E8CD}" dt="2022-03-28T06:43:22.341" v="86" actId="478"/>
          <ac:spMkLst>
            <pc:docMk/>
            <pc:sldMk cId="0" sldId="262"/>
            <ac:spMk id="1351" creationId="{00000000-0000-0000-0000-000000000000}"/>
          </ac:spMkLst>
        </pc:spChg>
        <pc:spChg chg="del">
          <ac:chgData name="Kebba Jeng" userId="fe4cc296-ba7d-48a2-8799-89b58d218255" providerId="ADAL" clId="{388EFDEE-447E-42B4-98EF-30C01AB2E8CD}" dt="2022-03-28T06:43:22.341" v="86" actId="478"/>
          <ac:spMkLst>
            <pc:docMk/>
            <pc:sldMk cId="0" sldId="262"/>
            <ac:spMk id="1352" creationId="{00000000-0000-0000-0000-000000000000}"/>
          </ac:spMkLst>
        </pc:spChg>
        <pc:spChg chg="del">
          <ac:chgData name="Kebba Jeng" userId="fe4cc296-ba7d-48a2-8799-89b58d218255" providerId="ADAL" clId="{388EFDEE-447E-42B4-98EF-30C01AB2E8CD}" dt="2022-03-28T06:43:22.341" v="86" actId="478"/>
          <ac:spMkLst>
            <pc:docMk/>
            <pc:sldMk cId="0" sldId="262"/>
            <ac:spMk id="1353" creationId="{00000000-0000-0000-0000-000000000000}"/>
          </ac:spMkLst>
        </pc:spChg>
        <pc:spChg chg="del">
          <ac:chgData name="Kebba Jeng" userId="fe4cc296-ba7d-48a2-8799-89b58d218255" providerId="ADAL" clId="{388EFDEE-447E-42B4-98EF-30C01AB2E8CD}" dt="2022-03-28T06:43:22.341" v="86" actId="478"/>
          <ac:spMkLst>
            <pc:docMk/>
            <pc:sldMk cId="0" sldId="262"/>
            <ac:spMk id="1354" creationId="{00000000-0000-0000-0000-000000000000}"/>
          </ac:spMkLst>
        </pc:spChg>
        <pc:spChg chg="del">
          <ac:chgData name="Kebba Jeng" userId="fe4cc296-ba7d-48a2-8799-89b58d218255" providerId="ADAL" clId="{388EFDEE-447E-42B4-98EF-30C01AB2E8CD}" dt="2022-03-28T06:43:22.341" v="86" actId="478"/>
          <ac:spMkLst>
            <pc:docMk/>
            <pc:sldMk cId="0" sldId="262"/>
            <ac:spMk id="1355" creationId="{00000000-0000-0000-0000-000000000000}"/>
          </ac:spMkLst>
        </pc:spChg>
        <pc:spChg chg="del">
          <ac:chgData name="Kebba Jeng" userId="fe4cc296-ba7d-48a2-8799-89b58d218255" providerId="ADAL" clId="{388EFDEE-447E-42B4-98EF-30C01AB2E8CD}" dt="2022-03-28T06:43:22.341" v="86" actId="478"/>
          <ac:spMkLst>
            <pc:docMk/>
            <pc:sldMk cId="0" sldId="262"/>
            <ac:spMk id="1356" creationId="{00000000-0000-0000-0000-000000000000}"/>
          </ac:spMkLst>
        </pc:spChg>
        <pc:spChg chg="del">
          <ac:chgData name="Kebba Jeng" userId="fe4cc296-ba7d-48a2-8799-89b58d218255" providerId="ADAL" clId="{388EFDEE-447E-42B4-98EF-30C01AB2E8CD}" dt="2022-03-28T06:43:22.341" v="86" actId="478"/>
          <ac:spMkLst>
            <pc:docMk/>
            <pc:sldMk cId="0" sldId="262"/>
            <ac:spMk id="1357" creationId="{00000000-0000-0000-0000-000000000000}"/>
          </ac:spMkLst>
        </pc:spChg>
        <pc:spChg chg="del">
          <ac:chgData name="Kebba Jeng" userId="fe4cc296-ba7d-48a2-8799-89b58d218255" providerId="ADAL" clId="{388EFDEE-447E-42B4-98EF-30C01AB2E8CD}" dt="2022-03-28T06:43:22.341" v="86" actId="478"/>
          <ac:spMkLst>
            <pc:docMk/>
            <pc:sldMk cId="0" sldId="262"/>
            <ac:spMk id="1358" creationId="{00000000-0000-0000-0000-000000000000}"/>
          </ac:spMkLst>
        </pc:spChg>
        <pc:spChg chg="del">
          <ac:chgData name="Kebba Jeng" userId="fe4cc296-ba7d-48a2-8799-89b58d218255" providerId="ADAL" clId="{388EFDEE-447E-42B4-98EF-30C01AB2E8CD}" dt="2022-03-28T06:43:22.341" v="86" actId="478"/>
          <ac:spMkLst>
            <pc:docMk/>
            <pc:sldMk cId="0" sldId="262"/>
            <ac:spMk id="1359" creationId="{00000000-0000-0000-0000-000000000000}"/>
          </ac:spMkLst>
        </pc:spChg>
        <pc:spChg chg="del">
          <ac:chgData name="Kebba Jeng" userId="fe4cc296-ba7d-48a2-8799-89b58d218255" providerId="ADAL" clId="{388EFDEE-447E-42B4-98EF-30C01AB2E8CD}" dt="2022-03-28T06:43:22.341" v="86" actId="478"/>
          <ac:spMkLst>
            <pc:docMk/>
            <pc:sldMk cId="0" sldId="262"/>
            <ac:spMk id="1360" creationId="{00000000-0000-0000-0000-000000000000}"/>
          </ac:spMkLst>
        </pc:spChg>
        <pc:spChg chg="del">
          <ac:chgData name="Kebba Jeng" userId="fe4cc296-ba7d-48a2-8799-89b58d218255" providerId="ADAL" clId="{388EFDEE-447E-42B4-98EF-30C01AB2E8CD}" dt="2022-03-28T06:43:22.341" v="86" actId="478"/>
          <ac:spMkLst>
            <pc:docMk/>
            <pc:sldMk cId="0" sldId="262"/>
            <ac:spMk id="1361" creationId="{00000000-0000-0000-0000-000000000000}"/>
          </ac:spMkLst>
        </pc:spChg>
        <pc:spChg chg="del">
          <ac:chgData name="Kebba Jeng" userId="fe4cc296-ba7d-48a2-8799-89b58d218255" providerId="ADAL" clId="{388EFDEE-447E-42B4-98EF-30C01AB2E8CD}" dt="2022-03-28T06:43:22.341" v="86" actId="478"/>
          <ac:spMkLst>
            <pc:docMk/>
            <pc:sldMk cId="0" sldId="262"/>
            <ac:spMk id="1362" creationId="{00000000-0000-0000-0000-000000000000}"/>
          </ac:spMkLst>
        </pc:spChg>
        <pc:spChg chg="del">
          <ac:chgData name="Kebba Jeng" userId="fe4cc296-ba7d-48a2-8799-89b58d218255" providerId="ADAL" clId="{388EFDEE-447E-42B4-98EF-30C01AB2E8CD}" dt="2022-03-28T06:43:22.341" v="86" actId="478"/>
          <ac:spMkLst>
            <pc:docMk/>
            <pc:sldMk cId="0" sldId="262"/>
            <ac:spMk id="1363" creationId="{00000000-0000-0000-0000-000000000000}"/>
          </ac:spMkLst>
        </pc:spChg>
        <pc:spChg chg="del">
          <ac:chgData name="Kebba Jeng" userId="fe4cc296-ba7d-48a2-8799-89b58d218255" providerId="ADAL" clId="{388EFDEE-447E-42B4-98EF-30C01AB2E8CD}" dt="2022-03-28T06:43:22.341" v="86" actId="478"/>
          <ac:spMkLst>
            <pc:docMk/>
            <pc:sldMk cId="0" sldId="262"/>
            <ac:spMk id="1364" creationId="{00000000-0000-0000-0000-000000000000}"/>
          </ac:spMkLst>
        </pc:spChg>
        <pc:spChg chg="del">
          <ac:chgData name="Kebba Jeng" userId="fe4cc296-ba7d-48a2-8799-89b58d218255" providerId="ADAL" clId="{388EFDEE-447E-42B4-98EF-30C01AB2E8CD}" dt="2022-03-28T06:43:22.341" v="86" actId="478"/>
          <ac:spMkLst>
            <pc:docMk/>
            <pc:sldMk cId="0" sldId="262"/>
            <ac:spMk id="1365" creationId="{00000000-0000-0000-0000-000000000000}"/>
          </ac:spMkLst>
        </pc:spChg>
        <pc:spChg chg="del">
          <ac:chgData name="Kebba Jeng" userId="fe4cc296-ba7d-48a2-8799-89b58d218255" providerId="ADAL" clId="{388EFDEE-447E-42B4-98EF-30C01AB2E8CD}" dt="2022-03-28T06:43:22.341" v="86" actId="478"/>
          <ac:spMkLst>
            <pc:docMk/>
            <pc:sldMk cId="0" sldId="262"/>
            <ac:spMk id="1366" creationId="{00000000-0000-0000-0000-000000000000}"/>
          </ac:spMkLst>
        </pc:spChg>
        <pc:spChg chg="del">
          <ac:chgData name="Kebba Jeng" userId="fe4cc296-ba7d-48a2-8799-89b58d218255" providerId="ADAL" clId="{388EFDEE-447E-42B4-98EF-30C01AB2E8CD}" dt="2022-03-28T06:43:22.341" v="86" actId="478"/>
          <ac:spMkLst>
            <pc:docMk/>
            <pc:sldMk cId="0" sldId="262"/>
            <ac:spMk id="1367" creationId="{00000000-0000-0000-0000-000000000000}"/>
          </ac:spMkLst>
        </pc:spChg>
        <pc:spChg chg="del">
          <ac:chgData name="Kebba Jeng" userId="fe4cc296-ba7d-48a2-8799-89b58d218255" providerId="ADAL" clId="{388EFDEE-447E-42B4-98EF-30C01AB2E8CD}" dt="2022-03-28T06:43:22.341" v="86" actId="478"/>
          <ac:spMkLst>
            <pc:docMk/>
            <pc:sldMk cId="0" sldId="262"/>
            <ac:spMk id="1368" creationId="{00000000-0000-0000-0000-000000000000}"/>
          </ac:spMkLst>
        </pc:spChg>
        <pc:spChg chg="del">
          <ac:chgData name="Kebba Jeng" userId="fe4cc296-ba7d-48a2-8799-89b58d218255" providerId="ADAL" clId="{388EFDEE-447E-42B4-98EF-30C01AB2E8CD}" dt="2022-03-28T06:43:22.341" v="86" actId="478"/>
          <ac:spMkLst>
            <pc:docMk/>
            <pc:sldMk cId="0" sldId="262"/>
            <ac:spMk id="1369" creationId="{00000000-0000-0000-0000-000000000000}"/>
          </ac:spMkLst>
        </pc:spChg>
        <pc:spChg chg="del">
          <ac:chgData name="Kebba Jeng" userId="fe4cc296-ba7d-48a2-8799-89b58d218255" providerId="ADAL" clId="{388EFDEE-447E-42B4-98EF-30C01AB2E8CD}" dt="2022-03-28T06:43:22.341" v="86" actId="478"/>
          <ac:spMkLst>
            <pc:docMk/>
            <pc:sldMk cId="0" sldId="262"/>
            <ac:spMk id="1370" creationId="{00000000-0000-0000-0000-000000000000}"/>
          </ac:spMkLst>
        </pc:spChg>
        <pc:spChg chg="del">
          <ac:chgData name="Kebba Jeng" userId="fe4cc296-ba7d-48a2-8799-89b58d218255" providerId="ADAL" clId="{388EFDEE-447E-42B4-98EF-30C01AB2E8CD}" dt="2022-03-28T06:43:22.341" v="86" actId="478"/>
          <ac:spMkLst>
            <pc:docMk/>
            <pc:sldMk cId="0" sldId="262"/>
            <ac:spMk id="1371" creationId="{00000000-0000-0000-0000-000000000000}"/>
          </ac:spMkLst>
        </pc:spChg>
        <pc:spChg chg="del">
          <ac:chgData name="Kebba Jeng" userId="fe4cc296-ba7d-48a2-8799-89b58d218255" providerId="ADAL" clId="{388EFDEE-447E-42B4-98EF-30C01AB2E8CD}" dt="2022-03-28T06:43:22.341" v="86" actId="478"/>
          <ac:spMkLst>
            <pc:docMk/>
            <pc:sldMk cId="0" sldId="262"/>
            <ac:spMk id="1372" creationId="{00000000-0000-0000-0000-000000000000}"/>
          </ac:spMkLst>
        </pc:spChg>
        <pc:spChg chg="del">
          <ac:chgData name="Kebba Jeng" userId="fe4cc296-ba7d-48a2-8799-89b58d218255" providerId="ADAL" clId="{388EFDEE-447E-42B4-98EF-30C01AB2E8CD}" dt="2022-03-28T06:43:22.341" v="86" actId="478"/>
          <ac:spMkLst>
            <pc:docMk/>
            <pc:sldMk cId="0" sldId="262"/>
            <ac:spMk id="1373" creationId="{00000000-0000-0000-0000-000000000000}"/>
          </ac:spMkLst>
        </pc:spChg>
        <pc:spChg chg="del">
          <ac:chgData name="Kebba Jeng" userId="fe4cc296-ba7d-48a2-8799-89b58d218255" providerId="ADAL" clId="{388EFDEE-447E-42B4-98EF-30C01AB2E8CD}" dt="2022-03-28T06:43:22.341" v="86" actId="478"/>
          <ac:spMkLst>
            <pc:docMk/>
            <pc:sldMk cId="0" sldId="262"/>
            <ac:spMk id="1374" creationId="{00000000-0000-0000-0000-000000000000}"/>
          </ac:spMkLst>
        </pc:spChg>
        <pc:spChg chg="del">
          <ac:chgData name="Kebba Jeng" userId="fe4cc296-ba7d-48a2-8799-89b58d218255" providerId="ADAL" clId="{388EFDEE-447E-42B4-98EF-30C01AB2E8CD}" dt="2022-03-28T06:43:22.341" v="86" actId="478"/>
          <ac:spMkLst>
            <pc:docMk/>
            <pc:sldMk cId="0" sldId="262"/>
            <ac:spMk id="1375" creationId="{00000000-0000-0000-0000-000000000000}"/>
          </ac:spMkLst>
        </pc:spChg>
        <pc:spChg chg="del">
          <ac:chgData name="Kebba Jeng" userId="fe4cc296-ba7d-48a2-8799-89b58d218255" providerId="ADAL" clId="{388EFDEE-447E-42B4-98EF-30C01AB2E8CD}" dt="2022-03-28T06:43:22.341" v="86" actId="478"/>
          <ac:spMkLst>
            <pc:docMk/>
            <pc:sldMk cId="0" sldId="262"/>
            <ac:spMk id="1376" creationId="{00000000-0000-0000-0000-000000000000}"/>
          </ac:spMkLst>
        </pc:spChg>
        <pc:spChg chg="del">
          <ac:chgData name="Kebba Jeng" userId="fe4cc296-ba7d-48a2-8799-89b58d218255" providerId="ADAL" clId="{388EFDEE-447E-42B4-98EF-30C01AB2E8CD}" dt="2022-03-28T06:43:22.341" v="86" actId="478"/>
          <ac:spMkLst>
            <pc:docMk/>
            <pc:sldMk cId="0" sldId="262"/>
            <ac:spMk id="1377" creationId="{00000000-0000-0000-0000-000000000000}"/>
          </ac:spMkLst>
        </pc:spChg>
        <pc:spChg chg="del">
          <ac:chgData name="Kebba Jeng" userId="fe4cc296-ba7d-48a2-8799-89b58d218255" providerId="ADAL" clId="{388EFDEE-447E-42B4-98EF-30C01AB2E8CD}" dt="2022-03-28T06:43:22.341" v="86" actId="478"/>
          <ac:spMkLst>
            <pc:docMk/>
            <pc:sldMk cId="0" sldId="262"/>
            <ac:spMk id="1378" creationId="{00000000-0000-0000-0000-000000000000}"/>
          </ac:spMkLst>
        </pc:spChg>
        <pc:spChg chg="del">
          <ac:chgData name="Kebba Jeng" userId="fe4cc296-ba7d-48a2-8799-89b58d218255" providerId="ADAL" clId="{388EFDEE-447E-42B4-98EF-30C01AB2E8CD}" dt="2022-03-28T06:43:22.341" v="86" actId="478"/>
          <ac:spMkLst>
            <pc:docMk/>
            <pc:sldMk cId="0" sldId="262"/>
            <ac:spMk id="1379" creationId="{00000000-0000-0000-0000-000000000000}"/>
          </ac:spMkLst>
        </pc:spChg>
        <pc:spChg chg="del">
          <ac:chgData name="Kebba Jeng" userId="fe4cc296-ba7d-48a2-8799-89b58d218255" providerId="ADAL" clId="{388EFDEE-447E-42B4-98EF-30C01AB2E8CD}" dt="2022-03-28T06:43:22.341" v="86" actId="478"/>
          <ac:spMkLst>
            <pc:docMk/>
            <pc:sldMk cId="0" sldId="262"/>
            <ac:spMk id="1380" creationId="{00000000-0000-0000-0000-000000000000}"/>
          </ac:spMkLst>
        </pc:spChg>
        <pc:spChg chg="del">
          <ac:chgData name="Kebba Jeng" userId="fe4cc296-ba7d-48a2-8799-89b58d218255" providerId="ADAL" clId="{388EFDEE-447E-42B4-98EF-30C01AB2E8CD}" dt="2022-03-28T06:43:22.341" v="86" actId="478"/>
          <ac:spMkLst>
            <pc:docMk/>
            <pc:sldMk cId="0" sldId="262"/>
            <ac:spMk id="1381" creationId="{00000000-0000-0000-0000-000000000000}"/>
          </ac:spMkLst>
        </pc:spChg>
        <pc:spChg chg="del">
          <ac:chgData name="Kebba Jeng" userId="fe4cc296-ba7d-48a2-8799-89b58d218255" providerId="ADAL" clId="{388EFDEE-447E-42B4-98EF-30C01AB2E8CD}" dt="2022-03-28T06:43:22.341" v="86" actId="478"/>
          <ac:spMkLst>
            <pc:docMk/>
            <pc:sldMk cId="0" sldId="262"/>
            <ac:spMk id="1382" creationId="{00000000-0000-0000-0000-000000000000}"/>
          </ac:spMkLst>
        </pc:spChg>
        <pc:spChg chg="del">
          <ac:chgData name="Kebba Jeng" userId="fe4cc296-ba7d-48a2-8799-89b58d218255" providerId="ADAL" clId="{388EFDEE-447E-42B4-98EF-30C01AB2E8CD}" dt="2022-03-28T06:43:22.341" v="86" actId="478"/>
          <ac:spMkLst>
            <pc:docMk/>
            <pc:sldMk cId="0" sldId="262"/>
            <ac:spMk id="1383" creationId="{00000000-0000-0000-0000-000000000000}"/>
          </ac:spMkLst>
        </pc:spChg>
        <pc:spChg chg="del">
          <ac:chgData name="Kebba Jeng" userId="fe4cc296-ba7d-48a2-8799-89b58d218255" providerId="ADAL" clId="{388EFDEE-447E-42B4-98EF-30C01AB2E8CD}" dt="2022-03-28T06:43:22.341" v="86" actId="478"/>
          <ac:spMkLst>
            <pc:docMk/>
            <pc:sldMk cId="0" sldId="262"/>
            <ac:spMk id="1384" creationId="{00000000-0000-0000-0000-000000000000}"/>
          </ac:spMkLst>
        </pc:spChg>
        <pc:spChg chg="del">
          <ac:chgData name="Kebba Jeng" userId="fe4cc296-ba7d-48a2-8799-89b58d218255" providerId="ADAL" clId="{388EFDEE-447E-42B4-98EF-30C01AB2E8CD}" dt="2022-03-28T06:43:22.341" v="86" actId="478"/>
          <ac:spMkLst>
            <pc:docMk/>
            <pc:sldMk cId="0" sldId="262"/>
            <ac:spMk id="1385" creationId="{00000000-0000-0000-0000-000000000000}"/>
          </ac:spMkLst>
        </pc:spChg>
        <pc:spChg chg="del">
          <ac:chgData name="Kebba Jeng" userId="fe4cc296-ba7d-48a2-8799-89b58d218255" providerId="ADAL" clId="{388EFDEE-447E-42B4-98EF-30C01AB2E8CD}" dt="2022-03-28T06:43:22.341" v="86" actId="478"/>
          <ac:spMkLst>
            <pc:docMk/>
            <pc:sldMk cId="0" sldId="262"/>
            <ac:spMk id="1386" creationId="{00000000-0000-0000-0000-000000000000}"/>
          </ac:spMkLst>
        </pc:spChg>
        <pc:spChg chg="del">
          <ac:chgData name="Kebba Jeng" userId="fe4cc296-ba7d-48a2-8799-89b58d218255" providerId="ADAL" clId="{388EFDEE-447E-42B4-98EF-30C01AB2E8CD}" dt="2022-03-28T06:43:22.341" v="86" actId="478"/>
          <ac:spMkLst>
            <pc:docMk/>
            <pc:sldMk cId="0" sldId="262"/>
            <ac:spMk id="1387" creationId="{00000000-0000-0000-0000-000000000000}"/>
          </ac:spMkLst>
        </pc:spChg>
        <pc:spChg chg="del">
          <ac:chgData name="Kebba Jeng" userId="fe4cc296-ba7d-48a2-8799-89b58d218255" providerId="ADAL" clId="{388EFDEE-447E-42B4-98EF-30C01AB2E8CD}" dt="2022-03-28T06:43:22.341" v="86" actId="478"/>
          <ac:spMkLst>
            <pc:docMk/>
            <pc:sldMk cId="0" sldId="262"/>
            <ac:spMk id="1388" creationId="{00000000-0000-0000-0000-000000000000}"/>
          </ac:spMkLst>
        </pc:spChg>
        <pc:spChg chg="del">
          <ac:chgData name="Kebba Jeng" userId="fe4cc296-ba7d-48a2-8799-89b58d218255" providerId="ADAL" clId="{388EFDEE-447E-42B4-98EF-30C01AB2E8CD}" dt="2022-03-28T06:43:22.341" v="86" actId="478"/>
          <ac:spMkLst>
            <pc:docMk/>
            <pc:sldMk cId="0" sldId="262"/>
            <ac:spMk id="1389" creationId="{00000000-0000-0000-0000-000000000000}"/>
          </ac:spMkLst>
        </pc:spChg>
        <pc:spChg chg="del">
          <ac:chgData name="Kebba Jeng" userId="fe4cc296-ba7d-48a2-8799-89b58d218255" providerId="ADAL" clId="{388EFDEE-447E-42B4-98EF-30C01AB2E8CD}" dt="2022-03-28T06:43:22.341" v="86" actId="478"/>
          <ac:spMkLst>
            <pc:docMk/>
            <pc:sldMk cId="0" sldId="262"/>
            <ac:spMk id="1390" creationId="{00000000-0000-0000-0000-000000000000}"/>
          </ac:spMkLst>
        </pc:spChg>
        <pc:spChg chg="del">
          <ac:chgData name="Kebba Jeng" userId="fe4cc296-ba7d-48a2-8799-89b58d218255" providerId="ADAL" clId="{388EFDEE-447E-42B4-98EF-30C01AB2E8CD}" dt="2022-03-28T06:43:22.341" v="86" actId="478"/>
          <ac:spMkLst>
            <pc:docMk/>
            <pc:sldMk cId="0" sldId="262"/>
            <ac:spMk id="1391" creationId="{00000000-0000-0000-0000-000000000000}"/>
          </ac:spMkLst>
        </pc:spChg>
        <pc:spChg chg="del">
          <ac:chgData name="Kebba Jeng" userId="fe4cc296-ba7d-48a2-8799-89b58d218255" providerId="ADAL" clId="{388EFDEE-447E-42B4-98EF-30C01AB2E8CD}" dt="2022-03-28T06:43:22.341" v="86" actId="478"/>
          <ac:spMkLst>
            <pc:docMk/>
            <pc:sldMk cId="0" sldId="262"/>
            <ac:spMk id="1392" creationId="{00000000-0000-0000-0000-000000000000}"/>
          </ac:spMkLst>
        </pc:spChg>
        <pc:spChg chg="del">
          <ac:chgData name="Kebba Jeng" userId="fe4cc296-ba7d-48a2-8799-89b58d218255" providerId="ADAL" clId="{388EFDEE-447E-42B4-98EF-30C01AB2E8CD}" dt="2022-03-28T06:43:22.341" v="86" actId="478"/>
          <ac:spMkLst>
            <pc:docMk/>
            <pc:sldMk cId="0" sldId="262"/>
            <ac:spMk id="1393" creationId="{00000000-0000-0000-0000-000000000000}"/>
          </ac:spMkLst>
        </pc:spChg>
        <pc:spChg chg="del">
          <ac:chgData name="Kebba Jeng" userId="fe4cc296-ba7d-48a2-8799-89b58d218255" providerId="ADAL" clId="{388EFDEE-447E-42B4-98EF-30C01AB2E8CD}" dt="2022-03-28T06:43:22.341" v="86" actId="478"/>
          <ac:spMkLst>
            <pc:docMk/>
            <pc:sldMk cId="0" sldId="262"/>
            <ac:spMk id="1394" creationId="{00000000-0000-0000-0000-000000000000}"/>
          </ac:spMkLst>
        </pc:spChg>
        <pc:spChg chg="del">
          <ac:chgData name="Kebba Jeng" userId="fe4cc296-ba7d-48a2-8799-89b58d218255" providerId="ADAL" clId="{388EFDEE-447E-42B4-98EF-30C01AB2E8CD}" dt="2022-03-28T06:43:22.341" v="86" actId="478"/>
          <ac:spMkLst>
            <pc:docMk/>
            <pc:sldMk cId="0" sldId="262"/>
            <ac:spMk id="1395" creationId="{00000000-0000-0000-0000-000000000000}"/>
          </ac:spMkLst>
        </pc:spChg>
        <pc:spChg chg="del">
          <ac:chgData name="Kebba Jeng" userId="fe4cc296-ba7d-48a2-8799-89b58d218255" providerId="ADAL" clId="{388EFDEE-447E-42B4-98EF-30C01AB2E8CD}" dt="2022-03-28T06:43:22.341" v="86" actId="478"/>
          <ac:spMkLst>
            <pc:docMk/>
            <pc:sldMk cId="0" sldId="262"/>
            <ac:spMk id="1396" creationId="{00000000-0000-0000-0000-000000000000}"/>
          </ac:spMkLst>
        </pc:spChg>
        <pc:spChg chg="del">
          <ac:chgData name="Kebba Jeng" userId="fe4cc296-ba7d-48a2-8799-89b58d218255" providerId="ADAL" clId="{388EFDEE-447E-42B4-98EF-30C01AB2E8CD}" dt="2022-03-28T06:43:22.341" v="86" actId="478"/>
          <ac:spMkLst>
            <pc:docMk/>
            <pc:sldMk cId="0" sldId="262"/>
            <ac:spMk id="1397" creationId="{00000000-0000-0000-0000-000000000000}"/>
          </ac:spMkLst>
        </pc:spChg>
        <pc:spChg chg="del">
          <ac:chgData name="Kebba Jeng" userId="fe4cc296-ba7d-48a2-8799-89b58d218255" providerId="ADAL" clId="{388EFDEE-447E-42B4-98EF-30C01AB2E8CD}" dt="2022-03-28T06:43:22.341" v="86" actId="478"/>
          <ac:spMkLst>
            <pc:docMk/>
            <pc:sldMk cId="0" sldId="262"/>
            <ac:spMk id="1398" creationId="{00000000-0000-0000-0000-000000000000}"/>
          </ac:spMkLst>
        </pc:spChg>
        <pc:spChg chg="del">
          <ac:chgData name="Kebba Jeng" userId="fe4cc296-ba7d-48a2-8799-89b58d218255" providerId="ADAL" clId="{388EFDEE-447E-42B4-98EF-30C01AB2E8CD}" dt="2022-03-28T06:43:22.341" v="86" actId="478"/>
          <ac:spMkLst>
            <pc:docMk/>
            <pc:sldMk cId="0" sldId="262"/>
            <ac:spMk id="1399" creationId="{00000000-0000-0000-0000-000000000000}"/>
          </ac:spMkLst>
        </pc:spChg>
        <pc:spChg chg="del">
          <ac:chgData name="Kebba Jeng" userId="fe4cc296-ba7d-48a2-8799-89b58d218255" providerId="ADAL" clId="{388EFDEE-447E-42B4-98EF-30C01AB2E8CD}" dt="2022-03-28T06:43:22.341" v="86" actId="478"/>
          <ac:spMkLst>
            <pc:docMk/>
            <pc:sldMk cId="0" sldId="262"/>
            <ac:spMk id="1400" creationId="{00000000-0000-0000-0000-000000000000}"/>
          </ac:spMkLst>
        </pc:spChg>
        <pc:spChg chg="del">
          <ac:chgData name="Kebba Jeng" userId="fe4cc296-ba7d-48a2-8799-89b58d218255" providerId="ADAL" clId="{388EFDEE-447E-42B4-98EF-30C01AB2E8CD}" dt="2022-03-28T06:43:22.341" v="86" actId="478"/>
          <ac:spMkLst>
            <pc:docMk/>
            <pc:sldMk cId="0" sldId="262"/>
            <ac:spMk id="1401" creationId="{00000000-0000-0000-0000-000000000000}"/>
          </ac:spMkLst>
        </pc:spChg>
        <pc:spChg chg="del">
          <ac:chgData name="Kebba Jeng" userId="fe4cc296-ba7d-48a2-8799-89b58d218255" providerId="ADAL" clId="{388EFDEE-447E-42B4-98EF-30C01AB2E8CD}" dt="2022-03-28T06:43:22.341" v="86" actId="478"/>
          <ac:spMkLst>
            <pc:docMk/>
            <pc:sldMk cId="0" sldId="262"/>
            <ac:spMk id="1402" creationId="{00000000-0000-0000-0000-000000000000}"/>
          </ac:spMkLst>
        </pc:spChg>
        <pc:spChg chg="del">
          <ac:chgData name="Kebba Jeng" userId="fe4cc296-ba7d-48a2-8799-89b58d218255" providerId="ADAL" clId="{388EFDEE-447E-42B4-98EF-30C01AB2E8CD}" dt="2022-03-28T06:43:22.341" v="86" actId="478"/>
          <ac:spMkLst>
            <pc:docMk/>
            <pc:sldMk cId="0" sldId="262"/>
            <ac:spMk id="1403" creationId="{00000000-0000-0000-0000-000000000000}"/>
          </ac:spMkLst>
        </pc:spChg>
        <pc:spChg chg="del">
          <ac:chgData name="Kebba Jeng" userId="fe4cc296-ba7d-48a2-8799-89b58d218255" providerId="ADAL" clId="{388EFDEE-447E-42B4-98EF-30C01AB2E8CD}" dt="2022-03-28T06:43:22.341" v="86" actId="478"/>
          <ac:spMkLst>
            <pc:docMk/>
            <pc:sldMk cId="0" sldId="262"/>
            <ac:spMk id="1404" creationId="{00000000-0000-0000-0000-000000000000}"/>
          </ac:spMkLst>
        </pc:spChg>
        <pc:spChg chg="del">
          <ac:chgData name="Kebba Jeng" userId="fe4cc296-ba7d-48a2-8799-89b58d218255" providerId="ADAL" clId="{388EFDEE-447E-42B4-98EF-30C01AB2E8CD}" dt="2022-03-28T06:43:22.341" v="86" actId="478"/>
          <ac:spMkLst>
            <pc:docMk/>
            <pc:sldMk cId="0" sldId="262"/>
            <ac:spMk id="1405" creationId="{00000000-0000-0000-0000-000000000000}"/>
          </ac:spMkLst>
        </pc:spChg>
        <pc:spChg chg="del">
          <ac:chgData name="Kebba Jeng" userId="fe4cc296-ba7d-48a2-8799-89b58d218255" providerId="ADAL" clId="{388EFDEE-447E-42B4-98EF-30C01AB2E8CD}" dt="2022-03-28T06:43:22.341" v="86" actId="478"/>
          <ac:spMkLst>
            <pc:docMk/>
            <pc:sldMk cId="0" sldId="262"/>
            <ac:spMk id="1406" creationId="{00000000-0000-0000-0000-000000000000}"/>
          </ac:spMkLst>
        </pc:spChg>
        <pc:spChg chg="del">
          <ac:chgData name="Kebba Jeng" userId="fe4cc296-ba7d-48a2-8799-89b58d218255" providerId="ADAL" clId="{388EFDEE-447E-42B4-98EF-30C01AB2E8CD}" dt="2022-03-28T06:43:22.341" v="86" actId="478"/>
          <ac:spMkLst>
            <pc:docMk/>
            <pc:sldMk cId="0" sldId="262"/>
            <ac:spMk id="1407" creationId="{00000000-0000-0000-0000-000000000000}"/>
          </ac:spMkLst>
        </pc:spChg>
        <pc:spChg chg="del">
          <ac:chgData name="Kebba Jeng" userId="fe4cc296-ba7d-48a2-8799-89b58d218255" providerId="ADAL" clId="{388EFDEE-447E-42B4-98EF-30C01AB2E8CD}" dt="2022-03-28T06:43:22.341" v="86" actId="478"/>
          <ac:spMkLst>
            <pc:docMk/>
            <pc:sldMk cId="0" sldId="262"/>
            <ac:spMk id="1408" creationId="{00000000-0000-0000-0000-000000000000}"/>
          </ac:spMkLst>
        </pc:spChg>
        <pc:spChg chg="del">
          <ac:chgData name="Kebba Jeng" userId="fe4cc296-ba7d-48a2-8799-89b58d218255" providerId="ADAL" clId="{388EFDEE-447E-42B4-98EF-30C01AB2E8CD}" dt="2022-03-28T06:43:22.341" v="86" actId="478"/>
          <ac:spMkLst>
            <pc:docMk/>
            <pc:sldMk cId="0" sldId="262"/>
            <ac:spMk id="1409" creationId="{00000000-0000-0000-0000-000000000000}"/>
          </ac:spMkLst>
        </pc:spChg>
        <pc:spChg chg="del">
          <ac:chgData name="Kebba Jeng" userId="fe4cc296-ba7d-48a2-8799-89b58d218255" providerId="ADAL" clId="{388EFDEE-447E-42B4-98EF-30C01AB2E8CD}" dt="2022-03-28T06:43:22.341" v="86" actId="478"/>
          <ac:spMkLst>
            <pc:docMk/>
            <pc:sldMk cId="0" sldId="262"/>
            <ac:spMk id="1410" creationId="{00000000-0000-0000-0000-000000000000}"/>
          </ac:spMkLst>
        </pc:spChg>
        <pc:spChg chg="del">
          <ac:chgData name="Kebba Jeng" userId="fe4cc296-ba7d-48a2-8799-89b58d218255" providerId="ADAL" clId="{388EFDEE-447E-42B4-98EF-30C01AB2E8CD}" dt="2022-03-28T06:43:22.341" v="86" actId="478"/>
          <ac:spMkLst>
            <pc:docMk/>
            <pc:sldMk cId="0" sldId="262"/>
            <ac:spMk id="1411" creationId="{00000000-0000-0000-0000-000000000000}"/>
          </ac:spMkLst>
        </pc:spChg>
        <pc:spChg chg="del">
          <ac:chgData name="Kebba Jeng" userId="fe4cc296-ba7d-48a2-8799-89b58d218255" providerId="ADAL" clId="{388EFDEE-447E-42B4-98EF-30C01AB2E8CD}" dt="2022-03-28T06:43:22.341" v="86" actId="478"/>
          <ac:spMkLst>
            <pc:docMk/>
            <pc:sldMk cId="0" sldId="262"/>
            <ac:spMk id="1412" creationId="{00000000-0000-0000-0000-000000000000}"/>
          </ac:spMkLst>
        </pc:spChg>
        <pc:spChg chg="del">
          <ac:chgData name="Kebba Jeng" userId="fe4cc296-ba7d-48a2-8799-89b58d218255" providerId="ADAL" clId="{388EFDEE-447E-42B4-98EF-30C01AB2E8CD}" dt="2022-03-28T06:43:22.341" v="86" actId="478"/>
          <ac:spMkLst>
            <pc:docMk/>
            <pc:sldMk cId="0" sldId="262"/>
            <ac:spMk id="1413" creationId="{00000000-0000-0000-0000-000000000000}"/>
          </ac:spMkLst>
        </pc:spChg>
        <pc:spChg chg="del">
          <ac:chgData name="Kebba Jeng" userId="fe4cc296-ba7d-48a2-8799-89b58d218255" providerId="ADAL" clId="{388EFDEE-447E-42B4-98EF-30C01AB2E8CD}" dt="2022-03-28T06:43:22.341" v="86" actId="478"/>
          <ac:spMkLst>
            <pc:docMk/>
            <pc:sldMk cId="0" sldId="262"/>
            <ac:spMk id="1414" creationId="{00000000-0000-0000-0000-000000000000}"/>
          </ac:spMkLst>
        </pc:spChg>
        <pc:spChg chg="del">
          <ac:chgData name="Kebba Jeng" userId="fe4cc296-ba7d-48a2-8799-89b58d218255" providerId="ADAL" clId="{388EFDEE-447E-42B4-98EF-30C01AB2E8CD}" dt="2022-03-28T06:43:22.341" v="86" actId="478"/>
          <ac:spMkLst>
            <pc:docMk/>
            <pc:sldMk cId="0" sldId="262"/>
            <ac:spMk id="1415" creationId="{00000000-0000-0000-0000-000000000000}"/>
          </ac:spMkLst>
        </pc:spChg>
        <pc:spChg chg="del">
          <ac:chgData name="Kebba Jeng" userId="fe4cc296-ba7d-48a2-8799-89b58d218255" providerId="ADAL" clId="{388EFDEE-447E-42B4-98EF-30C01AB2E8CD}" dt="2022-03-28T06:43:22.341" v="86" actId="478"/>
          <ac:spMkLst>
            <pc:docMk/>
            <pc:sldMk cId="0" sldId="262"/>
            <ac:spMk id="1416" creationId="{00000000-0000-0000-0000-000000000000}"/>
          </ac:spMkLst>
        </pc:spChg>
        <pc:spChg chg="del">
          <ac:chgData name="Kebba Jeng" userId="fe4cc296-ba7d-48a2-8799-89b58d218255" providerId="ADAL" clId="{388EFDEE-447E-42B4-98EF-30C01AB2E8CD}" dt="2022-03-28T06:43:22.341" v="86" actId="478"/>
          <ac:spMkLst>
            <pc:docMk/>
            <pc:sldMk cId="0" sldId="262"/>
            <ac:spMk id="1417" creationId="{00000000-0000-0000-0000-000000000000}"/>
          </ac:spMkLst>
        </pc:spChg>
        <pc:spChg chg="del">
          <ac:chgData name="Kebba Jeng" userId="fe4cc296-ba7d-48a2-8799-89b58d218255" providerId="ADAL" clId="{388EFDEE-447E-42B4-98EF-30C01AB2E8CD}" dt="2022-03-28T06:43:22.341" v="86" actId="478"/>
          <ac:spMkLst>
            <pc:docMk/>
            <pc:sldMk cId="0" sldId="262"/>
            <ac:spMk id="1418" creationId="{00000000-0000-0000-0000-000000000000}"/>
          </ac:spMkLst>
        </pc:spChg>
        <pc:spChg chg="del">
          <ac:chgData name="Kebba Jeng" userId="fe4cc296-ba7d-48a2-8799-89b58d218255" providerId="ADAL" clId="{388EFDEE-447E-42B4-98EF-30C01AB2E8CD}" dt="2022-03-28T06:43:22.341" v="86" actId="478"/>
          <ac:spMkLst>
            <pc:docMk/>
            <pc:sldMk cId="0" sldId="262"/>
            <ac:spMk id="1419" creationId="{00000000-0000-0000-0000-000000000000}"/>
          </ac:spMkLst>
        </pc:spChg>
        <pc:spChg chg="del">
          <ac:chgData name="Kebba Jeng" userId="fe4cc296-ba7d-48a2-8799-89b58d218255" providerId="ADAL" clId="{388EFDEE-447E-42B4-98EF-30C01AB2E8CD}" dt="2022-03-28T06:43:22.341" v="86" actId="478"/>
          <ac:spMkLst>
            <pc:docMk/>
            <pc:sldMk cId="0" sldId="262"/>
            <ac:spMk id="1420" creationId="{00000000-0000-0000-0000-000000000000}"/>
          </ac:spMkLst>
        </pc:spChg>
        <pc:spChg chg="del">
          <ac:chgData name="Kebba Jeng" userId="fe4cc296-ba7d-48a2-8799-89b58d218255" providerId="ADAL" clId="{388EFDEE-447E-42B4-98EF-30C01AB2E8CD}" dt="2022-03-28T06:43:22.341" v="86" actId="478"/>
          <ac:spMkLst>
            <pc:docMk/>
            <pc:sldMk cId="0" sldId="262"/>
            <ac:spMk id="1421" creationId="{00000000-0000-0000-0000-000000000000}"/>
          </ac:spMkLst>
        </pc:spChg>
        <pc:spChg chg="del">
          <ac:chgData name="Kebba Jeng" userId="fe4cc296-ba7d-48a2-8799-89b58d218255" providerId="ADAL" clId="{388EFDEE-447E-42B4-98EF-30C01AB2E8CD}" dt="2022-03-28T06:43:22.341" v="86" actId="478"/>
          <ac:spMkLst>
            <pc:docMk/>
            <pc:sldMk cId="0" sldId="262"/>
            <ac:spMk id="1422" creationId="{00000000-0000-0000-0000-000000000000}"/>
          </ac:spMkLst>
        </pc:spChg>
        <pc:spChg chg="del">
          <ac:chgData name="Kebba Jeng" userId="fe4cc296-ba7d-48a2-8799-89b58d218255" providerId="ADAL" clId="{388EFDEE-447E-42B4-98EF-30C01AB2E8CD}" dt="2022-03-28T06:43:22.341" v="86" actId="478"/>
          <ac:spMkLst>
            <pc:docMk/>
            <pc:sldMk cId="0" sldId="262"/>
            <ac:spMk id="1423" creationId="{00000000-0000-0000-0000-000000000000}"/>
          </ac:spMkLst>
        </pc:spChg>
        <pc:spChg chg="del">
          <ac:chgData name="Kebba Jeng" userId="fe4cc296-ba7d-48a2-8799-89b58d218255" providerId="ADAL" clId="{388EFDEE-447E-42B4-98EF-30C01AB2E8CD}" dt="2022-03-28T06:43:22.341" v="86" actId="478"/>
          <ac:spMkLst>
            <pc:docMk/>
            <pc:sldMk cId="0" sldId="262"/>
            <ac:spMk id="1424" creationId="{00000000-0000-0000-0000-000000000000}"/>
          </ac:spMkLst>
        </pc:spChg>
        <pc:spChg chg="del">
          <ac:chgData name="Kebba Jeng" userId="fe4cc296-ba7d-48a2-8799-89b58d218255" providerId="ADAL" clId="{388EFDEE-447E-42B4-98EF-30C01AB2E8CD}" dt="2022-03-28T06:43:22.341" v="86" actId="478"/>
          <ac:spMkLst>
            <pc:docMk/>
            <pc:sldMk cId="0" sldId="262"/>
            <ac:spMk id="1425" creationId="{00000000-0000-0000-0000-000000000000}"/>
          </ac:spMkLst>
        </pc:spChg>
        <pc:spChg chg="del">
          <ac:chgData name="Kebba Jeng" userId="fe4cc296-ba7d-48a2-8799-89b58d218255" providerId="ADAL" clId="{388EFDEE-447E-42B4-98EF-30C01AB2E8CD}" dt="2022-03-28T06:43:22.341" v="86" actId="478"/>
          <ac:spMkLst>
            <pc:docMk/>
            <pc:sldMk cId="0" sldId="262"/>
            <ac:spMk id="1426" creationId="{00000000-0000-0000-0000-000000000000}"/>
          </ac:spMkLst>
        </pc:spChg>
        <pc:spChg chg="del">
          <ac:chgData name="Kebba Jeng" userId="fe4cc296-ba7d-48a2-8799-89b58d218255" providerId="ADAL" clId="{388EFDEE-447E-42B4-98EF-30C01AB2E8CD}" dt="2022-03-28T06:43:22.341" v="86" actId="478"/>
          <ac:spMkLst>
            <pc:docMk/>
            <pc:sldMk cId="0" sldId="262"/>
            <ac:spMk id="1427" creationId="{00000000-0000-0000-0000-000000000000}"/>
          </ac:spMkLst>
        </pc:spChg>
        <pc:spChg chg="del">
          <ac:chgData name="Kebba Jeng" userId="fe4cc296-ba7d-48a2-8799-89b58d218255" providerId="ADAL" clId="{388EFDEE-447E-42B4-98EF-30C01AB2E8CD}" dt="2022-03-28T06:43:22.341" v="86" actId="478"/>
          <ac:spMkLst>
            <pc:docMk/>
            <pc:sldMk cId="0" sldId="262"/>
            <ac:spMk id="1428" creationId="{00000000-0000-0000-0000-000000000000}"/>
          </ac:spMkLst>
        </pc:spChg>
        <pc:spChg chg="del">
          <ac:chgData name="Kebba Jeng" userId="fe4cc296-ba7d-48a2-8799-89b58d218255" providerId="ADAL" clId="{388EFDEE-447E-42B4-98EF-30C01AB2E8CD}" dt="2022-03-28T06:43:22.341" v="86" actId="478"/>
          <ac:spMkLst>
            <pc:docMk/>
            <pc:sldMk cId="0" sldId="262"/>
            <ac:spMk id="1429" creationId="{00000000-0000-0000-0000-000000000000}"/>
          </ac:spMkLst>
        </pc:spChg>
        <pc:spChg chg="del">
          <ac:chgData name="Kebba Jeng" userId="fe4cc296-ba7d-48a2-8799-89b58d218255" providerId="ADAL" clId="{388EFDEE-447E-42B4-98EF-30C01AB2E8CD}" dt="2022-03-28T06:43:22.341" v="86" actId="478"/>
          <ac:spMkLst>
            <pc:docMk/>
            <pc:sldMk cId="0" sldId="262"/>
            <ac:spMk id="1430" creationId="{00000000-0000-0000-0000-000000000000}"/>
          </ac:spMkLst>
        </pc:spChg>
        <pc:spChg chg="del">
          <ac:chgData name="Kebba Jeng" userId="fe4cc296-ba7d-48a2-8799-89b58d218255" providerId="ADAL" clId="{388EFDEE-447E-42B4-98EF-30C01AB2E8CD}" dt="2022-03-28T06:43:22.341" v="86" actId="478"/>
          <ac:spMkLst>
            <pc:docMk/>
            <pc:sldMk cId="0" sldId="262"/>
            <ac:spMk id="1431" creationId="{00000000-0000-0000-0000-000000000000}"/>
          </ac:spMkLst>
        </pc:spChg>
        <pc:spChg chg="del">
          <ac:chgData name="Kebba Jeng" userId="fe4cc296-ba7d-48a2-8799-89b58d218255" providerId="ADAL" clId="{388EFDEE-447E-42B4-98EF-30C01AB2E8CD}" dt="2022-03-28T06:43:22.341" v="86" actId="478"/>
          <ac:spMkLst>
            <pc:docMk/>
            <pc:sldMk cId="0" sldId="262"/>
            <ac:spMk id="1432" creationId="{00000000-0000-0000-0000-000000000000}"/>
          </ac:spMkLst>
        </pc:spChg>
        <pc:spChg chg="del">
          <ac:chgData name="Kebba Jeng" userId="fe4cc296-ba7d-48a2-8799-89b58d218255" providerId="ADAL" clId="{388EFDEE-447E-42B4-98EF-30C01AB2E8CD}" dt="2022-03-28T06:43:22.341" v="86" actId="478"/>
          <ac:spMkLst>
            <pc:docMk/>
            <pc:sldMk cId="0" sldId="262"/>
            <ac:spMk id="1433" creationId="{00000000-0000-0000-0000-000000000000}"/>
          </ac:spMkLst>
        </pc:spChg>
        <pc:spChg chg="del">
          <ac:chgData name="Kebba Jeng" userId="fe4cc296-ba7d-48a2-8799-89b58d218255" providerId="ADAL" clId="{388EFDEE-447E-42B4-98EF-30C01AB2E8CD}" dt="2022-03-28T06:43:22.341" v="86" actId="478"/>
          <ac:spMkLst>
            <pc:docMk/>
            <pc:sldMk cId="0" sldId="262"/>
            <ac:spMk id="1434" creationId="{00000000-0000-0000-0000-000000000000}"/>
          </ac:spMkLst>
        </pc:spChg>
        <pc:spChg chg="del">
          <ac:chgData name="Kebba Jeng" userId="fe4cc296-ba7d-48a2-8799-89b58d218255" providerId="ADAL" clId="{388EFDEE-447E-42B4-98EF-30C01AB2E8CD}" dt="2022-03-28T06:43:22.341" v="86" actId="478"/>
          <ac:spMkLst>
            <pc:docMk/>
            <pc:sldMk cId="0" sldId="262"/>
            <ac:spMk id="1435" creationId="{00000000-0000-0000-0000-000000000000}"/>
          </ac:spMkLst>
        </pc:spChg>
        <pc:spChg chg="del">
          <ac:chgData name="Kebba Jeng" userId="fe4cc296-ba7d-48a2-8799-89b58d218255" providerId="ADAL" clId="{388EFDEE-447E-42B4-98EF-30C01AB2E8CD}" dt="2022-03-28T06:43:22.341" v="86" actId="478"/>
          <ac:spMkLst>
            <pc:docMk/>
            <pc:sldMk cId="0" sldId="262"/>
            <ac:spMk id="1436" creationId="{00000000-0000-0000-0000-000000000000}"/>
          </ac:spMkLst>
        </pc:spChg>
        <pc:spChg chg="del">
          <ac:chgData name="Kebba Jeng" userId="fe4cc296-ba7d-48a2-8799-89b58d218255" providerId="ADAL" clId="{388EFDEE-447E-42B4-98EF-30C01AB2E8CD}" dt="2022-03-28T06:43:22.341" v="86" actId="478"/>
          <ac:spMkLst>
            <pc:docMk/>
            <pc:sldMk cId="0" sldId="262"/>
            <ac:spMk id="1437" creationId="{00000000-0000-0000-0000-000000000000}"/>
          </ac:spMkLst>
        </pc:spChg>
        <pc:spChg chg="del">
          <ac:chgData name="Kebba Jeng" userId="fe4cc296-ba7d-48a2-8799-89b58d218255" providerId="ADAL" clId="{388EFDEE-447E-42B4-98EF-30C01AB2E8CD}" dt="2022-03-28T06:43:22.341" v="86" actId="478"/>
          <ac:spMkLst>
            <pc:docMk/>
            <pc:sldMk cId="0" sldId="262"/>
            <ac:spMk id="1438" creationId="{00000000-0000-0000-0000-000000000000}"/>
          </ac:spMkLst>
        </pc:spChg>
        <pc:spChg chg="del">
          <ac:chgData name="Kebba Jeng" userId="fe4cc296-ba7d-48a2-8799-89b58d218255" providerId="ADAL" clId="{388EFDEE-447E-42B4-98EF-30C01AB2E8CD}" dt="2022-03-28T06:43:22.341" v="86" actId="478"/>
          <ac:spMkLst>
            <pc:docMk/>
            <pc:sldMk cId="0" sldId="262"/>
            <ac:spMk id="1439" creationId="{00000000-0000-0000-0000-000000000000}"/>
          </ac:spMkLst>
        </pc:spChg>
        <pc:spChg chg="del">
          <ac:chgData name="Kebba Jeng" userId="fe4cc296-ba7d-48a2-8799-89b58d218255" providerId="ADAL" clId="{388EFDEE-447E-42B4-98EF-30C01AB2E8CD}" dt="2022-03-28T06:43:22.341" v="86" actId="478"/>
          <ac:spMkLst>
            <pc:docMk/>
            <pc:sldMk cId="0" sldId="262"/>
            <ac:spMk id="1440" creationId="{00000000-0000-0000-0000-000000000000}"/>
          </ac:spMkLst>
        </pc:spChg>
        <pc:spChg chg="del">
          <ac:chgData name="Kebba Jeng" userId="fe4cc296-ba7d-48a2-8799-89b58d218255" providerId="ADAL" clId="{388EFDEE-447E-42B4-98EF-30C01AB2E8CD}" dt="2022-03-28T06:43:22.341" v="86" actId="478"/>
          <ac:spMkLst>
            <pc:docMk/>
            <pc:sldMk cId="0" sldId="262"/>
            <ac:spMk id="1441" creationId="{00000000-0000-0000-0000-000000000000}"/>
          </ac:spMkLst>
        </pc:spChg>
        <pc:spChg chg="del">
          <ac:chgData name="Kebba Jeng" userId="fe4cc296-ba7d-48a2-8799-89b58d218255" providerId="ADAL" clId="{388EFDEE-447E-42B4-98EF-30C01AB2E8CD}" dt="2022-03-28T06:43:22.341" v="86" actId="478"/>
          <ac:spMkLst>
            <pc:docMk/>
            <pc:sldMk cId="0" sldId="262"/>
            <ac:spMk id="1442" creationId="{00000000-0000-0000-0000-000000000000}"/>
          </ac:spMkLst>
        </pc:spChg>
        <pc:spChg chg="del">
          <ac:chgData name="Kebba Jeng" userId="fe4cc296-ba7d-48a2-8799-89b58d218255" providerId="ADAL" clId="{388EFDEE-447E-42B4-98EF-30C01AB2E8CD}" dt="2022-03-28T06:43:22.341" v="86" actId="478"/>
          <ac:spMkLst>
            <pc:docMk/>
            <pc:sldMk cId="0" sldId="262"/>
            <ac:spMk id="1443" creationId="{00000000-0000-0000-0000-000000000000}"/>
          </ac:spMkLst>
        </pc:spChg>
        <pc:spChg chg="del">
          <ac:chgData name="Kebba Jeng" userId="fe4cc296-ba7d-48a2-8799-89b58d218255" providerId="ADAL" clId="{388EFDEE-447E-42B4-98EF-30C01AB2E8CD}" dt="2022-03-28T06:43:22.341" v="86" actId="478"/>
          <ac:spMkLst>
            <pc:docMk/>
            <pc:sldMk cId="0" sldId="262"/>
            <ac:spMk id="1444" creationId="{00000000-0000-0000-0000-000000000000}"/>
          </ac:spMkLst>
        </pc:spChg>
        <pc:spChg chg="del">
          <ac:chgData name="Kebba Jeng" userId="fe4cc296-ba7d-48a2-8799-89b58d218255" providerId="ADAL" clId="{388EFDEE-447E-42B4-98EF-30C01AB2E8CD}" dt="2022-03-28T06:43:22.341" v="86" actId="478"/>
          <ac:spMkLst>
            <pc:docMk/>
            <pc:sldMk cId="0" sldId="262"/>
            <ac:spMk id="1445" creationId="{00000000-0000-0000-0000-000000000000}"/>
          </ac:spMkLst>
        </pc:spChg>
        <pc:spChg chg="del">
          <ac:chgData name="Kebba Jeng" userId="fe4cc296-ba7d-48a2-8799-89b58d218255" providerId="ADAL" clId="{388EFDEE-447E-42B4-98EF-30C01AB2E8CD}" dt="2022-03-28T06:43:22.341" v="86" actId="478"/>
          <ac:spMkLst>
            <pc:docMk/>
            <pc:sldMk cId="0" sldId="262"/>
            <ac:spMk id="1446" creationId="{00000000-0000-0000-0000-000000000000}"/>
          </ac:spMkLst>
        </pc:spChg>
        <pc:spChg chg="del">
          <ac:chgData name="Kebba Jeng" userId="fe4cc296-ba7d-48a2-8799-89b58d218255" providerId="ADAL" clId="{388EFDEE-447E-42B4-98EF-30C01AB2E8CD}" dt="2022-03-28T06:43:22.341" v="86" actId="478"/>
          <ac:spMkLst>
            <pc:docMk/>
            <pc:sldMk cId="0" sldId="262"/>
            <ac:spMk id="1447" creationId="{00000000-0000-0000-0000-000000000000}"/>
          </ac:spMkLst>
        </pc:spChg>
        <pc:spChg chg="del">
          <ac:chgData name="Kebba Jeng" userId="fe4cc296-ba7d-48a2-8799-89b58d218255" providerId="ADAL" clId="{388EFDEE-447E-42B4-98EF-30C01AB2E8CD}" dt="2022-03-28T06:43:22.341" v="86" actId="478"/>
          <ac:spMkLst>
            <pc:docMk/>
            <pc:sldMk cId="0" sldId="262"/>
            <ac:spMk id="1448" creationId="{00000000-0000-0000-0000-000000000000}"/>
          </ac:spMkLst>
        </pc:spChg>
        <pc:spChg chg="del">
          <ac:chgData name="Kebba Jeng" userId="fe4cc296-ba7d-48a2-8799-89b58d218255" providerId="ADAL" clId="{388EFDEE-447E-42B4-98EF-30C01AB2E8CD}" dt="2022-03-28T06:43:22.341" v="86" actId="478"/>
          <ac:spMkLst>
            <pc:docMk/>
            <pc:sldMk cId="0" sldId="262"/>
            <ac:spMk id="1449" creationId="{00000000-0000-0000-0000-000000000000}"/>
          </ac:spMkLst>
        </pc:spChg>
        <pc:spChg chg="del">
          <ac:chgData name="Kebba Jeng" userId="fe4cc296-ba7d-48a2-8799-89b58d218255" providerId="ADAL" clId="{388EFDEE-447E-42B4-98EF-30C01AB2E8CD}" dt="2022-03-28T06:43:22.341" v="86" actId="478"/>
          <ac:spMkLst>
            <pc:docMk/>
            <pc:sldMk cId="0" sldId="262"/>
            <ac:spMk id="1450" creationId="{00000000-0000-0000-0000-000000000000}"/>
          </ac:spMkLst>
        </pc:spChg>
        <pc:spChg chg="del">
          <ac:chgData name="Kebba Jeng" userId="fe4cc296-ba7d-48a2-8799-89b58d218255" providerId="ADAL" clId="{388EFDEE-447E-42B4-98EF-30C01AB2E8CD}" dt="2022-03-28T06:43:22.341" v="86" actId="478"/>
          <ac:spMkLst>
            <pc:docMk/>
            <pc:sldMk cId="0" sldId="262"/>
            <ac:spMk id="1451" creationId="{00000000-0000-0000-0000-000000000000}"/>
          </ac:spMkLst>
        </pc:spChg>
        <pc:spChg chg="del">
          <ac:chgData name="Kebba Jeng" userId="fe4cc296-ba7d-48a2-8799-89b58d218255" providerId="ADAL" clId="{388EFDEE-447E-42B4-98EF-30C01AB2E8CD}" dt="2022-03-28T06:43:22.341" v="86" actId="478"/>
          <ac:spMkLst>
            <pc:docMk/>
            <pc:sldMk cId="0" sldId="262"/>
            <ac:spMk id="1452" creationId="{00000000-0000-0000-0000-000000000000}"/>
          </ac:spMkLst>
        </pc:spChg>
        <pc:spChg chg="del">
          <ac:chgData name="Kebba Jeng" userId="fe4cc296-ba7d-48a2-8799-89b58d218255" providerId="ADAL" clId="{388EFDEE-447E-42B4-98EF-30C01AB2E8CD}" dt="2022-03-28T06:43:22.341" v="86" actId="478"/>
          <ac:spMkLst>
            <pc:docMk/>
            <pc:sldMk cId="0" sldId="262"/>
            <ac:spMk id="1453" creationId="{00000000-0000-0000-0000-000000000000}"/>
          </ac:spMkLst>
        </pc:spChg>
        <pc:spChg chg="del">
          <ac:chgData name="Kebba Jeng" userId="fe4cc296-ba7d-48a2-8799-89b58d218255" providerId="ADAL" clId="{388EFDEE-447E-42B4-98EF-30C01AB2E8CD}" dt="2022-03-28T06:43:22.341" v="86" actId="478"/>
          <ac:spMkLst>
            <pc:docMk/>
            <pc:sldMk cId="0" sldId="262"/>
            <ac:spMk id="1454" creationId="{00000000-0000-0000-0000-000000000000}"/>
          </ac:spMkLst>
        </pc:spChg>
        <pc:spChg chg="del">
          <ac:chgData name="Kebba Jeng" userId="fe4cc296-ba7d-48a2-8799-89b58d218255" providerId="ADAL" clId="{388EFDEE-447E-42B4-98EF-30C01AB2E8CD}" dt="2022-03-28T06:43:22.341" v="86" actId="478"/>
          <ac:spMkLst>
            <pc:docMk/>
            <pc:sldMk cId="0" sldId="262"/>
            <ac:spMk id="1455" creationId="{00000000-0000-0000-0000-000000000000}"/>
          </ac:spMkLst>
        </pc:spChg>
        <pc:spChg chg="del">
          <ac:chgData name="Kebba Jeng" userId="fe4cc296-ba7d-48a2-8799-89b58d218255" providerId="ADAL" clId="{388EFDEE-447E-42B4-98EF-30C01AB2E8CD}" dt="2022-03-28T06:43:22.341" v="86" actId="478"/>
          <ac:spMkLst>
            <pc:docMk/>
            <pc:sldMk cId="0" sldId="262"/>
            <ac:spMk id="1456" creationId="{00000000-0000-0000-0000-000000000000}"/>
          </ac:spMkLst>
        </pc:spChg>
        <pc:spChg chg="del">
          <ac:chgData name="Kebba Jeng" userId="fe4cc296-ba7d-48a2-8799-89b58d218255" providerId="ADAL" clId="{388EFDEE-447E-42B4-98EF-30C01AB2E8CD}" dt="2022-03-28T06:43:22.341" v="86" actId="478"/>
          <ac:spMkLst>
            <pc:docMk/>
            <pc:sldMk cId="0" sldId="262"/>
            <ac:spMk id="1457" creationId="{00000000-0000-0000-0000-000000000000}"/>
          </ac:spMkLst>
        </pc:spChg>
        <pc:spChg chg="del">
          <ac:chgData name="Kebba Jeng" userId="fe4cc296-ba7d-48a2-8799-89b58d218255" providerId="ADAL" clId="{388EFDEE-447E-42B4-98EF-30C01AB2E8CD}" dt="2022-03-28T06:43:22.341" v="86" actId="478"/>
          <ac:spMkLst>
            <pc:docMk/>
            <pc:sldMk cId="0" sldId="262"/>
            <ac:spMk id="1458" creationId="{00000000-0000-0000-0000-000000000000}"/>
          </ac:spMkLst>
        </pc:spChg>
        <pc:spChg chg="del">
          <ac:chgData name="Kebba Jeng" userId="fe4cc296-ba7d-48a2-8799-89b58d218255" providerId="ADAL" clId="{388EFDEE-447E-42B4-98EF-30C01AB2E8CD}" dt="2022-03-28T06:43:22.341" v="86" actId="478"/>
          <ac:spMkLst>
            <pc:docMk/>
            <pc:sldMk cId="0" sldId="262"/>
            <ac:spMk id="1459" creationId="{00000000-0000-0000-0000-000000000000}"/>
          </ac:spMkLst>
        </pc:spChg>
        <pc:spChg chg="del">
          <ac:chgData name="Kebba Jeng" userId="fe4cc296-ba7d-48a2-8799-89b58d218255" providerId="ADAL" clId="{388EFDEE-447E-42B4-98EF-30C01AB2E8CD}" dt="2022-03-28T06:43:22.341" v="86" actId="478"/>
          <ac:spMkLst>
            <pc:docMk/>
            <pc:sldMk cId="0" sldId="262"/>
            <ac:spMk id="1460" creationId="{00000000-0000-0000-0000-000000000000}"/>
          </ac:spMkLst>
        </pc:spChg>
        <pc:spChg chg="del">
          <ac:chgData name="Kebba Jeng" userId="fe4cc296-ba7d-48a2-8799-89b58d218255" providerId="ADAL" clId="{388EFDEE-447E-42B4-98EF-30C01AB2E8CD}" dt="2022-03-28T06:43:22.341" v="86" actId="478"/>
          <ac:spMkLst>
            <pc:docMk/>
            <pc:sldMk cId="0" sldId="262"/>
            <ac:spMk id="1461" creationId="{00000000-0000-0000-0000-000000000000}"/>
          </ac:spMkLst>
        </pc:spChg>
        <pc:spChg chg="del">
          <ac:chgData name="Kebba Jeng" userId="fe4cc296-ba7d-48a2-8799-89b58d218255" providerId="ADAL" clId="{388EFDEE-447E-42B4-98EF-30C01AB2E8CD}" dt="2022-03-28T06:43:22.341" v="86" actId="478"/>
          <ac:spMkLst>
            <pc:docMk/>
            <pc:sldMk cId="0" sldId="262"/>
            <ac:spMk id="1462" creationId="{00000000-0000-0000-0000-000000000000}"/>
          </ac:spMkLst>
        </pc:spChg>
        <pc:spChg chg="del">
          <ac:chgData name="Kebba Jeng" userId="fe4cc296-ba7d-48a2-8799-89b58d218255" providerId="ADAL" clId="{388EFDEE-447E-42B4-98EF-30C01AB2E8CD}" dt="2022-03-28T06:43:22.341" v="86" actId="478"/>
          <ac:spMkLst>
            <pc:docMk/>
            <pc:sldMk cId="0" sldId="262"/>
            <ac:spMk id="1463" creationId="{00000000-0000-0000-0000-000000000000}"/>
          </ac:spMkLst>
        </pc:spChg>
        <pc:spChg chg="del">
          <ac:chgData name="Kebba Jeng" userId="fe4cc296-ba7d-48a2-8799-89b58d218255" providerId="ADAL" clId="{388EFDEE-447E-42B4-98EF-30C01AB2E8CD}" dt="2022-03-28T06:43:22.341" v="86" actId="478"/>
          <ac:spMkLst>
            <pc:docMk/>
            <pc:sldMk cId="0" sldId="262"/>
            <ac:spMk id="1464" creationId="{00000000-0000-0000-0000-000000000000}"/>
          </ac:spMkLst>
        </pc:spChg>
        <pc:spChg chg="del">
          <ac:chgData name="Kebba Jeng" userId="fe4cc296-ba7d-48a2-8799-89b58d218255" providerId="ADAL" clId="{388EFDEE-447E-42B4-98EF-30C01AB2E8CD}" dt="2022-03-28T06:43:22.341" v="86" actId="478"/>
          <ac:spMkLst>
            <pc:docMk/>
            <pc:sldMk cId="0" sldId="262"/>
            <ac:spMk id="1465" creationId="{00000000-0000-0000-0000-000000000000}"/>
          </ac:spMkLst>
        </pc:spChg>
        <pc:spChg chg="del">
          <ac:chgData name="Kebba Jeng" userId="fe4cc296-ba7d-48a2-8799-89b58d218255" providerId="ADAL" clId="{388EFDEE-447E-42B4-98EF-30C01AB2E8CD}" dt="2022-03-28T06:43:22.341" v="86" actId="478"/>
          <ac:spMkLst>
            <pc:docMk/>
            <pc:sldMk cId="0" sldId="262"/>
            <ac:spMk id="1466" creationId="{00000000-0000-0000-0000-000000000000}"/>
          </ac:spMkLst>
        </pc:spChg>
        <pc:spChg chg="del">
          <ac:chgData name="Kebba Jeng" userId="fe4cc296-ba7d-48a2-8799-89b58d218255" providerId="ADAL" clId="{388EFDEE-447E-42B4-98EF-30C01AB2E8CD}" dt="2022-03-28T06:43:22.341" v="86" actId="478"/>
          <ac:spMkLst>
            <pc:docMk/>
            <pc:sldMk cId="0" sldId="262"/>
            <ac:spMk id="1467" creationId="{00000000-0000-0000-0000-000000000000}"/>
          </ac:spMkLst>
        </pc:spChg>
        <pc:spChg chg="del">
          <ac:chgData name="Kebba Jeng" userId="fe4cc296-ba7d-48a2-8799-89b58d218255" providerId="ADAL" clId="{388EFDEE-447E-42B4-98EF-30C01AB2E8CD}" dt="2022-03-28T06:43:22.341" v="86" actId="478"/>
          <ac:spMkLst>
            <pc:docMk/>
            <pc:sldMk cId="0" sldId="262"/>
            <ac:spMk id="1468" creationId="{00000000-0000-0000-0000-000000000000}"/>
          </ac:spMkLst>
        </pc:spChg>
        <pc:spChg chg="del">
          <ac:chgData name="Kebba Jeng" userId="fe4cc296-ba7d-48a2-8799-89b58d218255" providerId="ADAL" clId="{388EFDEE-447E-42B4-98EF-30C01AB2E8CD}" dt="2022-03-28T06:43:22.341" v="86" actId="478"/>
          <ac:spMkLst>
            <pc:docMk/>
            <pc:sldMk cId="0" sldId="262"/>
            <ac:spMk id="1469" creationId="{00000000-0000-0000-0000-000000000000}"/>
          </ac:spMkLst>
        </pc:spChg>
        <pc:spChg chg="del">
          <ac:chgData name="Kebba Jeng" userId="fe4cc296-ba7d-48a2-8799-89b58d218255" providerId="ADAL" clId="{388EFDEE-447E-42B4-98EF-30C01AB2E8CD}" dt="2022-03-28T06:43:22.341" v="86" actId="478"/>
          <ac:spMkLst>
            <pc:docMk/>
            <pc:sldMk cId="0" sldId="262"/>
            <ac:spMk id="1470" creationId="{00000000-0000-0000-0000-000000000000}"/>
          </ac:spMkLst>
        </pc:spChg>
        <pc:spChg chg="del">
          <ac:chgData name="Kebba Jeng" userId="fe4cc296-ba7d-48a2-8799-89b58d218255" providerId="ADAL" clId="{388EFDEE-447E-42B4-98EF-30C01AB2E8CD}" dt="2022-03-28T06:43:22.341" v="86" actId="478"/>
          <ac:spMkLst>
            <pc:docMk/>
            <pc:sldMk cId="0" sldId="262"/>
            <ac:spMk id="1471" creationId="{00000000-0000-0000-0000-000000000000}"/>
          </ac:spMkLst>
        </pc:spChg>
        <pc:spChg chg="del">
          <ac:chgData name="Kebba Jeng" userId="fe4cc296-ba7d-48a2-8799-89b58d218255" providerId="ADAL" clId="{388EFDEE-447E-42B4-98EF-30C01AB2E8CD}" dt="2022-03-28T06:43:22.341" v="86" actId="478"/>
          <ac:spMkLst>
            <pc:docMk/>
            <pc:sldMk cId="0" sldId="262"/>
            <ac:spMk id="1472" creationId="{00000000-0000-0000-0000-000000000000}"/>
          </ac:spMkLst>
        </pc:spChg>
        <pc:spChg chg="del">
          <ac:chgData name="Kebba Jeng" userId="fe4cc296-ba7d-48a2-8799-89b58d218255" providerId="ADAL" clId="{388EFDEE-447E-42B4-98EF-30C01AB2E8CD}" dt="2022-03-28T06:43:22.341" v="86" actId="478"/>
          <ac:spMkLst>
            <pc:docMk/>
            <pc:sldMk cId="0" sldId="262"/>
            <ac:spMk id="1473" creationId="{00000000-0000-0000-0000-000000000000}"/>
          </ac:spMkLst>
        </pc:spChg>
        <pc:spChg chg="del">
          <ac:chgData name="Kebba Jeng" userId="fe4cc296-ba7d-48a2-8799-89b58d218255" providerId="ADAL" clId="{388EFDEE-447E-42B4-98EF-30C01AB2E8CD}" dt="2022-03-28T06:43:22.341" v="86" actId="478"/>
          <ac:spMkLst>
            <pc:docMk/>
            <pc:sldMk cId="0" sldId="262"/>
            <ac:spMk id="1474" creationId="{00000000-0000-0000-0000-000000000000}"/>
          </ac:spMkLst>
        </pc:spChg>
        <pc:spChg chg="del">
          <ac:chgData name="Kebba Jeng" userId="fe4cc296-ba7d-48a2-8799-89b58d218255" providerId="ADAL" clId="{388EFDEE-447E-42B4-98EF-30C01AB2E8CD}" dt="2022-03-28T06:43:22.341" v="86" actId="478"/>
          <ac:spMkLst>
            <pc:docMk/>
            <pc:sldMk cId="0" sldId="262"/>
            <ac:spMk id="1475" creationId="{00000000-0000-0000-0000-000000000000}"/>
          </ac:spMkLst>
        </pc:spChg>
        <pc:spChg chg="del">
          <ac:chgData name="Kebba Jeng" userId="fe4cc296-ba7d-48a2-8799-89b58d218255" providerId="ADAL" clId="{388EFDEE-447E-42B4-98EF-30C01AB2E8CD}" dt="2022-03-28T06:43:22.341" v="86" actId="478"/>
          <ac:spMkLst>
            <pc:docMk/>
            <pc:sldMk cId="0" sldId="262"/>
            <ac:spMk id="1476" creationId="{00000000-0000-0000-0000-000000000000}"/>
          </ac:spMkLst>
        </pc:spChg>
        <pc:spChg chg="del">
          <ac:chgData name="Kebba Jeng" userId="fe4cc296-ba7d-48a2-8799-89b58d218255" providerId="ADAL" clId="{388EFDEE-447E-42B4-98EF-30C01AB2E8CD}" dt="2022-03-28T06:43:22.341" v="86" actId="478"/>
          <ac:spMkLst>
            <pc:docMk/>
            <pc:sldMk cId="0" sldId="262"/>
            <ac:spMk id="1477" creationId="{00000000-0000-0000-0000-000000000000}"/>
          </ac:spMkLst>
        </pc:spChg>
        <pc:spChg chg="del">
          <ac:chgData name="Kebba Jeng" userId="fe4cc296-ba7d-48a2-8799-89b58d218255" providerId="ADAL" clId="{388EFDEE-447E-42B4-98EF-30C01AB2E8CD}" dt="2022-03-28T06:43:22.341" v="86" actId="478"/>
          <ac:spMkLst>
            <pc:docMk/>
            <pc:sldMk cId="0" sldId="262"/>
            <ac:spMk id="1478" creationId="{00000000-0000-0000-0000-000000000000}"/>
          </ac:spMkLst>
        </pc:spChg>
        <pc:spChg chg="del">
          <ac:chgData name="Kebba Jeng" userId="fe4cc296-ba7d-48a2-8799-89b58d218255" providerId="ADAL" clId="{388EFDEE-447E-42B4-98EF-30C01AB2E8CD}" dt="2022-03-28T06:43:22.341" v="86" actId="478"/>
          <ac:spMkLst>
            <pc:docMk/>
            <pc:sldMk cId="0" sldId="262"/>
            <ac:spMk id="1479" creationId="{00000000-0000-0000-0000-000000000000}"/>
          </ac:spMkLst>
        </pc:spChg>
        <pc:spChg chg="del">
          <ac:chgData name="Kebba Jeng" userId="fe4cc296-ba7d-48a2-8799-89b58d218255" providerId="ADAL" clId="{388EFDEE-447E-42B4-98EF-30C01AB2E8CD}" dt="2022-03-28T06:43:22.341" v="86" actId="478"/>
          <ac:spMkLst>
            <pc:docMk/>
            <pc:sldMk cId="0" sldId="262"/>
            <ac:spMk id="1480" creationId="{00000000-0000-0000-0000-000000000000}"/>
          </ac:spMkLst>
        </pc:spChg>
        <pc:spChg chg="del">
          <ac:chgData name="Kebba Jeng" userId="fe4cc296-ba7d-48a2-8799-89b58d218255" providerId="ADAL" clId="{388EFDEE-447E-42B4-98EF-30C01AB2E8CD}" dt="2022-03-28T06:43:22.341" v="86" actId="478"/>
          <ac:spMkLst>
            <pc:docMk/>
            <pc:sldMk cId="0" sldId="262"/>
            <ac:spMk id="1481" creationId="{00000000-0000-0000-0000-000000000000}"/>
          </ac:spMkLst>
        </pc:spChg>
        <pc:spChg chg="del">
          <ac:chgData name="Kebba Jeng" userId="fe4cc296-ba7d-48a2-8799-89b58d218255" providerId="ADAL" clId="{388EFDEE-447E-42B4-98EF-30C01AB2E8CD}" dt="2022-03-28T06:43:22.341" v="86" actId="478"/>
          <ac:spMkLst>
            <pc:docMk/>
            <pc:sldMk cId="0" sldId="262"/>
            <ac:spMk id="1482" creationId="{00000000-0000-0000-0000-000000000000}"/>
          </ac:spMkLst>
        </pc:spChg>
        <pc:spChg chg="del">
          <ac:chgData name="Kebba Jeng" userId="fe4cc296-ba7d-48a2-8799-89b58d218255" providerId="ADAL" clId="{388EFDEE-447E-42B4-98EF-30C01AB2E8CD}" dt="2022-03-28T06:43:22.341" v="86" actId="478"/>
          <ac:spMkLst>
            <pc:docMk/>
            <pc:sldMk cId="0" sldId="262"/>
            <ac:spMk id="1483" creationId="{00000000-0000-0000-0000-000000000000}"/>
          </ac:spMkLst>
        </pc:spChg>
        <pc:spChg chg="del">
          <ac:chgData name="Kebba Jeng" userId="fe4cc296-ba7d-48a2-8799-89b58d218255" providerId="ADAL" clId="{388EFDEE-447E-42B4-98EF-30C01AB2E8CD}" dt="2022-03-28T06:43:22.341" v="86" actId="478"/>
          <ac:spMkLst>
            <pc:docMk/>
            <pc:sldMk cId="0" sldId="262"/>
            <ac:spMk id="1484" creationId="{00000000-0000-0000-0000-000000000000}"/>
          </ac:spMkLst>
        </pc:spChg>
        <pc:spChg chg="del">
          <ac:chgData name="Kebba Jeng" userId="fe4cc296-ba7d-48a2-8799-89b58d218255" providerId="ADAL" clId="{388EFDEE-447E-42B4-98EF-30C01AB2E8CD}" dt="2022-03-28T06:43:22.341" v="86" actId="478"/>
          <ac:spMkLst>
            <pc:docMk/>
            <pc:sldMk cId="0" sldId="262"/>
            <ac:spMk id="1485" creationId="{00000000-0000-0000-0000-000000000000}"/>
          </ac:spMkLst>
        </pc:spChg>
        <pc:spChg chg="del">
          <ac:chgData name="Kebba Jeng" userId="fe4cc296-ba7d-48a2-8799-89b58d218255" providerId="ADAL" clId="{388EFDEE-447E-42B4-98EF-30C01AB2E8CD}" dt="2022-03-28T06:43:22.341" v="86" actId="478"/>
          <ac:spMkLst>
            <pc:docMk/>
            <pc:sldMk cId="0" sldId="262"/>
            <ac:spMk id="1486" creationId="{00000000-0000-0000-0000-000000000000}"/>
          </ac:spMkLst>
        </pc:spChg>
        <pc:spChg chg="del">
          <ac:chgData name="Kebba Jeng" userId="fe4cc296-ba7d-48a2-8799-89b58d218255" providerId="ADAL" clId="{388EFDEE-447E-42B4-98EF-30C01AB2E8CD}" dt="2022-03-28T06:43:22.341" v="86" actId="478"/>
          <ac:spMkLst>
            <pc:docMk/>
            <pc:sldMk cId="0" sldId="262"/>
            <ac:spMk id="1487" creationId="{00000000-0000-0000-0000-000000000000}"/>
          </ac:spMkLst>
        </pc:spChg>
        <pc:spChg chg="del">
          <ac:chgData name="Kebba Jeng" userId="fe4cc296-ba7d-48a2-8799-89b58d218255" providerId="ADAL" clId="{388EFDEE-447E-42B4-98EF-30C01AB2E8CD}" dt="2022-03-28T06:43:22.341" v="86" actId="478"/>
          <ac:spMkLst>
            <pc:docMk/>
            <pc:sldMk cId="0" sldId="262"/>
            <ac:spMk id="1488" creationId="{00000000-0000-0000-0000-000000000000}"/>
          </ac:spMkLst>
        </pc:spChg>
        <pc:spChg chg="del">
          <ac:chgData name="Kebba Jeng" userId="fe4cc296-ba7d-48a2-8799-89b58d218255" providerId="ADAL" clId="{388EFDEE-447E-42B4-98EF-30C01AB2E8CD}" dt="2022-03-28T06:43:22.341" v="86" actId="478"/>
          <ac:spMkLst>
            <pc:docMk/>
            <pc:sldMk cId="0" sldId="262"/>
            <ac:spMk id="1489" creationId="{00000000-0000-0000-0000-000000000000}"/>
          </ac:spMkLst>
        </pc:spChg>
        <pc:spChg chg="del">
          <ac:chgData name="Kebba Jeng" userId="fe4cc296-ba7d-48a2-8799-89b58d218255" providerId="ADAL" clId="{388EFDEE-447E-42B4-98EF-30C01AB2E8CD}" dt="2022-03-28T06:43:22.341" v="86" actId="478"/>
          <ac:spMkLst>
            <pc:docMk/>
            <pc:sldMk cId="0" sldId="262"/>
            <ac:spMk id="1490" creationId="{00000000-0000-0000-0000-000000000000}"/>
          </ac:spMkLst>
        </pc:spChg>
        <pc:spChg chg="del">
          <ac:chgData name="Kebba Jeng" userId="fe4cc296-ba7d-48a2-8799-89b58d218255" providerId="ADAL" clId="{388EFDEE-447E-42B4-98EF-30C01AB2E8CD}" dt="2022-03-28T06:43:22.341" v="86" actId="478"/>
          <ac:spMkLst>
            <pc:docMk/>
            <pc:sldMk cId="0" sldId="262"/>
            <ac:spMk id="1491" creationId="{00000000-0000-0000-0000-000000000000}"/>
          </ac:spMkLst>
        </pc:spChg>
        <pc:spChg chg="del">
          <ac:chgData name="Kebba Jeng" userId="fe4cc296-ba7d-48a2-8799-89b58d218255" providerId="ADAL" clId="{388EFDEE-447E-42B4-98EF-30C01AB2E8CD}" dt="2022-03-28T06:43:22.341" v="86" actId="478"/>
          <ac:spMkLst>
            <pc:docMk/>
            <pc:sldMk cId="0" sldId="262"/>
            <ac:spMk id="1492" creationId="{00000000-0000-0000-0000-000000000000}"/>
          </ac:spMkLst>
        </pc:spChg>
        <pc:spChg chg="del">
          <ac:chgData name="Kebba Jeng" userId="fe4cc296-ba7d-48a2-8799-89b58d218255" providerId="ADAL" clId="{388EFDEE-447E-42B4-98EF-30C01AB2E8CD}" dt="2022-03-28T06:43:22.341" v="86" actId="478"/>
          <ac:spMkLst>
            <pc:docMk/>
            <pc:sldMk cId="0" sldId="262"/>
            <ac:spMk id="1493" creationId="{00000000-0000-0000-0000-000000000000}"/>
          </ac:spMkLst>
        </pc:spChg>
        <pc:spChg chg="del">
          <ac:chgData name="Kebba Jeng" userId="fe4cc296-ba7d-48a2-8799-89b58d218255" providerId="ADAL" clId="{388EFDEE-447E-42B4-98EF-30C01AB2E8CD}" dt="2022-03-28T06:43:22.341" v="86" actId="478"/>
          <ac:spMkLst>
            <pc:docMk/>
            <pc:sldMk cId="0" sldId="262"/>
            <ac:spMk id="1494" creationId="{00000000-0000-0000-0000-000000000000}"/>
          </ac:spMkLst>
        </pc:spChg>
        <pc:spChg chg="del">
          <ac:chgData name="Kebba Jeng" userId="fe4cc296-ba7d-48a2-8799-89b58d218255" providerId="ADAL" clId="{388EFDEE-447E-42B4-98EF-30C01AB2E8CD}" dt="2022-03-28T06:43:22.341" v="86" actId="478"/>
          <ac:spMkLst>
            <pc:docMk/>
            <pc:sldMk cId="0" sldId="262"/>
            <ac:spMk id="1495" creationId="{00000000-0000-0000-0000-000000000000}"/>
          </ac:spMkLst>
        </pc:spChg>
        <pc:spChg chg="del">
          <ac:chgData name="Kebba Jeng" userId="fe4cc296-ba7d-48a2-8799-89b58d218255" providerId="ADAL" clId="{388EFDEE-447E-42B4-98EF-30C01AB2E8CD}" dt="2022-03-28T06:43:22.341" v="86" actId="478"/>
          <ac:spMkLst>
            <pc:docMk/>
            <pc:sldMk cId="0" sldId="262"/>
            <ac:spMk id="1496" creationId="{00000000-0000-0000-0000-000000000000}"/>
          </ac:spMkLst>
        </pc:spChg>
        <pc:spChg chg="del">
          <ac:chgData name="Kebba Jeng" userId="fe4cc296-ba7d-48a2-8799-89b58d218255" providerId="ADAL" clId="{388EFDEE-447E-42B4-98EF-30C01AB2E8CD}" dt="2022-03-28T06:43:22.341" v="86" actId="478"/>
          <ac:spMkLst>
            <pc:docMk/>
            <pc:sldMk cId="0" sldId="262"/>
            <ac:spMk id="1497" creationId="{00000000-0000-0000-0000-000000000000}"/>
          </ac:spMkLst>
        </pc:spChg>
        <pc:spChg chg="del">
          <ac:chgData name="Kebba Jeng" userId="fe4cc296-ba7d-48a2-8799-89b58d218255" providerId="ADAL" clId="{388EFDEE-447E-42B4-98EF-30C01AB2E8CD}" dt="2022-03-28T06:43:22.341" v="86" actId="478"/>
          <ac:spMkLst>
            <pc:docMk/>
            <pc:sldMk cId="0" sldId="262"/>
            <ac:spMk id="1498" creationId="{00000000-0000-0000-0000-000000000000}"/>
          </ac:spMkLst>
        </pc:spChg>
        <pc:spChg chg="del">
          <ac:chgData name="Kebba Jeng" userId="fe4cc296-ba7d-48a2-8799-89b58d218255" providerId="ADAL" clId="{388EFDEE-447E-42B4-98EF-30C01AB2E8CD}" dt="2022-03-28T06:43:22.341" v="86" actId="478"/>
          <ac:spMkLst>
            <pc:docMk/>
            <pc:sldMk cId="0" sldId="262"/>
            <ac:spMk id="1499" creationId="{00000000-0000-0000-0000-000000000000}"/>
          </ac:spMkLst>
        </pc:spChg>
        <pc:spChg chg="del">
          <ac:chgData name="Kebba Jeng" userId="fe4cc296-ba7d-48a2-8799-89b58d218255" providerId="ADAL" clId="{388EFDEE-447E-42B4-98EF-30C01AB2E8CD}" dt="2022-03-28T06:43:22.341" v="86" actId="478"/>
          <ac:spMkLst>
            <pc:docMk/>
            <pc:sldMk cId="0" sldId="262"/>
            <ac:spMk id="1500" creationId="{00000000-0000-0000-0000-000000000000}"/>
          </ac:spMkLst>
        </pc:spChg>
        <pc:spChg chg="del">
          <ac:chgData name="Kebba Jeng" userId="fe4cc296-ba7d-48a2-8799-89b58d218255" providerId="ADAL" clId="{388EFDEE-447E-42B4-98EF-30C01AB2E8CD}" dt="2022-03-28T06:43:22.341" v="86" actId="478"/>
          <ac:spMkLst>
            <pc:docMk/>
            <pc:sldMk cId="0" sldId="262"/>
            <ac:spMk id="1501" creationId="{00000000-0000-0000-0000-000000000000}"/>
          </ac:spMkLst>
        </pc:spChg>
        <pc:spChg chg="del">
          <ac:chgData name="Kebba Jeng" userId="fe4cc296-ba7d-48a2-8799-89b58d218255" providerId="ADAL" clId="{388EFDEE-447E-42B4-98EF-30C01AB2E8CD}" dt="2022-03-28T06:43:22.341" v="86" actId="478"/>
          <ac:spMkLst>
            <pc:docMk/>
            <pc:sldMk cId="0" sldId="262"/>
            <ac:spMk id="1502" creationId="{00000000-0000-0000-0000-000000000000}"/>
          </ac:spMkLst>
        </pc:spChg>
        <pc:spChg chg="del">
          <ac:chgData name="Kebba Jeng" userId="fe4cc296-ba7d-48a2-8799-89b58d218255" providerId="ADAL" clId="{388EFDEE-447E-42B4-98EF-30C01AB2E8CD}" dt="2022-03-28T06:43:22.341" v="86" actId="478"/>
          <ac:spMkLst>
            <pc:docMk/>
            <pc:sldMk cId="0" sldId="262"/>
            <ac:spMk id="1503" creationId="{00000000-0000-0000-0000-000000000000}"/>
          </ac:spMkLst>
        </pc:spChg>
        <pc:spChg chg="del">
          <ac:chgData name="Kebba Jeng" userId="fe4cc296-ba7d-48a2-8799-89b58d218255" providerId="ADAL" clId="{388EFDEE-447E-42B4-98EF-30C01AB2E8CD}" dt="2022-03-28T06:43:22.341" v="86" actId="478"/>
          <ac:spMkLst>
            <pc:docMk/>
            <pc:sldMk cId="0" sldId="262"/>
            <ac:spMk id="1504" creationId="{00000000-0000-0000-0000-000000000000}"/>
          </ac:spMkLst>
        </pc:spChg>
        <pc:spChg chg="del">
          <ac:chgData name="Kebba Jeng" userId="fe4cc296-ba7d-48a2-8799-89b58d218255" providerId="ADAL" clId="{388EFDEE-447E-42B4-98EF-30C01AB2E8CD}" dt="2022-03-28T06:43:22.341" v="86" actId="478"/>
          <ac:spMkLst>
            <pc:docMk/>
            <pc:sldMk cId="0" sldId="262"/>
            <ac:spMk id="1505" creationId="{00000000-0000-0000-0000-000000000000}"/>
          </ac:spMkLst>
        </pc:spChg>
        <pc:spChg chg="del">
          <ac:chgData name="Kebba Jeng" userId="fe4cc296-ba7d-48a2-8799-89b58d218255" providerId="ADAL" clId="{388EFDEE-447E-42B4-98EF-30C01AB2E8CD}" dt="2022-03-28T06:43:22.341" v="86" actId="478"/>
          <ac:spMkLst>
            <pc:docMk/>
            <pc:sldMk cId="0" sldId="262"/>
            <ac:spMk id="1506" creationId="{00000000-0000-0000-0000-000000000000}"/>
          </ac:spMkLst>
        </pc:spChg>
        <pc:spChg chg="del">
          <ac:chgData name="Kebba Jeng" userId="fe4cc296-ba7d-48a2-8799-89b58d218255" providerId="ADAL" clId="{388EFDEE-447E-42B4-98EF-30C01AB2E8CD}" dt="2022-03-28T06:43:22.341" v="86" actId="478"/>
          <ac:spMkLst>
            <pc:docMk/>
            <pc:sldMk cId="0" sldId="262"/>
            <ac:spMk id="1507" creationId="{00000000-0000-0000-0000-000000000000}"/>
          </ac:spMkLst>
        </pc:spChg>
        <pc:spChg chg="del">
          <ac:chgData name="Kebba Jeng" userId="fe4cc296-ba7d-48a2-8799-89b58d218255" providerId="ADAL" clId="{388EFDEE-447E-42B4-98EF-30C01AB2E8CD}" dt="2022-03-28T06:43:22.341" v="86" actId="478"/>
          <ac:spMkLst>
            <pc:docMk/>
            <pc:sldMk cId="0" sldId="262"/>
            <ac:spMk id="1508" creationId="{00000000-0000-0000-0000-000000000000}"/>
          </ac:spMkLst>
        </pc:spChg>
        <pc:spChg chg="del">
          <ac:chgData name="Kebba Jeng" userId="fe4cc296-ba7d-48a2-8799-89b58d218255" providerId="ADAL" clId="{388EFDEE-447E-42B4-98EF-30C01AB2E8CD}" dt="2022-03-28T06:43:22.341" v="86" actId="478"/>
          <ac:spMkLst>
            <pc:docMk/>
            <pc:sldMk cId="0" sldId="262"/>
            <ac:spMk id="1509" creationId="{00000000-0000-0000-0000-000000000000}"/>
          </ac:spMkLst>
        </pc:spChg>
        <pc:spChg chg="del">
          <ac:chgData name="Kebba Jeng" userId="fe4cc296-ba7d-48a2-8799-89b58d218255" providerId="ADAL" clId="{388EFDEE-447E-42B4-98EF-30C01AB2E8CD}" dt="2022-03-28T06:43:22.341" v="86" actId="478"/>
          <ac:spMkLst>
            <pc:docMk/>
            <pc:sldMk cId="0" sldId="262"/>
            <ac:spMk id="1510" creationId="{00000000-0000-0000-0000-000000000000}"/>
          </ac:spMkLst>
        </pc:spChg>
        <pc:spChg chg="del">
          <ac:chgData name="Kebba Jeng" userId="fe4cc296-ba7d-48a2-8799-89b58d218255" providerId="ADAL" clId="{388EFDEE-447E-42B4-98EF-30C01AB2E8CD}" dt="2022-03-28T06:43:22.341" v="86" actId="478"/>
          <ac:spMkLst>
            <pc:docMk/>
            <pc:sldMk cId="0" sldId="262"/>
            <ac:spMk id="1511" creationId="{00000000-0000-0000-0000-000000000000}"/>
          </ac:spMkLst>
        </pc:spChg>
        <pc:spChg chg="del">
          <ac:chgData name="Kebba Jeng" userId="fe4cc296-ba7d-48a2-8799-89b58d218255" providerId="ADAL" clId="{388EFDEE-447E-42B4-98EF-30C01AB2E8CD}" dt="2022-03-28T06:43:22.341" v="86" actId="478"/>
          <ac:spMkLst>
            <pc:docMk/>
            <pc:sldMk cId="0" sldId="262"/>
            <ac:spMk id="1512" creationId="{00000000-0000-0000-0000-000000000000}"/>
          </ac:spMkLst>
        </pc:spChg>
        <pc:spChg chg="del">
          <ac:chgData name="Kebba Jeng" userId="fe4cc296-ba7d-48a2-8799-89b58d218255" providerId="ADAL" clId="{388EFDEE-447E-42B4-98EF-30C01AB2E8CD}" dt="2022-03-28T06:43:22.341" v="86" actId="478"/>
          <ac:spMkLst>
            <pc:docMk/>
            <pc:sldMk cId="0" sldId="262"/>
            <ac:spMk id="1513" creationId="{00000000-0000-0000-0000-000000000000}"/>
          </ac:spMkLst>
        </pc:spChg>
        <pc:spChg chg="del">
          <ac:chgData name="Kebba Jeng" userId="fe4cc296-ba7d-48a2-8799-89b58d218255" providerId="ADAL" clId="{388EFDEE-447E-42B4-98EF-30C01AB2E8CD}" dt="2022-03-28T06:43:22.341" v="86" actId="478"/>
          <ac:spMkLst>
            <pc:docMk/>
            <pc:sldMk cId="0" sldId="262"/>
            <ac:spMk id="1514" creationId="{00000000-0000-0000-0000-000000000000}"/>
          </ac:spMkLst>
        </pc:spChg>
        <pc:spChg chg="del">
          <ac:chgData name="Kebba Jeng" userId="fe4cc296-ba7d-48a2-8799-89b58d218255" providerId="ADAL" clId="{388EFDEE-447E-42B4-98EF-30C01AB2E8CD}" dt="2022-03-28T06:43:22.341" v="86" actId="478"/>
          <ac:spMkLst>
            <pc:docMk/>
            <pc:sldMk cId="0" sldId="262"/>
            <ac:spMk id="1515" creationId="{00000000-0000-0000-0000-000000000000}"/>
          </ac:spMkLst>
        </pc:spChg>
        <pc:spChg chg="del">
          <ac:chgData name="Kebba Jeng" userId="fe4cc296-ba7d-48a2-8799-89b58d218255" providerId="ADAL" clId="{388EFDEE-447E-42B4-98EF-30C01AB2E8CD}" dt="2022-03-28T06:43:22.341" v="86" actId="478"/>
          <ac:spMkLst>
            <pc:docMk/>
            <pc:sldMk cId="0" sldId="262"/>
            <ac:spMk id="1516" creationId="{00000000-0000-0000-0000-000000000000}"/>
          </ac:spMkLst>
        </pc:spChg>
        <pc:spChg chg="del">
          <ac:chgData name="Kebba Jeng" userId="fe4cc296-ba7d-48a2-8799-89b58d218255" providerId="ADAL" clId="{388EFDEE-447E-42B4-98EF-30C01AB2E8CD}" dt="2022-03-28T06:43:22.341" v="86" actId="478"/>
          <ac:spMkLst>
            <pc:docMk/>
            <pc:sldMk cId="0" sldId="262"/>
            <ac:spMk id="1517" creationId="{00000000-0000-0000-0000-000000000000}"/>
          </ac:spMkLst>
        </pc:spChg>
        <pc:spChg chg="del">
          <ac:chgData name="Kebba Jeng" userId="fe4cc296-ba7d-48a2-8799-89b58d218255" providerId="ADAL" clId="{388EFDEE-447E-42B4-98EF-30C01AB2E8CD}" dt="2022-03-28T06:43:22.341" v="86" actId="478"/>
          <ac:spMkLst>
            <pc:docMk/>
            <pc:sldMk cId="0" sldId="262"/>
            <ac:spMk id="1518" creationId="{00000000-0000-0000-0000-000000000000}"/>
          </ac:spMkLst>
        </pc:spChg>
        <pc:spChg chg="del">
          <ac:chgData name="Kebba Jeng" userId="fe4cc296-ba7d-48a2-8799-89b58d218255" providerId="ADAL" clId="{388EFDEE-447E-42B4-98EF-30C01AB2E8CD}" dt="2022-03-28T06:43:22.341" v="86" actId="478"/>
          <ac:spMkLst>
            <pc:docMk/>
            <pc:sldMk cId="0" sldId="262"/>
            <ac:spMk id="1519" creationId="{00000000-0000-0000-0000-000000000000}"/>
          </ac:spMkLst>
        </pc:spChg>
        <pc:spChg chg="del">
          <ac:chgData name="Kebba Jeng" userId="fe4cc296-ba7d-48a2-8799-89b58d218255" providerId="ADAL" clId="{388EFDEE-447E-42B4-98EF-30C01AB2E8CD}" dt="2022-03-28T06:43:22.341" v="86" actId="478"/>
          <ac:spMkLst>
            <pc:docMk/>
            <pc:sldMk cId="0" sldId="262"/>
            <ac:spMk id="1520" creationId="{00000000-0000-0000-0000-000000000000}"/>
          </ac:spMkLst>
        </pc:spChg>
        <pc:spChg chg="del">
          <ac:chgData name="Kebba Jeng" userId="fe4cc296-ba7d-48a2-8799-89b58d218255" providerId="ADAL" clId="{388EFDEE-447E-42B4-98EF-30C01AB2E8CD}" dt="2022-03-28T06:43:22.341" v="86" actId="478"/>
          <ac:spMkLst>
            <pc:docMk/>
            <pc:sldMk cId="0" sldId="262"/>
            <ac:spMk id="1521" creationId="{00000000-0000-0000-0000-000000000000}"/>
          </ac:spMkLst>
        </pc:spChg>
        <pc:spChg chg="del">
          <ac:chgData name="Kebba Jeng" userId="fe4cc296-ba7d-48a2-8799-89b58d218255" providerId="ADAL" clId="{388EFDEE-447E-42B4-98EF-30C01AB2E8CD}" dt="2022-03-28T06:43:22.341" v="86" actId="478"/>
          <ac:spMkLst>
            <pc:docMk/>
            <pc:sldMk cId="0" sldId="262"/>
            <ac:spMk id="1522" creationId="{00000000-0000-0000-0000-000000000000}"/>
          </ac:spMkLst>
        </pc:spChg>
        <pc:spChg chg="del">
          <ac:chgData name="Kebba Jeng" userId="fe4cc296-ba7d-48a2-8799-89b58d218255" providerId="ADAL" clId="{388EFDEE-447E-42B4-98EF-30C01AB2E8CD}" dt="2022-03-28T06:43:22.341" v="86" actId="478"/>
          <ac:spMkLst>
            <pc:docMk/>
            <pc:sldMk cId="0" sldId="262"/>
            <ac:spMk id="1523" creationId="{00000000-0000-0000-0000-000000000000}"/>
          </ac:spMkLst>
        </pc:spChg>
        <pc:spChg chg="del">
          <ac:chgData name="Kebba Jeng" userId="fe4cc296-ba7d-48a2-8799-89b58d218255" providerId="ADAL" clId="{388EFDEE-447E-42B4-98EF-30C01AB2E8CD}" dt="2022-03-28T06:43:22.341" v="86" actId="478"/>
          <ac:spMkLst>
            <pc:docMk/>
            <pc:sldMk cId="0" sldId="262"/>
            <ac:spMk id="1524" creationId="{00000000-0000-0000-0000-000000000000}"/>
          </ac:spMkLst>
        </pc:spChg>
        <pc:spChg chg="del">
          <ac:chgData name="Kebba Jeng" userId="fe4cc296-ba7d-48a2-8799-89b58d218255" providerId="ADAL" clId="{388EFDEE-447E-42B4-98EF-30C01AB2E8CD}" dt="2022-03-28T06:43:22.341" v="86" actId="478"/>
          <ac:spMkLst>
            <pc:docMk/>
            <pc:sldMk cId="0" sldId="262"/>
            <ac:spMk id="1525" creationId="{00000000-0000-0000-0000-000000000000}"/>
          </ac:spMkLst>
        </pc:spChg>
        <pc:spChg chg="del">
          <ac:chgData name="Kebba Jeng" userId="fe4cc296-ba7d-48a2-8799-89b58d218255" providerId="ADAL" clId="{388EFDEE-447E-42B4-98EF-30C01AB2E8CD}" dt="2022-03-28T06:43:22.341" v="86" actId="478"/>
          <ac:spMkLst>
            <pc:docMk/>
            <pc:sldMk cId="0" sldId="262"/>
            <ac:spMk id="1526" creationId="{00000000-0000-0000-0000-000000000000}"/>
          </ac:spMkLst>
        </pc:spChg>
        <pc:spChg chg="del">
          <ac:chgData name="Kebba Jeng" userId="fe4cc296-ba7d-48a2-8799-89b58d218255" providerId="ADAL" clId="{388EFDEE-447E-42B4-98EF-30C01AB2E8CD}" dt="2022-03-28T06:43:22.341" v="86" actId="478"/>
          <ac:spMkLst>
            <pc:docMk/>
            <pc:sldMk cId="0" sldId="262"/>
            <ac:spMk id="1527" creationId="{00000000-0000-0000-0000-000000000000}"/>
          </ac:spMkLst>
        </pc:spChg>
        <pc:spChg chg="del">
          <ac:chgData name="Kebba Jeng" userId="fe4cc296-ba7d-48a2-8799-89b58d218255" providerId="ADAL" clId="{388EFDEE-447E-42B4-98EF-30C01AB2E8CD}" dt="2022-03-28T06:43:22.341" v="86" actId="478"/>
          <ac:spMkLst>
            <pc:docMk/>
            <pc:sldMk cId="0" sldId="262"/>
            <ac:spMk id="1528" creationId="{00000000-0000-0000-0000-000000000000}"/>
          </ac:spMkLst>
        </pc:spChg>
        <pc:spChg chg="del">
          <ac:chgData name="Kebba Jeng" userId="fe4cc296-ba7d-48a2-8799-89b58d218255" providerId="ADAL" clId="{388EFDEE-447E-42B4-98EF-30C01AB2E8CD}" dt="2022-03-28T06:43:22.341" v="86" actId="478"/>
          <ac:spMkLst>
            <pc:docMk/>
            <pc:sldMk cId="0" sldId="262"/>
            <ac:spMk id="1529" creationId="{00000000-0000-0000-0000-000000000000}"/>
          </ac:spMkLst>
        </pc:spChg>
        <pc:spChg chg="del">
          <ac:chgData name="Kebba Jeng" userId="fe4cc296-ba7d-48a2-8799-89b58d218255" providerId="ADAL" clId="{388EFDEE-447E-42B4-98EF-30C01AB2E8CD}" dt="2022-03-28T06:43:22.341" v="86" actId="478"/>
          <ac:spMkLst>
            <pc:docMk/>
            <pc:sldMk cId="0" sldId="262"/>
            <ac:spMk id="1530" creationId="{00000000-0000-0000-0000-000000000000}"/>
          </ac:spMkLst>
        </pc:spChg>
        <pc:spChg chg="del">
          <ac:chgData name="Kebba Jeng" userId="fe4cc296-ba7d-48a2-8799-89b58d218255" providerId="ADAL" clId="{388EFDEE-447E-42B4-98EF-30C01AB2E8CD}" dt="2022-03-28T06:43:22.341" v="86" actId="478"/>
          <ac:spMkLst>
            <pc:docMk/>
            <pc:sldMk cId="0" sldId="262"/>
            <ac:spMk id="1531" creationId="{00000000-0000-0000-0000-000000000000}"/>
          </ac:spMkLst>
        </pc:spChg>
        <pc:spChg chg="del">
          <ac:chgData name="Kebba Jeng" userId="fe4cc296-ba7d-48a2-8799-89b58d218255" providerId="ADAL" clId="{388EFDEE-447E-42B4-98EF-30C01AB2E8CD}" dt="2022-03-28T06:43:22.341" v="86" actId="478"/>
          <ac:spMkLst>
            <pc:docMk/>
            <pc:sldMk cId="0" sldId="262"/>
            <ac:spMk id="1532" creationId="{00000000-0000-0000-0000-000000000000}"/>
          </ac:spMkLst>
        </pc:spChg>
        <pc:spChg chg="del">
          <ac:chgData name="Kebba Jeng" userId="fe4cc296-ba7d-48a2-8799-89b58d218255" providerId="ADAL" clId="{388EFDEE-447E-42B4-98EF-30C01AB2E8CD}" dt="2022-03-28T06:43:22.341" v="86" actId="478"/>
          <ac:spMkLst>
            <pc:docMk/>
            <pc:sldMk cId="0" sldId="262"/>
            <ac:spMk id="1533" creationId="{00000000-0000-0000-0000-000000000000}"/>
          </ac:spMkLst>
        </pc:spChg>
        <pc:spChg chg="del">
          <ac:chgData name="Kebba Jeng" userId="fe4cc296-ba7d-48a2-8799-89b58d218255" providerId="ADAL" clId="{388EFDEE-447E-42B4-98EF-30C01AB2E8CD}" dt="2022-03-28T06:43:22.341" v="86" actId="478"/>
          <ac:spMkLst>
            <pc:docMk/>
            <pc:sldMk cId="0" sldId="262"/>
            <ac:spMk id="1534" creationId="{00000000-0000-0000-0000-000000000000}"/>
          </ac:spMkLst>
        </pc:spChg>
        <pc:spChg chg="del">
          <ac:chgData name="Kebba Jeng" userId="fe4cc296-ba7d-48a2-8799-89b58d218255" providerId="ADAL" clId="{388EFDEE-447E-42B4-98EF-30C01AB2E8CD}" dt="2022-03-28T06:43:22.341" v="86" actId="478"/>
          <ac:spMkLst>
            <pc:docMk/>
            <pc:sldMk cId="0" sldId="262"/>
            <ac:spMk id="1535" creationId="{00000000-0000-0000-0000-000000000000}"/>
          </ac:spMkLst>
        </pc:spChg>
        <pc:spChg chg="del">
          <ac:chgData name="Kebba Jeng" userId="fe4cc296-ba7d-48a2-8799-89b58d218255" providerId="ADAL" clId="{388EFDEE-447E-42B4-98EF-30C01AB2E8CD}" dt="2022-03-28T06:43:22.341" v="86" actId="478"/>
          <ac:spMkLst>
            <pc:docMk/>
            <pc:sldMk cId="0" sldId="262"/>
            <ac:spMk id="1536" creationId="{00000000-0000-0000-0000-000000000000}"/>
          </ac:spMkLst>
        </pc:spChg>
        <pc:spChg chg="del">
          <ac:chgData name="Kebba Jeng" userId="fe4cc296-ba7d-48a2-8799-89b58d218255" providerId="ADAL" clId="{388EFDEE-447E-42B4-98EF-30C01AB2E8CD}" dt="2022-03-28T06:43:22.341" v="86" actId="478"/>
          <ac:spMkLst>
            <pc:docMk/>
            <pc:sldMk cId="0" sldId="262"/>
            <ac:spMk id="1537" creationId="{00000000-0000-0000-0000-000000000000}"/>
          </ac:spMkLst>
        </pc:spChg>
        <pc:spChg chg="del">
          <ac:chgData name="Kebba Jeng" userId="fe4cc296-ba7d-48a2-8799-89b58d218255" providerId="ADAL" clId="{388EFDEE-447E-42B4-98EF-30C01AB2E8CD}" dt="2022-03-28T06:43:22.341" v="86" actId="478"/>
          <ac:spMkLst>
            <pc:docMk/>
            <pc:sldMk cId="0" sldId="262"/>
            <ac:spMk id="1538" creationId="{00000000-0000-0000-0000-000000000000}"/>
          </ac:spMkLst>
        </pc:spChg>
        <pc:spChg chg="del">
          <ac:chgData name="Kebba Jeng" userId="fe4cc296-ba7d-48a2-8799-89b58d218255" providerId="ADAL" clId="{388EFDEE-447E-42B4-98EF-30C01AB2E8CD}" dt="2022-03-28T06:43:22.341" v="86" actId="478"/>
          <ac:spMkLst>
            <pc:docMk/>
            <pc:sldMk cId="0" sldId="262"/>
            <ac:spMk id="1539" creationId="{00000000-0000-0000-0000-000000000000}"/>
          </ac:spMkLst>
        </pc:spChg>
        <pc:spChg chg="del">
          <ac:chgData name="Kebba Jeng" userId="fe4cc296-ba7d-48a2-8799-89b58d218255" providerId="ADAL" clId="{388EFDEE-447E-42B4-98EF-30C01AB2E8CD}" dt="2022-03-28T06:43:22.341" v="86" actId="478"/>
          <ac:spMkLst>
            <pc:docMk/>
            <pc:sldMk cId="0" sldId="262"/>
            <ac:spMk id="1540" creationId="{00000000-0000-0000-0000-000000000000}"/>
          </ac:spMkLst>
        </pc:spChg>
        <pc:spChg chg="del">
          <ac:chgData name="Kebba Jeng" userId="fe4cc296-ba7d-48a2-8799-89b58d218255" providerId="ADAL" clId="{388EFDEE-447E-42B4-98EF-30C01AB2E8CD}" dt="2022-03-28T06:43:22.341" v="86" actId="478"/>
          <ac:spMkLst>
            <pc:docMk/>
            <pc:sldMk cId="0" sldId="262"/>
            <ac:spMk id="1541" creationId="{00000000-0000-0000-0000-000000000000}"/>
          </ac:spMkLst>
        </pc:spChg>
        <pc:spChg chg="del">
          <ac:chgData name="Kebba Jeng" userId="fe4cc296-ba7d-48a2-8799-89b58d218255" providerId="ADAL" clId="{388EFDEE-447E-42B4-98EF-30C01AB2E8CD}" dt="2022-03-28T06:43:22.341" v="86" actId="478"/>
          <ac:spMkLst>
            <pc:docMk/>
            <pc:sldMk cId="0" sldId="262"/>
            <ac:spMk id="1542" creationId="{00000000-0000-0000-0000-000000000000}"/>
          </ac:spMkLst>
        </pc:spChg>
        <pc:spChg chg="del">
          <ac:chgData name="Kebba Jeng" userId="fe4cc296-ba7d-48a2-8799-89b58d218255" providerId="ADAL" clId="{388EFDEE-447E-42B4-98EF-30C01AB2E8CD}" dt="2022-03-28T06:43:22.341" v="86" actId="478"/>
          <ac:spMkLst>
            <pc:docMk/>
            <pc:sldMk cId="0" sldId="262"/>
            <ac:spMk id="1543" creationId="{00000000-0000-0000-0000-000000000000}"/>
          </ac:spMkLst>
        </pc:spChg>
        <pc:spChg chg="del">
          <ac:chgData name="Kebba Jeng" userId="fe4cc296-ba7d-48a2-8799-89b58d218255" providerId="ADAL" clId="{388EFDEE-447E-42B4-98EF-30C01AB2E8CD}" dt="2022-03-28T06:43:22.341" v="86" actId="478"/>
          <ac:spMkLst>
            <pc:docMk/>
            <pc:sldMk cId="0" sldId="262"/>
            <ac:spMk id="1544" creationId="{00000000-0000-0000-0000-000000000000}"/>
          </ac:spMkLst>
        </pc:spChg>
        <pc:spChg chg="del">
          <ac:chgData name="Kebba Jeng" userId="fe4cc296-ba7d-48a2-8799-89b58d218255" providerId="ADAL" clId="{388EFDEE-447E-42B4-98EF-30C01AB2E8CD}" dt="2022-03-28T06:43:22.341" v="86" actId="478"/>
          <ac:spMkLst>
            <pc:docMk/>
            <pc:sldMk cId="0" sldId="262"/>
            <ac:spMk id="1545" creationId="{00000000-0000-0000-0000-000000000000}"/>
          </ac:spMkLst>
        </pc:spChg>
        <pc:spChg chg="del">
          <ac:chgData name="Kebba Jeng" userId="fe4cc296-ba7d-48a2-8799-89b58d218255" providerId="ADAL" clId="{388EFDEE-447E-42B4-98EF-30C01AB2E8CD}" dt="2022-03-28T06:43:22.341" v="86" actId="478"/>
          <ac:spMkLst>
            <pc:docMk/>
            <pc:sldMk cId="0" sldId="262"/>
            <ac:spMk id="1546" creationId="{00000000-0000-0000-0000-000000000000}"/>
          </ac:spMkLst>
        </pc:spChg>
        <pc:spChg chg="del">
          <ac:chgData name="Kebba Jeng" userId="fe4cc296-ba7d-48a2-8799-89b58d218255" providerId="ADAL" clId="{388EFDEE-447E-42B4-98EF-30C01AB2E8CD}" dt="2022-03-28T06:43:22.341" v="86" actId="478"/>
          <ac:spMkLst>
            <pc:docMk/>
            <pc:sldMk cId="0" sldId="262"/>
            <ac:spMk id="1547" creationId="{00000000-0000-0000-0000-000000000000}"/>
          </ac:spMkLst>
        </pc:spChg>
        <pc:spChg chg="del">
          <ac:chgData name="Kebba Jeng" userId="fe4cc296-ba7d-48a2-8799-89b58d218255" providerId="ADAL" clId="{388EFDEE-447E-42B4-98EF-30C01AB2E8CD}" dt="2022-03-28T06:43:22.341" v="86" actId="478"/>
          <ac:spMkLst>
            <pc:docMk/>
            <pc:sldMk cId="0" sldId="262"/>
            <ac:spMk id="1548" creationId="{00000000-0000-0000-0000-000000000000}"/>
          </ac:spMkLst>
        </pc:spChg>
        <pc:spChg chg="del">
          <ac:chgData name="Kebba Jeng" userId="fe4cc296-ba7d-48a2-8799-89b58d218255" providerId="ADAL" clId="{388EFDEE-447E-42B4-98EF-30C01AB2E8CD}" dt="2022-03-28T06:43:22.341" v="86" actId="478"/>
          <ac:spMkLst>
            <pc:docMk/>
            <pc:sldMk cId="0" sldId="262"/>
            <ac:spMk id="1549" creationId="{00000000-0000-0000-0000-000000000000}"/>
          </ac:spMkLst>
        </pc:spChg>
        <pc:spChg chg="del">
          <ac:chgData name="Kebba Jeng" userId="fe4cc296-ba7d-48a2-8799-89b58d218255" providerId="ADAL" clId="{388EFDEE-447E-42B4-98EF-30C01AB2E8CD}" dt="2022-03-28T06:43:22.341" v="86" actId="478"/>
          <ac:spMkLst>
            <pc:docMk/>
            <pc:sldMk cId="0" sldId="262"/>
            <ac:spMk id="1550" creationId="{00000000-0000-0000-0000-000000000000}"/>
          </ac:spMkLst>
        </pc:spChg>
        <pc:spChg chg="del">
          <ac:chgData name="Kebba Jeng" userId="fe4cc296-ba7d-48a2-8799-89b58d218255" providerId="ADAL" clId="{388EFDEE-447E-42B4-98EF-30C01AB2E8CD}" dt="2022-03-28T06:43:22.341" v="86" actId="478"/>
          <ac:spMkLst>
            <pc:docMk/>
            <pc:sldMk cId="0" sldId="262"/>
            <ac:spMk id="1551" creationId="{00000000-0000-0000-0000-000000000000}"/>
          </ac:spMkLst>
        </pc:spChg>
        <pc:spChg chg="del">
          <ac:chgData name="Kebba Jeng" userId="fe4cc296-ba7d-48a2-8799-89b58d218255" providerId="ADAL" clId="{388EFDEE-447E-42B4-98EF-30C01AB2E8CD}" dt="2022-03-28T06:43:22.341" v="86" actId="478"/>
          <ac:spMkLst>
            <pc:docMk/>
            <pc:sldMk cId="0" sldId="262"/>
            <ac:spMk id="1552" creationId="{00000000-0000-0000-0000-000000000000}"/>
          </ac:spMkLst>
        </pc:spChg>
        <pc:spChg chg="del">
          <ac:chgData name="Kebba Jeng" userId="fe4cc296-ba7d-48a2-8799-89b58d218255" providerId="ADAL" clId="{388EFDEE-447E-42B4-98EF-30C01AB2E8CD}" dt="2022-03-28T06:43:22.341" v="86" actId="478"/>
          <ac:spMkLst>
            <pc:docMk/>
            <pc:sldMk cId="0" sldId="262"/>
            <ac:spMk id="1553" creationId="{00000000-0000-0000-0000-000000000000}"/>
          </ac:spMkLst>
        </pc:spChg>
        <pc:spChg chg="del">
          <ac:chgData name="Kebba Jeng" userId="fe4cc296-ba7d-48a2-8799-89b58d218255" providerId="ADAL" clId="{388EFDEE-447E-42B4-98EF-30C01AB2E8CD}" dt="2022-03-28T06:43:22.341" v="86" actId="478"/>
          <ac:spMkLst>
            <pc:docMk/>
            <pc:sldMk cId="0" sldId="262"/>
            <ac:spMk id="1554" creationId="{00000000-0000-0000-0000-000000000000}"/>
          </ac:spMkLst>
        </pc:spChg>
        <pc:spChg chg="del">
          <ac:chgData name="Kebba Jeng" userId="fe4cc296-ba7d-48a2-8799-89b58d218255" providerId="ADAL" clId="{388EFDEE-447E-42B4-98EF-30C01AB2E8CD}" dt="2022-03-28T06:43:22.341" v="86" actId="478"/>
          <ac:spMkLst>
            <pc:docMk/>
            <pc:sldMk cId="0" sldId="262"/>
            <ac:spMk id="1555" creationId="{00000000-0000-0000-0000-000000000000}"/>
          </ac:spMkLst>
        </pc:spChg>
        <pc:spChg chg="del">
          <ac:chgData name="Kebba Jeng" userId="fe4cc296-ba7d-48a2-8799-89b58d218255" providerId="ADAL" clId="{388EFDEE-447E-42B4-98EF-30C01AB2E8CD}" dt="2022-03-28T06:43:22.341" v="86" actId="478"/>
          <ac:spMkLst>
            <pc:docMk/>
            <pc:sldMk cId="0" sldId="262"/>
            <ac:spMk id="1556" creationId="{00000000-0000-0000-0000-000000000000}"/>
          </ac:spMkLst>
        </pc:spChg>
        <pc:spChg chg="del">
          <ac:chgData name="Kebba Jeng" userId="fe4cc296-ba7d-48a2-8799-89b58d218255" providerId="ADAL" clId="{388EFDEE-447E-42B4-98EF-30C01AB2E8CD}" dt="2022-03-28T06:43:22.341" v="86" actId="478"/>
          <ac:spMkLst>
            <pc:docMk/>
            <pc:sldMk cId="0" sldId="262"/>
            <ac:spMk id="1557" creationId="{00000000-0000-0000-0000-000000000000}"/>
          </ac:spMkLst>
        </pc:spChg>
        <pc:spChg chg="del">
          <ac:chgData name="Kebba Jeng" userId="fe4cc296-ba7d-48a2-8799-89b58d218255" providerId="ADAL" clId="{388EFDEE-447E-42B4-98EF-30C01AB2E8CD}" dt="2022-03-28T06:43:22.341" v="86" actId="478"/>
          <ac:spMkLst>
            <pc:docMk/>
            <pc:sldMk cId="0" sldId="262"/>
            <ac:spMk id="1558" creationId="{00000000-0000-0000-0000-000000000000}"/>
          </ac:spMkLst>
        </pc:spChg>
        <pc:spChg chg="del">
          <ac:chgData name="Kebba Jeng" userId="fe4cc296-ba7d-48a2-8799-89b58d218255" providerId="ADAL" clId="{388EFDEE-447E-42B4-98EF-30C01AB2E8CD}" dt="2022-03-28T06:43:22.341" v="86" actId="478"/>
          <ac:spMkLst>
            <pc:docMk/>
            <pc:sldMk cId="0" sldId="262"/>
            <ac:spMk id="1559" creationId="{00000000-0000-0000-0000-000000000000}"/>
          </ac:spMkLst>
        </pc:spChg>
        <pc:spChg chg="del">
          <ac:chgData name="Kebba Jeng" userId="fe4cc296-ba7d-48a2-8799-89b58d218255" providerId="ADAL" clId="{388EFDEE-447E-42B4-98EF-30C01AB2E8CD}" dt="2022-03-28T06:43:22.341" v="86" actId="478"/>
          <ac:spMkLst>
            <pc:docMk/>
            <pc:sldMk cId="0" sldId="262"/>
            <ac:spMk id="1560" creationId="{00000000-0000-0000-0000-000000000000}"/>
          </ac:spMkLst>
        </pc:spChg>
        <pc:spChg chg="del">
          <ac:chgData name="Kebba Jeng" userId="fe4cc296-ba7d-48a2-8799-89b58d218255" providerId="ADAL" clId="{388EFDEE-447E-42B4-98EF-30C01AB2E8CD}" dt="2022-03-28T06:43:22.341" v="86" actId="478"/>
          <ac:spMkLst>
            <pc:docMk/>
            <pc:sldMk cId="0" sldId="262"/>
            <ac:spMk id="1561" creationId="{00000000-0000-0000-0000-000000000000}"/>
          </ac:spMkLst>
        </pc:spChg>
        <pc:spChg chg="del">
          <ac:chgData name="Kebba Jeng" userId="fe4cc296-ba7d-48a2-8799-89b58d218255" providerId="ADAL" clId="{388EFDEE-447E-42B4-98EF-30C01AB2E8CD}" dt="2022-03-28T06:43:22.341" v="86" actId="478"/>
          <ac:spMkLst>
            <pc:docMk/>
            <pc:sldMk cId="0" sldId="262"/>
            <ac:spMk id="1562" creationId="{00000000-0000-0000-0000-000000000000}"/>
          </ac:spMkLst>
        </pc:spChg>
        <pc:spChg chg="del">
          <ac:chgData name="Kebba Jeng" userId="fe4cc296-ba7d-48a2-8799-89b58d218255" providerId="ADAL" clId="{388EFDEE-447E-42B4-98EF-30C01AB2E8CD}" dt="2022-03-28T06:43:22.341" v="86" actId="478"/>
          <ac:spMkLst>
            <pc:docMk/>
            <pc:sldMk cId="0" sldId="262"/>
            <ac:spMk id="1563" creationId="{00000000-0000-0000-0000-000000000000}"/>
          </ac:spMkLst>
        </pc:spChg>
        <pc:spChg chg="del">
          <ac:chgData name="Kebba Jeng" userId="fe4cc296-ba7d-48a2-8799-89b58d218255" providerId="ADAL" clId="{388EFDEE-447E-42B4-98EF-30C01AB2E8CD}" dt="2022-03-28T06:43:22.341" v="86" actId="478"/>
          <ac:spMkLst>
            <pc:docMk/>
            <pc:sldMk cId="0" sldId="262"/>
            <ac:spMk id="1564" creationId="{00000000-0000-0000-0000-000000000000}"/>
          </ac:spMkLst>
        </pc:spChg>
        <pc:spChg chg="del">
          <ac:chgData name="Kebba Jeng" userId="fe4cc296-ba7d-48a2-8799-89b58d218255" providerId="ADAL" clId="{388EFDEE-447E-42B4-98EF-30C01AB2E8CD}" dt="2022-03-28T06:43:22.341" v="86" actId="478"/>
          <ac:spMkLst>
            <pc:docMk/>
            <pc:sldMk cId="0" sldId="262"/>
            <ac:spMk id="1565" creationId="{00000000-0000-0000-0000-000000000000}"/>
          </ac:spMkLst>
        </pc:spChg>
        <pc:spChg chg="del">
          <ac:chgData name="Kebba Jeng" userId="fe4cc296-ba7d-48a2-8799-89b58d218255" providerId="ADAL" clId="{388EFDEE-447E-42B4-98EF-30C01AB2E8CD}" dt="2022-03-28T06:43:22.341" v="86" actId="478"/>
          <ac:spMkLst>
            <pc:docMk/>
            <pc:sldMk cId="0" sldId="262"/>
            <ac:spMk id="1566" creationId="{00000000-0000-0000-0000-000000000000}"/>
          </ac:spMkLst>
        </pc:spChg>
        <pc:spChg chg="del">
          <ac:chgData name="Kebba Jeng" userId="fe4cc296-ba7d-48a2-8799-89b58d218255" providerId="ADAL" clId="{388EFDEE-447E-42B4-98EF-30C01AB2E8CD}" dt="2022-03-28T06:43:22.341" v="86" actId="478"/>
          <ac:spMkLst>
            <pc:docMk/>
            <pc:sldMk cId="0" sldId="262"/>
            <ac:spMk id="1567" creationId="{00000000-0000-0000-0000-000000000000}"/>
          </ac:spMkLst>
        </pc:spChg>
        <pc:spChg chg="del">
          <ac:chgData name="Kebba Jeng" userId="fe4cc296-ba7d-48a2-8799-89b58d218255" providerId="ADAL" clId="{388EFDEE-447E-42B4-98EF-30C01AB2E8CD}" dt="2022-03-28T06:43:22.341" v="86" actId="478"/>
          <ac:spMkLst>
            <pc:docMk/>
            <pc:sldMk cId="0" sldId="262"/>
            <ac:spMk id="1568" creationId="{00000000-0000-0000-0000-000000000000}"/>
          </ac:spMkLst>
        </pc:spChg>
        <pc:spChg chg="del">
          <ac:chgData name="Kebba Jeng" userId="fe4cc296-ba7d-48a2-8799-89b58d218255" providerId="ADAL" clId="{388EFDEE-447E-42B4-98EF-30C01AB2E8CD}" dt="2022-03-28T06:43:22.341" v="86" actId="478"/>
          <ac:spMkLst>
            <pc:docMk/>
            <pc:sldMk cId="0" sldId="262"/>
            <ac:spMk id="1569" creationId="{00000000-0000-0000-0000-000000000000}"/>
          </ac:spMkLst>
        </pc:spChg>
        <pc:spChg chg="del">
          <ac:chgData name="Kebba Jeng" userId="fe4cc296-ba7d-48a2-8799-89b58d218255" providerId="ADAL" clId="{388EFDEE-447E-42B4-98EF-30C01AB2E8CD}" dt="2022-03-28T06:43:22.341" v="86" actId="478"/>
          <ac:spMkLst>
            <pc:docMk/>
            <pc:sldMk cId="0" sldId="262"/>
            <ac:spMk id="1570" creationId="{00000000-0000-0000-0000-000000000000}"/>
          </ac:spMkLst>
        </pc:spChg>
        <pc:spChg chg="del">
          <ac:chgData name="Kebba Jeng" userId="fe4cc296-ba7d-48a2-8799-89b58d218255" providerId="ADAL" clId="{388EFDEE-447E-42B4-98EF-30C01AB2E8CD}" dt="2022-03-28T06:43:22.341" v="86" actId="478"/>
          <ac:spMkLst>
            <pc:docMk/>
            <pc:sldMk cId="0" sldId="262"/>
            <ac:spMk id="1571" creationId="{00000000-0000-0000-0000-000000000000}"/>
          </ac:spMkLst>
        </pc:spChg>
        <pc:spChg chg="del">
          <ac:chgData name="Kebba Jeng" userId="fe4cc296-ba7d-48a2-8799-89b58d218255" providerId="ADAL" clId="{388EFDEE-447E-42B4-98EF-30C01AB2E8CD}" dt="2022-03-28T06:43:22.341" v="86" actId="478"/>
          <ac:spMkLst>
            <pc:docMk/>
            <pc:sldMk cId="0" sldId="262"/>
            <ac:spMk id="1572" creationId="{00000000-0000-0000-0000-000000000000}"/>
          </ac:spMkLst>
        </pc:spChg>
        <pc:spChg chg="del">
          <ac:chgData name="Kebba Jeng" userId="fe4cc296-ba7d-48a2-8799-89b58d218255" providerId="ADAL" clId="{388EFDEE-447E-42B4-98EF-30C01AB2E8CD}" dt="2022-03-28T06:43:22.341" v="86" actId="478"/>
          <ac:spMkLst>
            <pc:docMk/>
            <pc:sldMk cId="0" sldId="262"/>
            <ac:spMk id="1573" creationId="{00000000-0000-0000-0000-000000000000}"/>
          </ac:spMkLst>
        </pc:spChg>
        <pc:spChg chg="del">
          <ac:chgData name="Kebba Jeng" userId="fe4cc296-ba7d-48a2-8799-89b58d218255" providerId="ADAL" clId="{388EFDEE-447E-42B4-98EF-30C01AB2E8CD}" dt="2022-03-28T06:43:22.341" v="86" actId="478"/>
          <ac:spMkLst>
            <pc:docMk/>
            <pc:sldMk cId="0" sldId="262"/>
            <ac:spMk id="1574" creationId="{00000000-0000-0000-0000-000000000000}"/>
          </ac:spMkLst>
        </pc:spChg>
        <pc:spChg chg="del">
          <ac:chgData name="Kebba Jeng" userId="fe4cc296-ba7d-48a2-8799-89b58d218255" providerId="ADAL" clId="{388EFDEE-447E-42B4-98EF-30C01AB2E8CD}" dt="2022-03-28T06:43:22.341" v="86" actId="478"/>
          <ac:spMkLst>
            <pc:docMk/>
            <pc:sldMk cId="0" sldId="262"/>
            <ac:spMk id="1575" creationId="{00000000-0000-0000-0000-000000000000}"/>
          </ac:spMkLst>
        </pc:spChg>
        <pc:spChg chg="del">
          <ac:chgData name="Kebba Jeng" userId="fe4cc296-ba7d-48a2-8799-89b58d218255" providerId="ADAL" clId="{388EFDEE-447E-42B4-98EF-30C01AB2E8CD}" dt="2022-03-28T06:43:22.341" v="86" actId="478"/>
          <ac:spMkLst>
            <pc:docMk/>
            <pc:sldMk cId="0" sldId="262"/>
            <ac:spMk id="1576" creationId="{00000000-0000-0000-0000-000000000000}"/>
          </ac:spMkLst>
        </pc:spChg>
        <pc:spChg chg="del">
          <ac:chgData name="Kebba Jeng" userId="fe4cc296-ba7d-48a2-8799-89b58d218255" providerId="ADAL" clId="{388EFDEE-447E-42B4-98EF-30C01AB2E8CD}" dt="2022-03-28T06:43:22.341" v="86" actId="478"/>
          <ac:spMkLst>
            <pc:docMk/>
            <pc:sldMk cId="0" sldId="262"/>
            <ac:spMk id="1577" creationId="{00000000-0000-0000-0000-000000000000}"/>
          </ac:spMkLst>
        </pc:spChg>
        <pc:spChg chg="del">
          <ac:chgData name="Kebba Jeng" userId="fe4cc296-ba7d-48a2-8799-89b58d218255" providerId="ADAL" clId="{388EFDEE-447E-42B4-98EF-30C01AB2E8CD}" dt="2022-03-28T06:43:22.341" v="86" actId="478"/>
          <ac:spMkLst>
            <pc:docMk/>
            <pc:sldMk cId="0" sldId="262"/>
            <ac:spMk id="1578" creationId="{00000000-0000-0000-0000-000000000000}"/>
          </ac:spMkLst>
        </pc:spChg>
        <pc:spChg chg="del">
          <ac:chgData name="Kebba Jeng" userId="fe4cc296-ba7d-48a2-8799-89b58d218255" providerId="ADAL" clId="{388EFDEE-447E-42B4-98EF-30C01AB2E8CD}" dt="2022-03-28T06:43:22.341" v="86" actId="478"/>
          <ac:spMkLst>
            <pc:docMk/>
            <pc:sldMk cId="0" sldId="262"/>
            <ac:spMk id="1579" creationId="{00000000-0000-0000-0000-000000000000}"/>
          </ac:spMkLst>
        </pc:spChg>
        <pc:spChg chg="del">
          <ac:chgData name="Kebba Jeng" userId="fe4cc296-ba7d-48a2-8799-89b58d218255" providerId="ADAL" clId="{388EFDEE-447E-42B4-98EF-30C01AB2E8CD}" dt="2022-03-28T06:43:22.341" v="86" actId="478"/>
          <ac:spMkLst>
            <pc:docMk/>
            <pc:sldMk cId="0" sldId="262"/>
            <ac:spMk id="1580" creationId="{00000000-0000-0000-0000-000000000000}"/>
          </ac:spMkLst>
        </pc:spChg>
        <pc:spChg chg="del">
          <ac:chgData name="Kebba Jeng" userId="fe4cc296-ba7d-48a2-8799-89b58d218255" providerId="ADAL" clId="{388EFDEE-447E-42B4-98EF-30C01AB2E8CD}" dt="2022-03-28T06:43:22.341" v="86" actId="478"/>
          <ac:spMkLst>
            <pc:docMk/>
            <pc:sldMk cId="0" sldId="262"/>
            <ac:spMk id="1581" creationId="{00000000-0000-0000-0000-000000000000}"/>
          </ac:spMkLst>
        </pc:spChg>
        <pc:spChg chg="del">
          <ac:chgData name="Kebba Jeng" userId="fe4cc296-ba7d-48a2-8799-89b58d218255" providerId="ADAL" clId="{388EFDEE-447E-42B4-98EF-30C01AB2E8CD}" dt="2022-03-28T06:43:22.341" v="86" actId="478"/>
          <ac:spMkLst>
            <pc:docMk/>
            <pc:sldMk cId="0" sldId="262"/>
            <ac:spMk id="1582" creationId="{00000000-0000-0000-0000-000000000000}"/>
          </ac:spMkLst>
        </pc:spChg>
        <pc:spChg chg="del">
          <ac:chgData name="Kebba Jeng" userId="fe4cc296-ba7d-48a2-8799-89b58d218255" providerId="ADAL" clId="{388EFDEE-447E-42B4-98EF-30C01AB2E8CD}" dt="2022-03-28T06:43:22.341" v="86" actId="478"/>
          <ac:spMkLst>
            <pc:docMk/>
            <pc:sldMk cId="0" sldId="262"/>
            <ac:spMk id="1583" creationId="{00000000-0000-0000-0000-000000000000}"/>
          </ac:spMkLst>
        </pc:spChg>
        <pc:spChg chg="del">
          <ac:chgData name="Kebba Jeng" userId="fe4cc296-ba7d-48a2-8799-89b58d218255" providerId="ADAL" clId="{388EFDEE-447E-42B4-98EF-30C01AB2E8CD}" dt="2022-03-28T06:43:22.341" v="86" actId="478"/>
          <ac:spMkLst>
            <pc:docMk/>
            <pc:sldMk cId="0" sldId="262"/>
            <ac:spMk id="1584" creationId="{00000000-0000-0000-0000-000000000000}"/>
          </ac:spMkLst>
        </pc:spChg>
        <pc:spChg chg="del">
          <ac:chgData name="Kebba Jeng" userId="fe4cc296-ba7d-48a2-8799-89b58d218255" providerId="ADAL" clId="{388EFDEE-447E-42B4-98EF-30C01AB2E8CD}" dt="2022-03-28T06:43:22.341" v="86" actId="478"/>
          <ac:spMkLst>
            <pc:docMk/>
            <pc:sldMk cId="0" sldId="262"/>
            <ac:spMk id="1585" creationId="{00000000-0000-0000-0000-000000000000}"/>
          </ac:spMkLst>
        </pc:spChg>
        <pc:spChg chg="del">
          <ac:chgData name="Kebba Jeng" userId="fe4cc296-ba7d-48a2-8799-89b58d218255" providerId="ADAL" clId="{388EFDEE-447E-42B4-98EF-30C01AB2E8CD}" dt="2022-03-28T06:43:22.341" v="86" actId="478"/>
          <ac:spMkLst>
            <pc:docMk/>
            <pc:sldMk cId="0" sldId="262"/>
            <ac:spMk id="1586" creationId="{00000000-0000-0000-0000-000000000000}"/>
          </ac:spMkLst>
        </pc:spChg>
        <pc:spChg chg="del">
          <ac:chgData name="Kebba Jeng" userId="fe4cc296-ba7d-48a2-8799-89b58d218255" providerId="ADAL" clId="{388EFDEE-447E-42B4-98EF-30C01AB2E8CD}" dt="2022-03-28T06:43:22.341" v="86" actId="478"/>
          <ac:spMkLst>
            <pc:docMk/>
            <pc:sldMk cId="0" sldId="262"/>
            <ac:spMk id="1587" creationId="{00000000-0000-0000-0000-000000000000}"/>
          </ac:spMkLst>
        </pc:spChg>
        <pc:spChg chg="del">
          <ac:chgData name="Kebba Jeng" userId="fe4cc296-ba7d-48a2-8799-89b58d218255" providerId="ADAL" clId="{388EFDEE-447E-42B4-98EF-30C01AB2E8CD}" dt="2022-03-28T06:43:22.341" v="86" actId="478"/>
          <ac:spMkLst>
            <pc:docMk/>
            <pc:sldMk cId="0" sldId="262"/>
            <ac:spMk id="1588" creationId="{00000000-0000-0000-0000-000000000000}"/>
          </ac:spMkLst>
        </pc:spChg>
        <pc:spChg chg="del">
          <ac:chgData name="Kebba Jeng" userId="fe4cc296-ba7d-48a2-8799-89b58d218255" providerId="ADAL" clId="{388EFDEE-447E-42B4-98EF-30C01AB2E8CD}" dt="2022-03-28T06:43:22.341" v="86" actId="478"/>
          <ac:spMkLst>
            <pc:docMk/>
            <pc:sldMk cId="0" sldId="262"/>
            <ac:spMk id="1589" creationId="{00000000-0000-0000-0000-000000000000}"/>
          </ac:spMkLst>
        </pc:spChg>
        <pc:spChg chg="del">
          <ac:chgData name="Kebba Jeng" userId="fe4cc296-ba7d-48a2-8799-89b58d218255" providerId="ADAL" clId="{388EFDEE-447E-42B4-98EF-30C01AB2E8CD}" dt="2022-03-28T06:43:22.341" v="86" actId="478"/>
          <ac:spMkLst>
            <pc:docMk/>
            <pc:sldMk cId="0" sldId="262"/>
            <ac:spMk id="1590" creationId="{00000000-0000-0000-0000-000000000000}"/>
          </ac:spMkLst>
        </pc:spChg>
        <pc:spChg chg="del">
          <ac:chgData name="Kebba Jeng" userId="fe4cc296-ba7d-48a2-8799-89b58d218255" providerId="ADAL" clId="{388EFDEE-447E-42B4-98EF-30C01AB2E8CD}" dt="2022-03-28T06:43:22.341" v="86" actId="478"/>
          <ac:spMkLst>
            <pc:docMk/>
            <pc:sldMk cId="0" sldId="262"/>
            <ac:spMk id="1591" creationId="{00000000-0000-0000-0000-000000000000}"/>
          </ac:spMkLst>
        </pc:spChg>
        <pc:spChg chg="del">
          <ac:chgData name="Kebba Jeng" userId="fe4cc296-ba7d-48a2-8799-89b58d218255" providerId="ADAL" clId="{388EFDEE-447E-42B4-98EF-30C01AB2E8CD}" dt="2022-03-28T06:43:22.341" v="86" actId="478"/>
          <ac:spMkLst>
            <pc:docMk/>
            <pc:sldMk cId="0" sldId="262"/>
            <ac:spMk id="1592" creationId="{00000000-0000-0000-0000-000000000000}"/>
          </ac:spMkLst>
        </pc:spChg>
        <pc:spChg chg="del">
          <ac:chgData name="Kebba Jeng" userId="fe4cc296-ba7d-48a2-8799-89b58d218255" providerId="ADAL" clId="{388EFDEE-447E-42B4-98EF-30C01AB2E8CD}" dt="2022-03-28T06:43:22.341" v="86" actId="478"/>
          <ac:spMkLst>
            <pc:docMk/>
            <pc:sldMk cId="0" sldId="262"/>
            <ac:spMk id="1593" creationId="{00000000-0000-0000-0000-000000000000}"/>
          </ac:spMkLst>
        </pc:spChg>
        <pc:spChg chg="del">
          <ac:chgData name="Kebba Jeng" userId="fe4cc296-ba7d-48a2-8799-89b58d218255" providerId="ADAL" clId="{388EFDEE-447E-42B4-98EF-30C01AB2E8CD}" dt="2022-03-28T06:43:22.341" v="86" actId="478"/>
          <ac:spMkLst>
            <pc:docMk/>
            <pc:sldMk cId="0" sldId="262"/>
            <ac:spMk id="1594" creationId="{00000000-0000-0000-0000-000000000000}"/>
          </ac:spMkLst>
        </pc:spChg>
        <pc:spChg chg="del">
          <ac:chgData name="Kebba Jeng" userId="fe4cc296-ba7d-48a2-8799-89b58d218255" providerId="ADAL" clId="{388EFDEE-447E-42B4-98EF-30C01AB2E8CD}" dt="2022-03-28T06:43:22.341" v="86" actId="478"/>
          <ac:spMkLst>
            <pc:docMk/>
            <pc:sldMk cId="0" sldId="262"/>
            <ac:spMk id="1595" creationId="{00000000-0000-0000-0000-000000000000}"/>
          </ac:spMkLst>
        </pc:spChg>
        <pc:spChg chg="del">
          <ac:chgData name="Kebba Jeng" userId="fe4cc296-ba7d-48a2-8799-89b58d218255" providerId="ADAL" clId="{388EFDEE-447E-42B4-98EF-30C01AB2E8CD}" dt="2022-03-28T06:43:22.341" v="86" actId="478"/>
          <ac:spMkLst>
            <pc:docMk/>
            <pc:sldMk cId="0" sldId="262"/>
            <ac:spMk id="1596" creationId="{00000000-0000-0000-0000-000000000000}"/>
          </ac:spMkLst>
        </pc:spChg>
        <pc:spChg chg="del">
          <ac:chgData name="Kebba Jeng" userId="fe4cc296-ba7d-48a2-8799-89b58d218255" providerId="ADAL" clId="{388EFDEE-447E-42B4-98EF-30C01AB2E8CD}" dt="2022-03-28T06:43:22.341" v="86" actId="478"/>
          <ac:spMkLst>
            <pc:docMk/>
            <pc:sldMk cId="0" sldId="262"/>
            <ac:spMk id="1597" creationId="{00000000-0000-0000-0000-000000000000}"/>
          </ac:spMkLst>
        </pc:spChg>
        <pc:spChg chg="del">
          <ac:chgData name="Kebba Jeng" userId="fe4cc296-ba7d-48a2-8799-89b58d218255" providerId="ADAL" clId="{388EFDEE-447E-42B4-98EF-30C01AB2E8CD}" dt="2022-03-28T06:43:22.341" v="86" actId="478"/>
          <ac:spMkLst>
            <pc:docMk/>
            <pc:sldMk cId="0" sldId="262"/>
            <ac:spMk id="1598" creationId="{00000000-0000-0000-0000-000000000000}"/>
          </ac:spMkLst>
        </pc:spChg>
        <pc:spChg chg="del">
          <ac:chgData name="Kebba Jeng" userId="fe4cc296-ba7d-48a2-8799-89b58d218255" providerId="ADAL" clId="{388EFDEE-447E-42B4-98EF-30C01AB2E8CD}" dt="2022-03-28T06:43:22.341" v="86" actId="478"/>
          <ac:spMkLst>
            <pc:docMk/>
            <pc:sldMk cId="0" sldId="262"/>
            <ac:spMk id="1599" creationId="{00000000-0000-0000-0000-000000000000}"/>
          </ac:spMkLst>
        </pc:spChg>
        <pc:spChg chg="del">
          <ac:chgData name="Kebba Jeng" userId="fe4cc296-ba7d-48a2-8799-89b58d218255" providerId="ADAL" clId="{388EFDEE-447E-42B4-98EF-30C01AB2E8CD}" dt="2022-03-28T06:43:22.341" v="86" actId="478"/>
          <ac:spMkLst>
            <pc:docMk/>
            <pc:sldMk cId="0" sldId="262"/>
            <ac:spMk id="1600" creationId="{00000000-0000-0000-0000-000000000000}"/>
          </ac:spMkLst>
        </pc:spChg>
        <pc:spChg chg="del">
          <ac:chgData name="Kebba Jeng" userId="fe4cc296-ba7d-48a2-8799-89b58d218255" providerId="ADAL" clId="{388EFDEE-447E-42B4-98EF-30C01AB2E8CD}" dt="2022-03-28T06:43:22.341" v="86" actId="478"/>
          <ac:spMkLst>
            <pc:docMk/>
            <pc:sldMk cId="0" sldId="262"/>
            <ac:spMk id="1601" creationId="{00000000-0000-0000-0000-000000000000}"/>
          </ac:spMkLst>
        </pc:spChg>
        <pc:spChg chg="del">
          <ac:chgData name="Kebba Jeng" userId="fe4cc296-ba7d-48a2-8799-89b58d218255" providerId="ADAL" clId="{388EFDEE-447E-42B4-98EF-30C01AB2E8CD}" dt="2022-03-28T06:43:22.341" v="86" actId="478"/>
          <ac:spMkLst>
            <pc:docMk/>
            <pc:sldMk cId="0" sldId="262"/>
            <ac:spMk id="1602" creationId="{00000000-0000-0000-0000-000000000000}"/>
          </ac:spMkLst>
        </pc:spChg>
        <pc:spChg chg="del">
          <ac:chgData name="Kebba Jeng" userId="fe4cc296-ba7d-48a2-8799-89b58d218255" providerId="ADAL" clId="{388EFDEE-447E-42B4-98EF-30C01AB2E8CD}" dt="2022-03-28T06:43:22.341" v="86" actId="478"/>
          <ac:spMkLst>
            <pc:docMk/>
            <pc:sldMk cId="0" sldId="262"/>
            <ac:spMk id="1603" creationId="{00000000-0000-0000-0000-000000000000}"/>
          </ac:spMkLst>
        </pc:spChg>
        <pc:spChg chg="del">
          <ac:chgData name="Kebba Jeng" userId="fe4cc296-ba7d-48a2-8799-89b58d218255" providerId="ADAL" clId="{388EFDEE-447E-42B4-98EF-30C01AB2E8CD}" dt="2022-03-28T06:43:22.341" v="86" actId="478"/>
          <ac:spMkLst>
            <pc:docMk/>
            <pc:sldMk cId="0" sldId="262"/>
            <ac:spMk id="1604" creationId="{00000000-0000-0000-0000-000000000000}"/>
          </ac:spMkLst>
        </pc:spChg>
        <pc:spChg chg="del">
          <ac:chgData name="Kebba Jeng" userId="fe4cc296-ba7d-48a2-8799-89b58d218255" providerId="ADAL" clId="{388EFDEE-447E-42B4-98EF-30C01AB2E8CD}" dt="2022-03-28T06:43:22.341" v="86" actId="478"/>
          <ac:spMkLst>
            <pc:docMk/>
            <pc:sldMk cId="0" sldId="262"/>
            <ac:spMk id="1605" creationId="{00000000-0000-0000-0000-000000000000}"/>
          </ac:spMkLst>
        </pc:spChg>
        <pc:spChg chg="del">
          <ac:chgData name="Kebba Jeng" userId="fe4cc296-ba7d-48a2-8799-89b58d218255" providerId="ADAL" clId="{388EFDEE-447E-42B4-98EF-30C01AB2E8CD}" dt="2022-03-28T06:43:22.341" v="86" actId="478"/>
          <ac:spMkLst>
            <pc:docMk/>
            <pc:sldMk cId="0" sldId="262"/>
            <ac:spMk id="1606" creationId="{00000000-0000-0000-0000-000000000000}"/>
          </ac:spMkLst>
        </pc:spChg>
        <pc:spChg chg="del">
          <ac:chgData name="Kebba Jeng" userId="fe4cc296-ba7d-48a2-8799-89b58d218255" providerId="ADAL" clId="{388EFDEE-447E-42B4-98EF-30C01AB2E8CD}" dt="2022-03-28T06:43:22.341" v="86" actId="478"/>
          <ac:spMkLst>
            <pc:docMk/>
            <pc:sldMk cId="0" sldId="262"/>
            <ac:spMk id="1607" creationId="{00000000-0000-0000-0000-000000000000}"/>
          </ac:spMkLst>
        </pc:spChg>
        <pc:spChg chg="del">
          <ac:chgData name="Kebba Jeng" userId="fe4cc296-ba7d-48a2-8799-89b58d218255" providerId="ADAL" clId="{388EFDEE-447E-42B4-98EF-30C01AB2E8CD}" dt="2022-03-28T06:43:22.341" v="86" actId="478"/>
          <ac:spMkLst>
            <pc:docMk/>
            <pc:sldMk cId="0" sldId="262"/>
            <ac:spMk id="1608" creationId="{00000000-0000-0000-0000-000000000000}"/>
          </ac:spMkLst>
        </pc:spChg>
        <pc:spChg chg="del">
          <ac:chgData name="Kebba Jeng" userId="fe4cc296-ba7d-48a2-8799-89b58d218255" providerId="ADAL" clId="{388EFDEE-447E-42B4-98EF-30C01AB2E8CD}" dt="2022-03-28T06:43:22.341" v="86" actId="478"/>
          <ac:spMkLst>
            <pc:docMk/>
            <pc:sldMk cId="0" sldId="262"/>
            <ac:spMk id="1609" creationId="{00000000-0000-0000-0000-000000000000}"/>
          </ac:spMkLst>
        </pc:spChg>
        <pc:spChg chg="del">
          <ac:chgData name="Kebba Jeng" userId="fe4cc296-ba7d-48a2-8799-89b58d218255" providerId="ADAL" clId="{388EFDEE-447E-42B4-98EF-30C01AB2E8CD}" dt="2022-03-28T06:43:22.341" v="86" actId="478"/>
          <ac:spMkLst>
            <pc:docMk/>
            <pc:sldMk cId="0" sldId="262"/>
            <ac:spMk id="1610" creationId="{00000000-0000-0000-0000-000000000000}"/>
          </ac:spMkLst>
        </pc:spChg>
        <pc:spChg chg="del">
          <ac:chgData name="Kebba Jeng" userId="fe4cc296-ba7d-48a2-8799-89b58d218255" providerId="ADAL" clId="{388EFDEE-447E-42B4-98EF-30C01AB2E8CD}" dt="2022-03-28T06:43:22.341" v="86" actId="478"/>
          <ac:spMkLst>
            <pc:docMk/>
            <pc:sldMk cId="0" sldId="262"/>
            <ac:spMk id="1611" creationId="{00000000-0000-0000-0000-000000000000}"/>
          </ac:spMkLst>
        </pc:spChg>
        <pc:spChg chg="del">
          <ac:chgData name="Kebba Jeng" userId="fe4cc296-ba7d-48a2-8799-89b58d218255" providerId="ADAL" clId="{388EFDEE-447E-42B4-98EF-30C01AB2E8CD}" dt="2022-03-28T06:43:22.341" v="86" actId="478"/>
          <ac:spMkLst>
            <pc:docMk/>
            <pc:sldMk cId="0" sldId="262"/>
            <ac:spMk id="1612" creationId="{00000000-0000-0000-0000-000000000000}"/>
          </ac:spMkLst>
        </pc:spChg>
        <pc:spChg chg="del">
          <ac:chgData name="Kebba Jeng" userId="fe4cc296-ba7d-48a2-8799-89b58d218255" providerId="ADAL" clId="{388EFDEE-447E-42B4-98EF-30C01AB2E8CD}" dt="2022-03-28T06:43:22.341" v="86" actId="478"/>
          <ac:spMkLst>
            <pc:docMk/>
            <pc:sldMk cId="0" sldId="262"/>
            <ac:spMk id="1613" creationId="{00000000-0000-0000-0000-000000000000}"/>
          </ac:spMkLst>
        </pc:spChg>
        <pc:spChg chg="del">
          <ac:chgData name="Kebba Jeng" userId="fe4cc296-ba7d-48a2-8799-89b58d218255" providerId="ADAL" clId="{388EFDEE-447E-42B4-98EF-30C01AB2E8CD}" dt="2022-03-28T06:43:22.341" v="86" actId="478"/>
          <ac:spMkLst>
            <pc:docMk/>
            <pc:sldMk cId="0" sldId="262"/>
            <ac:spMk id="1614" creationId="{00000000-0000-0000-0000-000000000000}"/>
          </ac:spMkLst>
        </pc:spChg>
        <pc:spChg chg="del">
          <ac:chgData name="Kebba Jeng" userId="fe4cc296-ba7d-48a2-8799-89b58d218255" providerId="ADAL" clId="{388EFDEE-447E-42B4-98EF-30C01AB2E8CD}" dt="2022-03-28T06:43:22.341" v="86" actId="478"/>
          <ac:spMkLst>
            <pc:docMk/>
            <pc:sldMk cId="0" sldId="262"/>
            <ac:spMk id="1615" creationId="{00000000-0000-0000-0000-000000000000}"/>
          </ac:spMkLst>
        </pc:spChg>
        <pc:spChg chg="del">
          <ac:chgData name="Kebba Jeng" userId="fe4cc296-ba7d-48a2-8799-89b58d218255" providerId="ADAL" clId="{388EFDEE-447E-42B4-98EF-30C01AB2E8CD}" dt="2022-03-28T06:43:22.341" v="86" actId="478"/>
          <ac:spMkLst>
            <pc:docMk/>
            <pc:sldMk cId="0" sldId="262"/>
            <ac:spMk id="1616" creationId="{00000000-0000-0000-0000-000000000000}"/>
          </ac:spMkLst>
        </pc:spChg>
        <pc:spChg chg="del">
          <ac:chgData name="Kebba Jeng" userId="fe4cc296-ba7d-48a2-8799-89b58d218255" providerId="ADAL" clId="{388EFDEE-447E-42B4-98EF-30C01AB2E8CD}" dt="2022-03-28T06:43:22.341" v="86" actId="478"/>
          <ac:spMkLst>
            <pc:docMk/>
            <pc:sldMk cId="0" sldId="262"/>
            <ac:spMk id="1617" creationId="{00000000-0000-0000-0000-000000000000}"/>
          </ac:spMkLst>
        </pc:spChg>
        <pc:spChg chg="del">
          <ac:chgData name="Kebba Jeng" userId="fe4cc296-ba7d-48a2-8799-89b58d218255" providerId="ADAL" clId="{388EFDEE-447E-42B4-98EF-30C01AB2E8CD}" dt="2022-03-28T06:43:22.341" v="86" actId="478"/>
          <ac:spMkLst>
            <pc:docMk/>
            <pc:sldMk cId="0" sldId="262"/>
            <ac:spMk id="1618" creationId="{00000000-0000-0000-0000-000000000000}"/>
          </ac:spMkLst>
        </pc:spChg>
        <pc:spChg chg="del">
          <ac:chgData name="Kebba Jeng" userId="fe4cc296-ba7d-48a2-8799-89b58d218255" providerId="ADAL" clId="{388EFDEE-447E-42B4-98EF-30C01AB2E8CD}" dt="2022-03-28T06:43:22.341" v="86" actId="478"/>
          <ac:spMkLst>
            <pc:docMk/>
            <pc:sldMk cId="0" sldId="262"/>
            <ac:spMk id="1619" creationId="{00000000-0000-0000-0000-000000000000}"/>
          </ac:spMkLst>
        </pc:spChg>
        <pc:spChg chg="del">
          <ac:chgData name="Kebba Jeng" userId="fe4cc296-ba7d-48a2-8799-89b58d218255" providerId="ADAL" clId="{388EFDEE-447E-42B4-98EF-30C01AB2E8CD}" dt="2022-03-28T06:43:22.341" v="86" actId="478"/>
          <ac:spMkLst>
            <pc:docMk/>
            <pc:sldMk cId="0" sldId="262"/>
            <ac:spMk id="1620" creationId="{00000000-0000-0000-0000-000000000000}"/>
          </ac:spMkLst>
        </pc:spChg>
        <pc:spChg chg="del">
          <ac:chgData name="Kebba Jeng" userId="fe4cc296-ba7d-48a2-8799-89b58d218255" providerId="ADAL" clId="{388EFDEE-447E-42B4-98EF-30C01AB2E8CD}" dt="2022-03-28T06:43:22.341" v="86" actId="478"/>
          <ac:spMkLst>
            <pc:docMk/>
            <pc:sldMk cId="0" sldId="262"/>
            <ac:spMk id="1621" creationId="{00000000-0000-0000-0000-000000000000}"/>
          </ac:spMkLst>
        </pc:spChg>
        <pc:spChg chg="del">
          <ac:chgData name="Kebba Jeng" userId="fe4cc296-ba7d-48a2-8799-89b58d218255" providerId="ADAL" clId="{388EFDEE-447E-42B4-98EF-30C01AB2E8CD}" dt="2022-03-28T06:43:22.341" v="86" actId="478"/>
          <ac:spMkLst>
            <pc:docMk/>
            <pc:sldMk cId="0" sldId="262"/>
            <ac:spMk id="1622" creationId="{00000000-0000-0000-0000-000000000000}"/>
          </ac:spMkLst>
        </pc:spChg>
        <pc:spChg chg="del">
          <ac:chgData name="Kebba Jeng" userId="fe4cc296-ba7d-48a2-8799-89b58d218255" providerId="ADAL" clId="{388EFDEE-447E-42B4-98EF-30C01AB2E8CD}" dt="2022-03-28T06:43:22.341" v="86" actId="478"/>
          <ac:spMkLst>
            <pc:docMk/>
            <pc:sldMk cId="0" sldId="262"/>
            <ac:spMk id="1623" creationId="{00000000-0000-0000-0000-000000000000}"/>
          </ac:spMkLst>
        </pc:spChg>
        <pc:spChg chg="del">
          <ac:chgData name="Kebba Jeng" userId="fe4cc296-ba7d-48a2-8799-89b58d218255" providerId="ADAL" clId="{388EFDEE-447E-42B4-98EF-30C01AB2E8CD}" dt="2022-03-28T06:43:22.341" v="86" actId="478"/>
          <ac:spMkLst>
            <pc:docMk/>
            <pc:sldMk cId="0" sldId="262"/>
            <ac:spMk id="1624" creationId="{00000000-0000-0000-0000-000000000000}"/>
          </ac:spMkLst>
        </pc:spChg>
        <pc:spChg chg="del">
          <ac:chgData name="Kebba Jeng" userId="fe4cc296-ba7d-48a2-8799-89b58d218255" providerId="ADAL" clId="{388EFDEE-447E-42B4-98EF-30C01AB2E8CD}" dt="2022-03-28T06:43:22.341" v="86" actId="478"/>
          <ac:spMkLst>
            <pc:docMk/>
            <pc:sldMk cId="0" sldId="262"/>
            <ac:spMk id="1625" creationId="{00000000-0000-0000-0000-000000000000}"/>
          </ac:spMkLst>
        </pc:spChg>
        <pc:spChg chg="del">
          <ac:chgData name="Kebba Jeng" userId="fe4cc296-ba7d-48a2-8799-89b58d218255" providerId="ADAL" clId="{388EFDEE-447E-42B4-98EF-30C01AB2E8CD}" dt="2022-03-28T06:43:22.341" v="86" actId="478"/>
          <ac:spMkLst>
            <pc:docMk/>
            <pc:sldMk cId="0" sldId="262"/>
            <ac:spMk id="1626" creationId="{00000000-0000-0000-0000-000000000000}"/>
          </ac:spMkLst>
        </pc:spChg>
        <pc:spChg chg="del">
          <ac:chgData name="Kebba Jeng" userId="fe4cc296-ba7d-48a2-8799-89b58d218255" providerId="ADAL" clId="{388EFDEE-447E-42B4-98EF-30C01AB2E8CD}" dt="2022-03-28T06:43:22.341" v="86" actId="478"/>
          <ac:spMkLst>
            <pc:docMk/>
            <pc:sldMk cId="0" sldId="262"/>
            <ac:spMk id="1627" creationId="{00000000-0000-0000-0000-000000000000}"/>
          </ac:spMkLst>
        </pc:spChg>
        <pc:spChg chg="del">
          <ac:chgData name="Kebba Jeng" userId="fe4cc296-ba7d-48a2-8799-89b58d218255" providerId="ADAL" clId="{388EFDEE-447E-42B4-98EF-30C01AB2E8CD}" dt="2022-03-28T06:43:22.341" v="86" actId="478"/>
          <ac:spMkLst>
            <pc:docMk/>
            <pc:sldMk cId="0" sldId="262"/>
            <ac:spMk id="1628" creationId="{00000000-0000-0000-0000-000000000000}"/>
          </ac:spMkLst>
        </pc:spChg>
        <pc:spChg chg="del">
          <ac:chgData name="Kebba Jeng" userId="fe4cc296-ba7d-48a2-8799-89b58d218255" providerId="ADAL" clId="{388EFDEE-447E-42B4-98EF-30C01AB2E8CD}" dt="2022-03-28T06:43:22.341" v="86" actId="478"/>
          <ac:spMkLst>
            <pc:docMk/>
            <pc:sldMk cId="0" sldId="262"/>
            <ac:spMk id="1629" creationId="{00000000-0000-0000-0000-000000000000}"/>
          </ac:spMkLst>
        </pc:spChg>
        <pc:spChg chg="del">
          <ac:chgData name="Kebba Jeng" userId="fe4cc296-ba7d-48a2-8799-89b58d218255" providerId="ADAL" clId="{388EFDEE-447E-42B4-98EF-30C01AB2E8CD}" dt="2022-03-28T06:43:22.341" v="86" actId="478"/>
          <ac:spMkLst>
            <pc:docMk/>
            <pc:sldMk cId="0" sldId="262"/>
            <ac:spMk id="1630" creationId="{00000000-0000-0000-0000-000000000000}"/>
          </ac:spMkLst>
        </pc:spChg>
        <pc:spChg chg="del">
          <ac:chgData name="Kebba Jeng" userId="fe4cc296-ba7d-48a2-8799-89b58d218255" providerId="ADAL" clId="{388EFDEE-447E-42B4-98EF-30C01AB2E8CD}" dt="2022-03-28T06:43:22.341" v="86" actId="478"/>
          <ac:spMkLst>
            <pc:docMk/>
            <pc:sldMk cId="0" sldId="262"/>
            <ac:spMk id="1631" creationId="{00000000-0000-0000-0000-000000000000}"/>
          </ac:spMkLst>
        </pc:spChg>
        <pc:spChg chg="del">
          <ac:chgData name="Kebba Jeng" userId="fe4cc296-ba7d-48a2-8799-89b58d218255" providerId="ADAL" clId="{388EFDEE-447E-42B4-98EF-30C01AB2E8CD}" dt="2022-03-28T06:43:22.341" v="86" actId="478"/>
          <ac:spMkLst>
            <pc:docMk/>
            <pc:sldMk cId="0" sldId="262"/>
            <ac:spMk id="1632" creationId="{00000000-0000-0000-0000-000000000000}"/>
          </ac:spMkLst>
        </pc:spChg>
        <pc:spChg chg="del">
          <ac:chgData name="Kebba Jeng" userId="fe4cc296-ba7d-48a2-8799-89b58d218255" providerId="ADAL" clId="{388EFDEE-447E-42B4-98EF-30C01AB2E8CD}" dt="2022-03-28T06:43:22.341" v="86" actId="478"/>
          <ac:spMkLst>
            <pc:docMk/>
            <pc:sldMk cId="0" sldId="262"/>
            <ac:spMk id="1633" creationId="{00000000-0000-0000-0000-000000000000}"/>
          </ac:spMkLst>
        </pc:spChg>
        <pc:spChg chg="del">
          <ac:chgData name="Kebba Jeng" userId="fe4cc296-ba7d-48a2-8799-89b58d218255" providerId="ADAL" clId="{388EFDEE-447E-42B4-98EF-30C01AB2E8CD}" dt="2022-03-28T06:43:22.341" v="86" actId="478"/>
          <ac:spMkLst>
            <pc:docMk/>
            <pc:sldMk cId="0" sldId="262"/>
            <ac:spMk id="1634" creationId="{00000000-0000-0000-0000-000000000000}"/>
          </ac:spMkLst>
        </pc:spChg>
        <pc:spChg chg="del">
          <ac:chgData name="Kebba Jeng" userId="fe4cc296-ba7d-48a2-8799-89b58d218255" providerId="ADAL" clId="{388EFDEE-447E-42B4-98EF-30C01AB2E8CD}" dt="2022-03-28T06:43:22.341" v="86" actId="478"/>
          <ac:spMkLst>
            <pc:docMk/>
            <pc:sldMk cId="0" sldId="262"/>
            <ac:spMk id="1635" creationId="{00000000-0000-0000-0000-000000000000}"/>
          </ac:spMkLst>
        </pc:spChg>
        <pc:spChg chg="del">
          <ac:chgData name="Kebba Jeng" userId="fe4cc296-ba7d-48a2-8799-89b58d218255" providerId="ADAL" clId="{388EFDEE-447E-42B4-98EF-30C01AB2E8CD}" dt="2022-03-28T06:43:22.341" v="86" actId="478"/>
          <ac:spMkLst>
            <pc:docMk/>
            <pc:sldMk cId="0" sldId="262"/>
            <ac:spMk id="1636" creationId="{00000000-0000-0000-0000-000000000000}"/>
          </ac:spMkLst>
        </pc:spChg>
        <pc:spChg chg="del">
          <ac:chgData name="Kebba Jeng" userId="fe4cc296-ba7d-48a2-8799-89b58d218255" providerId="ADAL" clId="{388EFDEE-447E-42B4-98EF-30C01AB2E8CD}" dt="2022-03-28T06:43:22.341" v="86" actId="478"/>
          <ac:spMkLst>
            <pc:docMk/>
            <pc:sldMk cId="0" sldId="262"/>
            <ac:spMk id="1637" creationId="{00000000-0000-0000-0000-000000000000}"/>
          </ac:spMkLst>
        </pc:spChg>
        <pc:spChg chg="del">
          <ac:chgData name="Kebba Jeng" userId="fe4cc296-ba7d-48a2-8799-89b58d218255" providerId="ADAL" clId="{388EFDEE-447E-42B4-98EF-30C01AB2E8CD}" dt="2022-03-28T06:43:22.341" v="86" actId="478"/>
          <ac:spMkLst>
            <pc:docMk/>
            <pc:sldMk cId="0" sldId="262"/>
            <ac:spMk id="1638" creationId="{00000000-0000-0000-0000-000000000000}"/>
          </ac:spMkLst>
        </pc:spChg>
        <pc:spChg chg="del">
          <ac:chgData name="Kebba Jeng" userId="fe4cc296-ba7d-48a2-8799-89b58d218255" providerId="ADAL" clId="{388EFDEE-447E-42B4-98EF-30C01AB2E8CD}" dt="2022-03-28T06:43:22.341" v="86" actId="478"/>
          <ac:spMkLst>
            <pc:docMk/>
            <pc:sldMk cId="0" sldId="262"/>
            <ac:spMk id="1639" creationId="{00000000-0000-0000-0000-000000000000}"/>
          </ac:spMkLst>
        </pc:spChg>
        <pc:spChg chg="del">
          <ac:chgData name="Kebba Jeng" userId="fe4cc296-ba7d-48a2-8799-89b58d218255" providerId="ADAL" clId="{388EFDEE-447E-42B4-98EF-30C01AB2E8CD}" dt="2022-03-28T06:43:22.341" v="86" actId="478"/>
          <ac:spMkLst>
            <pc:docMk/>
            <pc:sldMk cId="0" sldId="262"/>
            <ac:spMk id="1640" creationId="{00000000-0000-0000-0000-000000000000}"/>
          </ac:spMkLst>
        </pc:spChg>
        <pc:spChg chg="del">
          <ac:chgData name="Kebba Jeng" userId="fe4cc296-ba7d-48a2-8799-89b58d218255" providerId="ADAL" clId="{388EFDEE-447E-42B4-98EF-30C01AB2E8CD}" dt="2022-03-28T06:43:22.341" v="86" actId="478"/>
          <ac:spMkLst>
            <pc:docMk/>
            <pc:sldMk cId="0" sldId="262"/>
            <ac:spMk id="1641" creationId="{00000000-0000-0000-0000-000000000000}"/>
          </ac:spMkLst>
        </pc:spChg>
        <pc:spChg chg="del">
          <ac:chgData name="Kebba Jeng" userId="fe4cc296-ba7d-48a2-8799-89b58d218255" providerId="ADAL" clId="{388EFDEE-447E-42B4-98EF-30C01AB2E8CD}" dt="2022-03-28T06:43:22.341" v="86" actId="478"/>
          <ac:spMkLst>
            <pc:docMk/>
            <pc:sldMk cId="0" sldId="262"/>
            <ac:spMk id="1642" creationId="{00000000-0000-0000-0000-000000000000}"/>
          </ac:spMkLst>
        </pc:spChg>
        <pc:spChg chg="del">
          <ac:chgData name="Kebba Jeng" userId="fe4cc296-ba7d-48a2-8799-89b58d218255" providerId="ADAL" clId="{388EFDEE-447E-42B4-98EF-30C01AB2E8CD}" dt="2022-03-28T06:43:22.341" v="86" actId="478"/>
          <ac:spMkLst>
            <pc:docMk/>
            <pc:sldMk cId="0" sldId="262"/>
            <ac:spMk id="1643" creationId="{00000000-0000-0000-0000-000000000000}"/>
          </ac:spMkLst>
        </pc:spChg>
        <pc:spChg chg="del">
          <ac:chgData name="Kebba Jeng" userId="fe4cc296-ba7d-48a2-8799-89b58d218255" providerId="ADAL" clId="{388EFDEE-447E-42B4-98EF-30C01AB2E8CD}" dt="2022-03-28T06:43:22.341" v="86" actId="478"/>
          <ac:spMkLst>
            <pc:docMk/>
            <pc:sldMk cId="0" sldId="262"/>
            <ac:spMk id="1644" creationId="{00000000-0000-0000-0000-000000000000}"/>
          </ac:spMkLst>
        </pc:spChg>
        <pc:spChg chg="del">
          <ac:chgData name="Kebba Jeng" userId="fe4cc296-ba7d-48a2-8799-89b58d218255" providerId="ADAL" clId="{388EFDEE-447E-42B4-98EF-30C01AB2E8CD}" dt="2022-03-28T06:43:22.341" v="86" actId="478"/>
          <ac:spMkLst>
            <pc:docMk/>
            <pc:sldMk cId="0" sldId="262"/>
            <ac:spMk id="1645" creationId="{00000000-0000-0000-0000-000000000000}"/>
          </ac:spMkLst>
        </pc:spChg>
        <pc:spChg chg="del">
          <ac:chgData name="Kebba Jeng" userId="fe4cc296-ba7d-48a2-8799-89b58d218255" providerId="ADAL" clId="{388EFDEE-447E-42B4-98EF-30C01AB2E8CD}" dt="2022-03-28T06:43:22.341" v="86" actId="478"/>
          <ac:spMkLst>
            <pc:docMk/>
            <pc:sldMk cId="0" sldId="262"/>
            <ac:spMk id="1646" creationId="{00000000-0000-0000-0000-000000000000}"/>
          </ac:spMkLst>
        </pc:spChg>
        <pc:spChg chg="del">
          <ac:chgData name="Kebba Jeng" userId="fe4cc296-ba7d-48a2-8799-89b58d218255" providerId="ADAL" clId="{388EFDEE-447E-42B4-98EF-30C01AB2E8CD}" dt="2022-03-28T06:43:22.341" v="86" actId="478"/>
          <ac:spMkLst>
            <pc:docMk/>
            <pc:sldMk cId="0" sldId="262"/>
            <ac:spMk id="1647" creationId="{00000000-0000-0000-0000-000000000000}"/>
          </ac:spMkLst>
        </pc:spChg>
        <pc:spChg chg="del">
          <ac:chgData name="Kebba Jeng" userId="fe4cc296-ba7d-48a2-8799-89b58d218255" providerId="ADAL" clId="{388EFDEE-447E-42B4-98EF-30C01AB2E8CD}" dt="2022-03-28T06:43:22.341" v="86" actId="478"/>
          <ac:spMkLst>
            <pc:docMk/>
            <pc:sldMk cId="0" sldId="262"/>
            <ac:spMk id="1648" creationId="{00000000-0000-0000-0000-000000000000}"/>
          </ac:spMkLst>
        </pc:spChg>
        <pc:spChg chg="del">
          <ac:chgData name="Kebba Jeng" userId="fe4cc296-ba7d-48a2-8799-89b58d218255" providerId="ADAL" clId="{388EFDEE-447E-42B4-98EF-30C01AB2E8CD}" dt="2022-03-28T06:43:22.341" v="86" actId="478"/>
          <ac:spMkLst>
            <pc:docMk/>
            <pc:sldMk cId="0" sldId="262"/>
            <ac:spMk id="1649" creationId="{00000000-0000-0000-0000-000000000000}"/>
          </ac:spMkLst>
        </pc:spChg>
        <pc:spChg chg="del">
          <ac:chgData name="Kebba Jeng" userId="fe4cc296-ba7d-48a2-8799-89b58d218255" providerId="ADAL" clId="{388EFDEE-447E-42B4-98EF-30C01AB2E8CD}" dt="2022-03-28T06:43:22.341" v="86" actId="478"/>
          <ac:spMkLst>
            <pc:docMk/>
            <pc:sldMk cId="0" sldId="262"/>
            <ac:spMk id="1650" creationId="{00000000-0000-0000-0000-000000000000}"/>
          </ac:spMkLst>
        </pc:spChg>
        <pc:spChg chg="del">
          <ac:chgData name="Kebba Jeng" userId="fe4cc296-ba7d-48a2-8799-89b58d218255" providerId="ADAL" clId="{388EFDEE-447E-42B4-98EF-30C01AB2E8CD}" dt="2022-03-28T06:43:22.341" v="86" actId="478"/>
          <ac:spMkLst>
            <pc:docMk/>
            <pc:sldMk cId="0" sldId="262"/>
            <ac:spMk id="1651" creationId="{00000000-0000-0000-0000-000000000000}"/>
          </ac:spMkLst>
        </pc:spChg>
        <pc:spChg chg="del">
          <ac:chgData name="Kebba Jeng" userId="fe4cc296-ba7d-48a2-8799-89b58d218255" providerId="ADAL" clId="{388EFDEE-447E-42B4-98EF-30C01AB2E8CD}" dt="2022-03-28T06:43:22.341" v="86" actId="478"/>
          <ac:spMkLst>
            <pc:docMk/>
            <pc:sldMk cId="0" sldId="262"/>
            <ac:spMk id="1652" creationId="{00000000-0000-0000-0000-000000000000}"/>
          </ac:spMkLst>
        </pc:spChg>
        <pc:spChg chg="del">
          <ac:chgData name="Kebba Jeng" userId="fe4cc296-ba7d-48a2-8799-89b58d218255" providerId="ADAL" clId="{388EFDEE-447E-42B4-98EF-30C01AB2E8CD}" dt="2022-03-28T06:43:22.341" v="86" actId="478"/>
          <ac:spMkLst>
            <pc:docMk/>
            <pc:sldMk cId="0" sldId="262"/>
            <ac:spMk id="1653" creationId="{00000000-0000-0000-0000-000000000000}"/>
          </ac:spMkLst>
        </pc:spChg>
        <pc:spChg chg="del">
          <ac:chgData name="Kebba Jeng" userId="fe4cc296-ba7d-48a2-8799-89b58d218255" providerId="ADAL" clId="{388EFDEE-447E-42B4-98EF-30C01AB2E8CD}" dt="2022-03-28T06:43:22.341" v="86" actId="478"/>
          <ac:spMkLst>
            <pc:docMk/>
            <pc:sldMk cId="0" sldId="262"/>
            <ac:spMk id="1654" creationId="{00000000-0000-0000-0000-000000000000}"/>
          </ac:spMkLst>
        </pc:spChg>
        <pc:spChg chg="del">
          <ac:chgData name="Kebba Jeng" userId="fe4cc296-ba7d-48a2-8799-89b58d218255" providerId="ADAL" clId="{388EFDEE-447E-42B4-98EF-30C01AB2E8CD}" dt="2022-03-28T06:43:22.341" v="86" actId="478"/>
          <ac:spMkLst>
            <pc:docMk/>
            <pc:sldMk cId="0" sldId="262"/>
            <ac:spMk id="1655" creationId="{00000000-0000-0000-0000-000000000000}"/>
          </ac:spMkLst>
        </pc:spChg>
        <pc:spChg chg="del">
          <ac:chgData name="Kebba Jeng" userId="fe4cc296-ba7d-48a2-8799-89b58d218255" providerId="ADAL" clId="{388EFDEE-447E-42B4-98EF-30C01AB2E8CD}" dt="2022-03-28T06:43:22.341" v="86" actId="478"/>
          <ac:spMkLst>
            <pc:docMk/>
            <pc:sldMk cId="0" sldId="262"/>
            <ac:spMk id="1656" creationId="{00000000-0000-0000-0000-000000000000}"/>
          </ac:spMkLst>
        </pc:spChg>
        <pc:spChg chg="del">
          <ac:chgData name="Kebba Jeng" userId="fe4cc296-ba7d-48a2-8799-89b58d218255" providerId="ADAL" clId="{388EFDEE-447E-42B4-98EF-30C01AB2E8CD}" dt="2022-03-28T06:43:22.341" v="86" actId="478"/>
          <ac:spMkLst>
            <pc:docMk/>
            <pc:sldMk cId="0" sldId="262"/>
            <ac:spMk id="1657" creationId="{00000000-0000-0000-0000-000000000000}"/>
          </ac:spMkLst>
        </pc:spChg>
        <pc:spChg chg="del">
          <ac:chgData name="Kebba Jeng" userId="fe4cc296-ba7d-48a2-8799-89b58d218255" providerId="ADAL" clId="{388EFDEE-447E-42B4-98EF-30C01AB2E8CD}" dt="2022-03-28T06:43:22.341" v="86" actId="478"/>
          <ac:spMkLst>
            <pc:docMk/>
            <pc:sldMk cId="0" sldId="262"/>
            <ac:spMk id="1658" creationId="{00000000-0000-0000-0000-000000000000}"/>
          </ac:spMkLst>
        </pc:spChg>
        <pc:spChg chg="del">
          <ac:chgData name="Kebba Jeng" userId="fe4cc296-ba7d-48a2-8799-89b58d218255" providerId="ADAL" clId="{388EFDEE-447E-42B4-98EF-30C01AB2E8CD}" dt="2022-03-28T06:43:22.341" v="86" actId="478"/>
          <ac:spMkLst>
            <pc:docMk/>
            <pc:sldMk cId="0" sldId="262"/>
            <ac:spMk id="1659" creationId="{00000000-0000-0000-0000-000000000000}"/>
          </ac:spMkLst>
        </pc:spChg>
        <pc:spChg chg="del">
          <ac:chgData name="Kebba Jeng" userId="fe4cc296-ba7d-48a2-8799-89b58d218255" providerId="ADAL" clId="{388EFDEE-447E-42B4-98EF-30C01AB2E8CD}" dt="2022-03-28T06:43:22.341" v="86" actId="478"/>
          <ac:spMkLst>
            <pc:docMk/>
            <pc:sldMk cId="0" sldId="262"/>
            <ac:spMk id="1660" creationId="{00000000-0000-0000-0000-000000000000}"/>
          </ac:spMkLst>
        </pc:spChg>
        <pc:spChg chg="del">
          <ac:chgData name="Kebba Jeng" userId="fe4cc296-ba7d-48a2-8799-89b58d218255" providerId="ADAL" clId="{388EFDEE-447E-42B4-98EF-30C01AB2E8CD}" dt="2022-03-28T06:43:22.341" v="86" actId="478"/>
          <ac:spMkLst>
            <pc:docMk/>
            <pc:sldMk cId="0" sldId="262"/>
            <ac:spMk id="1661" creationId="{00000000-0000-0000-0000-000000000000}"/>
          </ac:spMkLst>
        </pc:spChg>
        <pc:spChg chg="del">
          <ac:chgData name="Kebba Jeng" userId="fe4cc296-ba7d-48a2-8799-89b58d218255" providerId="ADAL" clId="{388EFDEE-447E-42B4-98EF-30C01AB2E8CD}" dt="2022-03-28T06:43:22.341" v="86" actId="478"/>
          <ac:spMkLst>
            <pc:docMk/>
            <pc:sldMk cId="0" sldId="262"/>
            <ac:spMk id="1662" creationId="{00000000-0000-0000-0000-000000000000}"/>
          </ac:spMkLst>
        </pc:spChg>
        <pc:spChg chg="del">
          <ac:chgData name="Kebba Jeng" userId="fe4cc296-ba7d-48a2-8799-89b58d218255" providerId="ADAL" clId="{388EFDEE-447E-42B4-98EF-30C01AB2E8CD}" dt="2022-03-28T06:43:22.341" v="86" actId="478"/>
          <ac:spMkLst>
            <pc:docMk/>
            <pc:sldMk cId="0" sldId="262"/>
            <ac:spMk id="1663" creationId="{00000000-0000-0000-0000-000000000000}"/>
          </ac:spMkLst>
        </pc:spChg>
        <pc:spChg chg="del">
          <ac:chgData name="Kebba Jeng" userId="fe4cc296-ba7d-48a2-8799-89b58d218255" providerId="ADAL" clId="{388EFDEE-447E-42B4-98EF-30C01AB2E8CD}" dt="2022-03-28T06:43:22.341" v="86" actId="478"/>
          <ac:spMkLst>
            <pc:docMk/>
            <pc:sldMk cId="0" sldId="262"/>
            <ac:spMk id="1664" creationId="{00000000-0000-0000-0000-000000000000}"/>
          </ac:spMkLst>
        </pc:spChg>
        <pc:spChg chg="del">
          <ac:chgData name="Kebba Jeng" userId="fe4cc296-ba7d-48a2-8799-89b58d218255" providerId="ADAL" clId="{388EFDEE-447E-42B4-98EF-30C01AB2E8CD}" dt="2022-03-28T06:43:22.341" v="86" actId="478"/>
          <ac:spMkLst>
            <pc:docMk/>
            <pc:sldMk cId="0" sldId="262"/>
            <ac:spMk id="1665" creationId="{00000000-0000-0000-0000-000000000000}"/>
          </ac:spMkLst>
        </pc:spChg>
        <pc:spChg chg="del">
          <ac:chgData name="Kebba Jeng" userId="fe4cc296-ba7d-48a2-8799-89b58d218255" providerId="ADAL" clId="{388EFDEE-447E-42B4-98EF-30C01AB2E8CD}" dt="2022-03-28T06:43:22.341" v="86" actId="478"/>
          <ac:spMkLst>
            <pc:docMk/>
            <pc:sldMk cId="0" sldId="262"/>
            <ac:spMk id="1666" creationId="{00000000-0000-0000-0000-000000000000}"/>
          </ac:spMkLst>
        </pc:spChg>
        <pc:spChg chg="del">
          <ac:chgData name="Kebba Jeng" userId="fe4cc296-ba7d-48a2-8799-89b58d218255" providerId="ADAL" clId="{388EFDEE-447E-42B4-98EF-30C01AB2E8CD}" dt="2022-03-28T06:43:22.341" v="86" actId="478"/>
          <ac:spMkLst>
            <pc:docMk/>
            <pc:sldMk cId="0" sldId="262"/>
            <ac:spMk id="1667" creationId="{00000000-0000-0000-0000-000000000000}"/>
          </ac:spMkLst>
        </pc:spChg>
        <pc:spChg chg="del">
          <ac:chgData name="Kebba Jeng" userId="fe4cc296-ba7d-48a2-8799-89b58d218255" providerId="ADAL" clId="{388EFDEE-447E-42B4-98EF-30C01AB2E8CD}" dt="2022-03-28T06:43:22.341" v="86" actId="478"/>
          <ac:spMkLst>
            <pc:docMk/>
            <pc:sldMk cId="0" sldId="262"/>
            <ac:spMk id="1668" creationId="{00000000-0000-0000-0000-000000000000}"/>
          </ac:spMkLst>
        </pc:spChg>
        <pc:spChg chg="del">
          <ac:chgData name="Kebba Jeng" userId="fe4cc296-ba7d-48a2-8799-89b58d218255" providerId="ADAL" clId="{388EFDEE-447E-42B4-98EF-30C01AB2E8CD}" dt="2022-03-28T06:43:22.341" v="86" actId="478"/>
          <ac:spMkLst>
            <pc:docMk/>
            <pc:sldMk cId="0" sldId="262"/>
            <ac:spMk id="1669" creationId="{00000000-0000-0000-0000-000000000000}"/>
          </ac:spMkLst>
        </pc:spChg>
        <pc:spChg chg="del">
          <ac:chgData name="Kebba Jeng" userId="fe4cc296-ba7d-48a2-8799-89b58d218255" providerId="ADAL" clId="{388EFDEE-447E-42B4-98EF-30C01AB2E8CD}" dt="2022-03-28T06:43:22.341" v="86" actId="478"/>
          <ac:spMkLst>
            <pc:docMk/>
            <pc:sldMk cId="0" sldId="262"/>
            <ac:spMk id="1670" creationId="{00000000-0000-0000-0000-000000000000}"/>
          </ac:spMkLst>
        </pc:spChg>
        <pc:spChg chg="del">
          <ac:chgData name="Kebba Jeng" userId="fe4cc296-ba7d-48a2-8799-89b58d218255" providerId="ADAL" clId="{388EFDEE-447E-42B4-98EF-30C01AB2E8CD}" dt="2022-03-28T06:43:22.341" v="86" actId="478"/>
          <ac:spMkLst>
            <pc:docMk/>
            <pc:sldMk cId="0" sldId="262"/>
            <ac:spMk id="1671" creationId="{00000000-0000-0000-0000-000000000000}"/>
          </ac:spMkLst>
        </pc:spChg>
        <pc:spChg chg="del">
          <ac:chgData name="Kebba Jeng" userId="fe4cc296-ba7d-48a2-8799-89b58d218255" providerId="ADAL" clId="{388EFDEE-447E-42B4-98EF-30C01AB2E8CD}" dt="2022-03-28T06:43:22.341" v="86" actId="478"/>
          <ac:spMkLst>
            <pc:docMk/>
            <pc:sldMk cId="0" sldId="262"/>
            <ac:spMk id="1672" creationId="{00000000-0000-0000-0000-000000000000}"/>
          </ac:spMkLst>
        </pc:spChg>
        <pc:spChg chg="del">
          <ac:chgData name="Kebba Jeng" userId="fe4cc296-ba7d-48a2-8799-89b58d218255" providerId="ADAL" clId="{388EFDEE-447E-42B4-98EF-30C01AB2E8CD}" dt="2022-03-28T06:43:22.341" v="86" actId="478"/>
          <ac:spMkLst>
            <pc:docMk/>
            <pc:sldMk cId="0" sldId="262"/>
            <ac:spMk id="1673" creationId="{00000000-0000-0000-0000-000000000000}"/>
          </ac:spMkLst>
        </pc:spChg>
        <pc:spChg chg="del">
          <ac:chgData name="Kebba Jeng" userId="fe4cc296-ba7d-48a2-8799-89b58d218255" providerId="ADAL" clId="{388EFDEE-447E-42B4-98EF-30C01AB2E8CD}" dt="2022-03-28T06:43:22.341" v="86" actId="478"/>
          <ac:spMkLst>
            <pc:docMk/>
            <pc:sldMk cId="0" sldId="262"/>
            <ac:spMk id="1674" creationId="{00000000-0000-0000-0000-000000000000}"/>
          </ac:spMkLst>
        </pc:spChg>
        <pc:spChg chg="del">
          <ac:chgData name="Kebba Jeng" userId="fe4cc296-ba7d-48a2-8799-89b58d218255" providerId="ADAL" clId="{388EFDEE-447E-42B4-98EF-30C01AB2E8CD}" dt="2022-03-28T06:43:22.341" v="86" actId="478"/>
          <ac:spMkLst>
            <pc:docMk/>
            <pc:sldMk cId="0" sldId="262"/>
            <ac:spMk id="1675" creationId="{00000000-0000-0000-0000-000000000000}"/>
          </ac:spMkLst>
        </pc:spChg>
        <pc:spChg chg="del">
          <ac:chgData name="Kebba Jeng" userId="fe4cc296-ba7d-48a2-8799-89b58d218255" providerId="ADAL" clId="{388EFDEE-447E-42B4-98EF-30C01AB2E8CD}" dt="2022-03-28T06:43:22.341" v="86" actId="478"/>
          <ac:spMkLst>
            <pc:docMk/>
            <pc:sldMk cId="0" sldId="262"/>
            <ac:spMk id="1676" creationId="{00000000-0000-0000-0000-000000000000}"/>
          </ac:spMkLst>
        </pc:spChg>
        <pc:spChg chg="del">
          <ac:chgData name="Kebba Jeng" userId="fe4cc296-ba7d-48a2-8799-89b58d218255" providerId="ADAL" clId="{388EFDEE-447E-42B4-98EF-30C01AB2E8CD}" dt="2022-03-28T06:43:22.341" v="86" actId="478"/>
          <ac:spMkLst>
            <pc:docMk/>
            <pc:sldMk cId="0" sldId="262"/>
            <ac:spMk id="1677" creationId="{00000000-0000-0000-0000-000000000000}"/>
          </ac:spMkLst>
        </pc:spChg>
        <pc:spChg chg="del">
          <ac:chgData name="Kebba Jeng" userId="fe4cc296-ba7d-48a2-8799-89b58d218255" providerId="ADAL" clId="{388EFDEE-447E-42B4-98EF-30C01AB2E8CD}" dt="2022-03-28T06:43:22.341" v="86" actId="478"/>
          <ac:spMkLst>
            <pc:docMk/>
            <pc:sldMk cId="0" sldId="262"/>
            <ac:spMk id="1678" creationId="{00000000-0000-0000-0000-000000000000}"/>
          </ac:spMkLst>
        </pc:spChg>
        <pc:spChg chg="del">
          <ac:chgData name="Kebba Jeng" userId="fe4cc296-ba7d-48a2-8799-89b58d218255" providerId="ADAL" clId="{388EFDEE-447E-42B4-98EF-30C01AB2E8CD}" dt="2022-03-28T06:43:22.341" v="86" actId="478"/>
          <ac:spMkLst>
            <pc:docMk/>
            <pc:sldMk cId="0" sldId="262"/>
            <ac:spMk id="1679" creationId="{00000000-0000-0000-0000-000000000000}"/>
          </ac:spMkLst>
        </pc:spChg>
        <pc:spChg chg="del">
          <ac:chgData name="Kebba Jeng" userId="fe4cc296-ba7d-48a2-8799-89b58d218255" providerId="ADAL" clId="{388EFDEE-447E-42B4-98EF-30C01AB2E8CD}" dt="2022-03-28T06:43:22.341" v="86" actId="478"/>
          <ac:spMkLst>
            <pc:docMk/>
            <pc:sldMk cId="0" sldId="262"/>
            <ac:spMk id="1680" creationId="{00000000-0000-0000-0000-000000000000}"/>
          </ac:spMkLst>
        </pc:spChg>
        <pc:spChg chg="del">
          <ac:chgData name="Kebba Jeng" userId="fe4cc296-ba7d-48a2-8799-89b58d218255" providerId="ADAL" clId="{388EFDEE-447E-42B4-98EF-30C01AB2E8CD}" dt="2022-03-28T06:43:22.341" v="86" actId="478"/>
          <ac:spMkLst>
            <pc:docMk/>
            <pc:sldMk cId="0" sldId="262"/>
            <ac:spMk id="1681" creationId="{00000000-0000-0000-0000-000000000000}"/>
          </ac:spMkLst>
        </pc:spChg>
        <pc:spChg chg="del">
          <ac:chgData name="Kebba Jeng" userId="fe4cc296-ba7d-48a2-8799-89b58d218255" providerId="ADAL" clId="{388EFDEE-447E-42B4-98EF-30C01AB2E8CD}" dt="2022-03-28T06:43:22.341" v="86" actId="478"/>
          <ac:spMkLst>
            <pc:docMk/>
            <pc:sldMk cId="0" sldId="262"/>
            <ac:spMk id="1682" creationId="{00000000-0000-0000-0000-000000000000}"/>
          </ac:spMkLst>
        </pc:spChg>
        <pc:spChg chg="del">
          <ac:chgData name="Kebba Jeng" userId="fe4cc296-ba7d-48a2-8799-89b58d218255" providerId="ADAL" clId="{388EFDEE-447E-42B4-98EF-30C01AB2E8CD}" dt="2022-03-28T06:43:22.341" v="86" actId="478"/>
          <ac:spMkLst>
            <pc:docMk/>
            <pc:sldMk cId="0" sldId="262"/>
            <ac:spMk id="1683" creationId="{00000000-0000-0000-0000-000000000000}"/>
          </ac:spMkLst>
        </pc:spChg>
        <pc:spChg chg="del">
          <ac:chgData name="Kebba Jeng" userId="fe4cc296-ba7d-48a2-8799-89b58d218255" providerId="ADAL" clId="{388EFDEE-447E-42B4-98EF-30C01AB2E8CD}" dt="2022-03-28T06:43:22.341" v="86" actId="478"/>
          <ac:spMkLst>
            <pc:docMk/>
            <pc:sldMk cId="0" sldId="262"/>
            <ac:spMk id="1684" creationId="{00000000-0000-0000-0000-000000000000}"/>
          </ac:spMkLst>
        </pc:spChg>
        <pc:spChg chg="del">
          <ac:chgData name="Kebba Jeng" userId="fe4cc296-ba7d-48a2-8799-89b58d218255" providerId="ADAL" clId="{388EFDEE-447E-42B4-98EF-30C01AB2E8CD}" dt="2022-03-28T06:43:22.341" v="86" actId="478"/>
          <ac:spMkLst>
            <pc:docMk/>
            <pc:sldMk cId="0" sldId="262"/>
            <ac:spMk id="1685" creationId="{00000000-0000-0000-0000-000000000000}"/>
          </ac:spMkLst>
        </pc:spChg>
        <pc:spChg chg="del">
          <ac:chgData name="Kebba Jeng" userId="fe4cc296-ba7d-48a2-8799-89b58d218255" providerId="ADAL" clId="{388EFDEE-447E-42B4-98EF-30C01AB2E8CD}" dt="2022-03-28T06:43:22.341" v="86" actId="478"/>
          <ac:spMkLst>
            <pc:docMk/>
            <pc:sldMk cId="0" sldId="262"/>
            <ac:spMk id="1686" creationId="{00000000-0000-0000-0000-000000000000}"/>
          </ac:spMkLst>
        </pc:spChg>
        <pc:spChg chg="del">
          <ac:chgData name="Kebba Jeng" userId="fe4cc296-ba7d-48a2-8799-89b58d218255" providerId="ADAL" clId="{388EFDEE-447E-42B4-98EF-30C01AB2E8CD}" dt="2022-03-28T06:43:22.341" v="86" actId="478"/>
          <ac:spMkLst>
            <pc:docMk/>
            <pc:sldMk cId="0" sldId="262"/>
            <ac:spMk id="1687" creationId="{00000000-0000-0000-0000-000000000000}"/>
          </ac:spMkLst>
        </pc:spChg>
        <pc:spChg chg="del">
          <ac:chgData name="Kebba Jeng" userId="fe4cc296-ba7d-48a2-8799-89b58d218255" providerId="ADAL" clId="{388EFDEE-447E-42B4-98EF-30C01AB2E8CD}" dt="2022-03-28T06:43:22.341" v="86" actId="478"/>
          <ac:spMkLst>
            <pc:docMk/>
            <pc:sldMk cId="0" sldId="262"/>
            <ac:spMk id="1688" creationId="{00000000-0000-0000-0000-000000000000}"/>
          </ac:spMkLst>
        </pc:spChg>
        <pc:spChg chg="del">
          <ac:chgData name="Kebba Jeng" userId="fe4cc296-ba7d-48a2-8799-89b58d218255" providerId="ADAL" clId="{388EFDEE-447E-42B4-98EF-30C01AB2E8CD}" dt="2022-03-28T06:43:22.341" v="86" actId="478"/>
          <ac:spMkLst>
            <pc:docMk/>
            <pc:sldMk cId="0" sldId="262"/>
            <ac:spMk id="1689" creationId="{00000000-0000-0000-0000-000000000000}"/>
          </ac:spMkLst>
        </pc:spChg>
        <pc:spChg chg="del">
          <ac:chgData name="Kebba Jeng" userId="fe4cc296-ba7d-48a2-8799-89b58d218255" providerId="ADAL" clId="{388EFDEE-447E-42B4-98EF-30C01AB2E8CD}" dt="2022-03-28T06:43:22.341" v="86" actId="478"/>
          <ac:spMkLst>
            <pc:docMk/>
            <pc:sldMk cId="0" sldId="262"/>
            <ac:spMk id="1690" creationId="{00000000-0000-0000-0000-000000000000}"/>
          </ac:spMkLst>
        </pc:spChg>
        <pc:spChg chg="del">
          <ac:chgData name="Kebba Jeng" userId="fe4cc296-ba7d-48a2-8799-89b58d218255" providerId="ADAL" clId="{388EFDEE-447E-42B4-98EF-30C01AB2E8CD}" dt="2022-03-28T06:43:22.341" v="86" actId="478"/>
          <ac:spMkLst>
            <pc:docMk/>
            <pc:sldMk cId="0" sldId="262"/>
            <ac:spMk id="1691" creationId="{00000000-0000-0000-0000-000000000000}"/>
          </ac:spMkLst>
        </pc:spChg>
        <pc:spChg chg="del">
          <ac:chgData name="Kebba Jeng" userId="fe4cc296-ba7d-48a2-8799-89b58d218255" providerId="ADAL" clId="{388EFDEE-447E-42B4-98EF-30C01AB2E8CD}" dt="2022-03-28T06:43:22.341" v="86" actId="478"/>
          <ac:spMkLst>
            <pc:docMk/>
            <pc:sldMk cId="0" sldId="262"/>
            <ac:spMk id="1692" creationId="{00000000-0000-0000-0000-000000000000}"/>
          </ac:spMkLst>
        </pc:spChg>
        <pc:spChg chg="del">
          <ac:chgData name="Kebba Jeng" userId="fe4cc296-ba7d-48a2-8799-89b58d218255" providerId="ADAL" clId="{388EFDEE-447E-42B4-98EF-30C01AB2E8CD}" dt="2022-03-28T06:43:22.341" v="86" actId="478"/>
          <ac:spMkLst>
            <pc:docMk/>
            <pc:sldMk cId="0" sldId="262"/>
            <ac:spMk id="1693" creationId="{00000000-0000-0000-0000-000000000000}"/>
          </ac:spMkLst>
        </pc:spChg>
        <pc:spChg chg="del">
          <ac:chgData name="Kebba Jeng" userId="fe4cc296-ba7d-48a2-8799-89b58d218255" providerId="ADAL" clId="{388EFDEE-447E-42B4-98EF-30C01AB2E8CD}" dt="2022-03-28T06:43:22.341" v="86" actId="478"/>
          <ac:spMkLst>
            <pc:docMk/>
            <pc:sldMk cId="0" sldId="262"/>
            <ac:spMk id="1694" creationId="{00000000-0000-0000-0000-000000000000}"/>
          </ac:spMkLst>
        </pc:spChg>
        <pc:spChg chg="mod">
          <ac:chgData name="Kebba Jeng" userId="fe4cc296-ba7d-48a2-8799-89b58d218255" providerId="ADAL" clId="{388EFDEE-447E-42B4-98EF-30C01AB2E8CD}" dt="2022-03-28T06:43:17.409" v="85" actId="20577"/>
          <ac:spMkLst>
            <pc:docMk/>
            <pc:sldMk cId="0" sldId="262"/>
            <ac:spMk id="1695" creationId="{00000000-0000-0000-0000-000000000000}"/>
          </ac:spMkLst>
        </pc:spChg>
      </pc:sldChg>
      <pc:sldChg chg="del ord">
        <pc:chgData name="Kebba Jeng" userId="fe4cc296-ba7d-48a2-8799-89b58d218255" providerId="ADAL" clId="{388EFDEE-447E-42B4-98EF-30C01AB2E8CD}" dt="2022-03-28T20:23:17.735" v="4866" actId="47"/>
        <pc:sldMkLst>
          <pc:docMk/>
          <pc:sldMk cId="0" sldId="263"/>
        </pc:sldMkLst>
      </pc:sldChg>
      <pc:sldChg chg="addSp modSp ord">
        <pc:chgData name="Kebba Jeng" userId="fe4cc296-ba7d-48a2-8799-89b58d218255" providerId="ADAL" clId="{388EFDEE-447E-42B4-98EF-30C01AB2E8CD}" dt="2022-03-28T19:11:21.635" v="3627"/>
        <pc:sldMkLst>
          <pc:docMk/>
          <pc:sldMk cId="0" sldId="264"/>
        </pc:sldMkLst>
        <pc:spChg chg="add mod">
          <ac:chgData name="Kebba Jeng" userId="fe4cc296-ba7d-48a2-8799-89b58d218255" providerId="ADAL" clId="{388EFDEE-447E-42B4-98EF-30C01AB2E8CD}" dt="2022-03-28T06:38:00.163" v="47"/>
          <ac:spMkLst>
            <pc:docMk/>
            <pc:sldMk cId="0" sldId="264"/>
            <ac:spMk id="4" creationId="{57A5AB6F-234B-49EA-A969-45898D887BE7}"/>
          </ac:spMkLst>
        </pc:spChg>
      </pc:sldChg>
      <pc:sldChg chg="addSp delSp modSp mod ord">
        <pc:chgData name="Kebba Jeng" userId="fe4cc296-ba7d-48a2-8799-89b58d218255" providerId="ADAL" clId="{388EFDEE-447E-42B4-98EF-30C01AB2E8CD}" dt="2022-03-29T19:26:22.269" v="6224" actId="20577"/>
        <pc:sldMkLst>
          <pc:docMk/>
          <pc:sldMk cId="0" sldId="265"/>
        </pc:sldMkLst>
        <pc:spChg chg="add mod">
          <ac:chgData name="Kebba Jeng" userId="fe4cc296-ba7d-48a2-8799-89b58d218255" providerId="ADAL" clId="{388EFDEE-447E-42B4-98EF-30C01AB2E8CD}" dt="2022-03-29T19:26:22.269" v="6224" actId="20577"/>
          <ac:spMkLst>
            <pc:docMk/>
            <pc:sldMk cId="0" sldId="265"/>
            <ac:spMk id="18" creationId="{78814215-0367-481C-9C55-4D1E578BA9A6}"/>
          </ac:spMkLst>
        </pc:spChg>
        <pc:spChg chg="add del mod">
          <ac:chgData name="Kebba Jeng" userId="fe4cc296-ba7d-48a2-8799-89b58d218255" providerId="ADAL" clId="{388EFDEE-447E-42B4-98EF-30C01AB2E8CD}" dt="2022-03-28T19:23:42.218" v="3978" actId="478"/>
          <ac:spMkLst>
            <pc:docMk/>
            <pc:sldMk cId="0" sldId="265"/>
            <ac:spMk id="19" creationId="{4FD7642C-D224-4601-9886-17A950AC3206}"/>
          </ac:spMkLst>
        </pc:spChg>
        <pc:spChg chg="add mod">
          <ac:chgData name="Kebba Jeng" userId="fe4cc296-ba7d-48a2-8799-89b58d218255" providerId="ADAL" clId="{388EFDEE-447E-42B4-98EF-30C01AB2E8CD}" dt="2022-03-28T19:23:55.760" v="3980"/>
          <ac:spMkLst>
            <pc:docMk/>
            <pc:sldMk cId="0" sldId="265"/>
            <ac:spMk id="20" creationId="{2F7A877E-2FC2-4416-A6E9-AB0B278A0115}"/>
          </ac:spMkLst>
        </pc:spChg>
        <pc:spChg chg="add mod">
          <ac:chgData name="Kebba Jeng" userId="fe4cc296-ba7d-48a2-8799-89b58d218255" providerId="ADAL" clId="{388EFDEE-447E-42B4-98EF-30C01AB2E8CD}" dt="2022-03-28T20:28:51.108" v="4940"/>
          <ac:spMkLst>
            <pc:docMk/>
            <pc:sldMk cId="0" sldId="265"/>
            <ac:spMk id="21" creationId="{A5D58EE7-4F8C-4113-BC04-BE70374C11FF}"/>
          </ac:spMkLst>
        </pc:spChg>
        <pc:spChg chg="add del mod">
          <ac:chgData name="Kebba Jeng" userId="fe4cc296-ba7d-48a2-8799-89b58d218255" providerId="ADAL" clId="{388EFDEE-447E-42B4-98EF-30C01AB2E8CD}" dt="2022-03-29T19:26:00.058" v="6214" actId="478"/>
          <ac:spMkLst>
            <pc:docMk/>
            <pc:sldMk cId="0" sldId="265"/>
            <ac:spMk id="22" creationId="{E44D2B53-E7E7-4207-9757-74ACDC6D5833}"/>
          </ac:spMkLst>
        </pc:spChg>
        <pc:spChg chg="del">
          <ac:chgData name="Kebba Jeng" userId="fe4cc296-ba7d-48a2-8799-89b58d218255" providerId="ADAL" clId="{388EFDEE-447E-42B4-98EF-30C01AB2E8CD}" dt="2022-03-28T06:36:16.803" v="11" actId="478"/>
          <ac:spMkLst>
            <pc:docMk/>
            <pc:sldMk cId="0" sldId="265"/>
            <ac:spMk id="1702" creationId="{00000000-0000-0000-0000-000000000000}"/>
          </ac:spMkLst>
        </pc:spChg>
        <pc:spChg chg="del">
          <ac:chgData name="Kebba Jeng" userId="fe4cc296-ba7d-48a2-8799-89b58d218255" providerId="ADAL" clId="{388EFDEE-447E-42B4-98EF-30C01AB2E8CD}" dt="2022-03-28T19:23:42.218" v="3978" actId="478"/>
          <ac:spMkLst>
            <pc:docMk/>
            <pc:sldMk cId="0" sldId="265"/>
            <ac:spMk id="1703" creationId="{00000000-0000-0000-0000-000000000000}"/>
          </ac:spMkLst>
        </pc:spChg>
        <pc:spChg chg="del">
          <ac:chgData name="Kebba Jeng" userId="fe4cc296-ba7d-48a2-8799-89b58d218255" providerId="ADAL" clId="{388EFDEE-447E-42B4-98EF-30C01AB2E8CD}" dt="2022-03-28T19:23:42.218" v="3978" actId="478"/>
          <ac:spMkLst>
            <pc:docMk/>
            <pc:sldMk cId="0" sldId="265"/>
            <ac:spMk id="1704" creationId="{00000000-0000-0000-0000-000000000000}"/>
          </ac:spMkLst>
        </pc:spChg>
        <pc:spChg chg="del">
          <ac:chgData name="Kebba Jeng" userId="fe4cc296-ba7d-48a2-8799-89b58d218255" providerId="ADAL" clId="{388EFDEE-447E-42B4-98EF-30C01AB2E8CD}" dt="2022-03-28T19:23:49.665" v="3979" actId="478"/>
          <ac:spMkLst>
            <pc:docMk/>
            <pc:sldMk cId="0" sldId="265"/>
            <ac:spMk id="1705" creationId="{00000000-0000-0000-0000-000000000000}"/>
          </ac:spMkLst>
        </pc:spChg>
        <pc:spChg chg="del">
          <ac:chgData name="Kebba Jeng" userId="fe4cc296-ba7d-48a2-8799-89b58d218255" providerId="ADAL" clId="{388EFDEE-447E-42B4-98EF-30C01AB2E8CD}" dt="2022-03-28T19:23:42.218" v="3978" actId="478"/>
          <ac:spMkLst>
            <pc:docMk/>
            <pc:sldMk cId="0" sldId="265"/>
            <ac:spMk id="1706" creationId="{00000000-0000-0000-0000-000000000000}"/>
          </ac:spMkLst>
        </pc:spChg>
        <pc:spChg chg="del">
          <ac:chgData name="Kebba Jeng" userId="fe4cc296-ba7d-48a2-8799-89b58d218255" providerId="ADAL" clId="{388EFDEE-447E-42B4-98EF-30C01AB2E8CD}" dt="2022-03-28T19:23:49.665" v="3979" actId="478"/>
          <ac:spMkLst>
            <pc:docMk/>
            <pc:sldMk cId="0" sldId="265"/>
            <ac:spMk id="1707" creationId="{00000000-0000-0000-0000-000000000000}"/>
          </ac:spMkLst>
        </pc:spChg>
        <pc:spChg chg="del">
          <ac:chgData name="Kebba Jeng" userId="fe4cc296-ba7d-48a2-8799-89b58d218255" providerId="ADAL" clId="{388EFDEE-447E-42B4-98EF-30C01AB2E8CD}" dt="2022-03-28T19:23:42.218" v="3978" actId="478"/>
          <ac:spMkLst>
            <pc:docMk/>
            <pc:sldMk cId="0" sldId="265"/>
            <ac:spMk id="1708" creationId="{00000000-0000-0000-0000-000000000000}"/>
          </ac:spMkLst>
        </pc:spChg>
        <pc:spChg chg="del">
          <ac:chgData name="Kebba Jeng" userId="fe4cc296-ba7d-48a2-8799-89b58d218255" providerId="ADAL" clId="{388EFDEE-447E-42B4-98EF-30C01AB2E8CD}" dt="2022-03-28T19:23:42.218" v="3978" actId="478"/>
          <ac:spMkLst>
            <pc:docMk/>
            <pc:sldMk cId="0" sldId="265"/>
            <ac:spMk id="1709" creationId="{00000000-0000-0000-0000-000000000000}"/>
          </ac:spMkLst>
        </pc:spChg>
        <pc:spChg chg="del">
          <ac:chgData name="Kebba Jeng" userId="fe4cc296-ba7d-48a2-8799-89b58d218255" providerId="ADAL" clId="{388EFDEE-447E-42B4-98EF-30C01AB2E8CD}" dt="2022-03-28T19:23:42.218" v="3978" actId="478"/>
          <ac:spMkLst>
            <pc:docMk/>
            <pc:sldMk cId="0" sldId="265"/>
            <ac:spMk id="1710" creationId="{00000000-0000-0000-0000-000000000000}"/>
          </ac:spMkLst>
        </pc:spChg>
        <pc:spChg chg="del">
          <ac:chgData name="Kebba Jeng" userId="fe4cc296-ba7d-48a2-8799-89b58d218255" providerId="ADAL" clId="{388EFDEE-447E-42B4-98EF-30C01AB2E8CD}" dt="2022-03-28T19:23:42.218" v="3978" actId="478"/>
          <ac:spMkLst>
            <pc:docMk/>
            <pc:sldMk cId="0" sldId="265"/>
            <ac:spMk id="1711" creationId="{00000000-0000-0000-0000-000000000000}"/>
          </ac:spMkLst>
        </pc:spChg>
        <pc:spChg chg="del">
          <ac:chgData name="Kebba Jeng" userId="fe4cc296-ba7d-48a2-8799-89b58d218255" providerId="ADAL" clId="{388EFDEE-447E-42B4-98EF-30C01AB2E8CD}" dt="2022-03-28T19:23:42.218" v="3978" actId="478"/>
          <ac:spMkLst>
            <pc:docMk/>
            <pc:sldMk cId="0" sldId="265"/>
            <ac:spMk id="1712" creationId="{00000000-0000-0000-0000-000000000000}"/>
          </ac:spMkLst>
        </pc:spChg>
        <pc:spChg chg="del">
          <ac:chgData name="Kebba Jeng" userId="fe4cc296-ba7d-48a2-8799-89b58d218255" providerId="ADAL" clId="{388EFDEE-447E-42B4-98EF-30C01AB2E8CD}" dt="2022-03-28T19:23:49.665" v="3979" actId="478"/>
          <ac:spMkLst>
            <pc:docMk/>
            <pc:sldMk cId="0" sldId="265"/>
            <ac:spMk id="1713" creationId="{00000000-0000-0000-0000-000000000000}"/>
          </ac:spMkLst>
        </pc:spChg>
        <pc:spChg chg="del">
          <ac:chgData name="Kebba Jeng" userId="fe4cc296-ba7d-48a2-8799-89b58d218255" providerId="ADAL" clId="{388EFDEE-447E-42B4-98EF-30C01AB2E8CD}" dt="2022-03-28T19:23:49.665" v="3979" actId="478"/>
          <ac:spMkLst>
            <pc:docMk/>
            <pc:sldMk cId="0" sldId="265"/>
            <ac:spMk id="1714" creationId="{00000000-0000-0000-0000-000000000000}"/>
          </ac:spMkLst>
        </pc:spChg>
        <pc:spChg chg="del">
          <ac:chgData name="Kebba Jeng" userId="fe4cc296-ba7d-48a2-8799-89b58d218255" providerId="ADAL" clId="{388EFDEE-447E-42B4-98EF-30C01AB2E8CD}" dt="2022-03-28T19:23:42.218" v="3978" actId="478"/>
          <ac:spMkLst>
            <pc:docMk/>
            <pc:sldMk cId="0" sldId="265"/>
            <ac:spMk id="1715" creationId="{00000000-0000-0000-0000-000000000000}"/>
          </ac:spMkLst>
        </pc:spChg>
        <pc:spChg chg="del">
          <ac:chgData name="Kebba Jeng" userId="fe4cc296-ba7d-48a2-8799-89b58d218255" providerId="ADAL" clId="{388EFDEE-447E-42B4-98EF-30C01AB2E8CD}" dt="2022-03-28T19:23:49.665" v="3979" actId="478"/>
          <ac:spMkLst>
            <pc:docMk/>
            <pc:sldMk cId="0" sldId="265"/>
            <ac:spMk id="1716" creationId="{00000000-0000-0000-0000-000000000000}"/>
          </ac:spMkLst>
        </pc:spChg>
        <pc:spChg chg="del">
          <ac:chgData name="Kebba Jeng" userId="fe4cc296-ba7d-48a2-8799-89b58d218255" providerId="ADAL" clId="{388EFDEE-447E-42B4-98EF-30C01AB2E8CD}" dt="2022-03-28T19:23:42.218" v="3978" actId="478"/>
          <ac:spMkLst>
            <pc:docMk/>
            <pc:sldMk cId="0" sldId="265"/>
            <ac:spMk id="1717" creationId="{00000000-0000-0000-0000-000000000000}"/>
          </ac:spMkLst>
        </pc:spChg>
        <pc:picChg chg="add mod">
          <ac:chgData name="Kebba Jeng" userId="fe4cc296-ba7d-48a2-8799-89b58d218255" providerId="ADAL" clId="{388EFDEE-447E-42B4-98EF-30C01AB2E8CD}" dt="2022-03-29T06:30:55.953" v="5174" actId="1076"/>
          <ac:picMkLst>
            <pc:docMk/>
            <pc:sldMk cId="0" sldId="265"/>
            <ac:picMk id="3" creationId="{4BDFF86A-3ECB-492F-A1C6-3DC21A864F06}"/>
          </ac:picMkLst>
        </pc:picChg>
      </pc:sldChg>
      <pc:sldChg chg="addSp delSp modSp mod ord modNotesTx">
        <pc:chgData name="Kebba Jeng" userId="fe4cc296-ba7d-48a2-8799-89b58d218255" providerId="ADAL" clId="{388EFDEE-447E-42B4-98EF-30C01AB2E8CD}" dt="2022-03-29T19:09:35.215" v="6164" actId="20577"/>
        <pc:sldMkLst>
          <pc:docMk/>
          <pc:sldMk cId="0" sldId="266"/>
        </pc:sldMkLst>
        <pc:spChg chg="add del mod">
          <ac:chgData name="Kebba Jeng" userId="fe4cc296-ba7d-48a2-8799-89b58d218255" providerId="ADAL" clId="{388EFDEE-447E-42B4-98EF-30C01AB2E8CD}" dt="2022-03-28T20:18:14.851" v="4809" actId="478"/>
          <ac:spMkLst>
            <pc:docMk/>
            <pc:sldMk cId="0" sldId="266"/>
            <ac:spMk id="5" creationId="{2549C9D4-2731-49F7-B59D-A504666E86DE}"/>
          </ac:spMkLst>
        </pc:spChg>
        <pc:spChg chg="add mod">
          <ac:chgData name="Kebba Jeng" userId="fe4cc296-ba7d-48a2-8799-89b58d218255" providerId="ADAL" clId="{388EFDEE-447E-42B4-98EF-30C01AB2E8CD}" dt="2022-03-28T06:38:08.085" v="50"/>
          <ac:spMkLst>
            <pc:docMk/>
            <pc:sldMk cId="0" sldId="266"/>
            <ac:spMk id="201" creationId="{3E4AEA8D-533C-45FE-BFFB-3E8133B8641B}"/>
          </ac:spMkLst>
        </pc:spChg>
        <pc:spChg chg="add del mod">
          <ac:chgData name="Kebba Jeng" userId="fe4cc296-ba7d-48a2-8799-89b58d218255" providerId="ADAL" clId="{388EFDEE-447E-42B4-98EF-30C01AB2E8CD}" dt="2022-03-28T18:48:09.370" v="3055"/>
          <ac:spMkLst>
            <pc:docMk/>
            <pc:sldMk cId="0" sldId="266"/>
            <ac:spMk id="202" creationId="{FC162CBF-2049-48C7-BB75-0EC203D48857}"/>
          </ac:spMkLst>
        </pc:spChg>
        <pc:spChg chg="add del mod">
          <ac:chgData name="Kebba Jeng" userId="fe4cc296-ba7d-48a2-8799-89b58d218255" providerId="ADAL" clId="{388EFDEE-447E-42B4-98EF-30C01AB2E8CD}" dt="2022-03-28T18:48:09.370" v="3055"/>
          <ac:spMkLst>
            <pc:docMk/>
            <pc:sldMk cId="0" sldId="266"/>
            <ac:spMk id="203" creationId="{7B3DC27A-40A0-426E-B0FA-983407FF87D5}"/>
          </ac:spMkLst>
        </pc:spChg>
        <pc:spChg chg="add del mod">
          <ac:chgData name="Kebba Jeng" userId="fe4cc296-ba7d-48a2-8799-89b58d218255" providerId="ADAL" clId="{388EFDEE-447E-42B4-98EF-30C01AB2E8CD}" dt="2022-03-28T18:48:09.370" v="3055"/>
          <ac:spMkLst>
            <pc:docMk/>
            <pc:sldMk cId="0" sldId="266"/>
            <ac:spMk id="204" creationId="{67A29C11-F315-4EAB-86CD-E6A300A55C8D}"/>
          </ac:spMkLst>
        </pc:spChg>
        <pc:spChg chg="add del mod">
          <ac:chgData name="Kebba Jeng" userId="fe4cc296-ba7d-48a2-8799-89b58d218255" providerId="ADAL" clId="{388EFDEE-447E-42B4-98EF-30C01AB2E8CD}" dt="2022-03-28T18:48:09.370" v="3055"/>
          <ac:spMkLst>
            <pc:docMk/>
            <pc:sldMk cId="0" sldId="266"/>
            <ac:spMk id="205" creationId="{31BFFB21-180C-4412-A174-4C6A948B426F}"/>
          </ac:spMkLst>
        </pc:spChg>
        <pc:spChg chg="add del mod">
          <ac:chgData name="Kebba Jeng" userId="fe4cc296-ba7d-48a2-8799-89b58d218255" providerId="ADAL" clId="{388EFDEE-447E-42B4-98EF-30C01AB2E8CD}" dt="2022-03-28T18:48:09.370" v="3055"/>
          <ac:spMkLst>
            <pc:docMk/>
            <pc:sldMk cId="0" sldId="266"/>
            <ac:spMk id="206" creationId="{1B33303F-5D64-4C62-956F-9EE5A212A486}"/>
          </ac:spMkLst>
        </pc:spChg>
        <pc:spChg chg="add del mod">
          <ac:chgData name="Kebba Jeng" userId="fe4cc296-ba7d-48a2-8799-89b58d218255" providerId="ADAL" clId="{388EFDEE-447E-42B4-98EF-30C01AB2E8CD}" dt="2022-03-28T18:48:09.370" v="3055"/>
          <ac:spMkLst>
            <pc:docMk/>
            <pc:sldMk cId="0" sldId="266"/>
            <ac:spMk id="207" creationId="{8DAC508C-DD02-4568-A8B7-D6A9DC43E3C2}"/>
          </ac:spMkLst>
        </pc:spChg>
        <pc:spChg chg="add del mod">
          <ac:chgData name="Kebba Jeng" userId="fe4cc296-ba7d-48a2-8799-89b58d218255" providerId="ADAL" clId="{388EFDEE-447E-42B4-98EF-30C01AB2E8CD}" dt="2022-03-28T18:48:09.370" v="3055"/>
          <ac:spMkLst>
            <pc:docMk/>
            <pc:sldMk cId="0" sldId="266"/>
            <ac:spMk id="208" creationId="{B4DF11E1-ECFE-4CC3-88CA-16FA72127889}"/>
          </ac:spMkLst>
        </pc:spChg>
        <pc:spChg chg="add del mod">
          <ac:chgData name="Kebba Jeng" userId="fe4cc296-ba7d-48a2-8799-89b58d218255" providerId="ADAL" clId="{388EFDEE-447E-42B4-98EF-30C01AB2E8CD}" dt="2022-03-28T18:48:09.370" v="3055"/>
          <ac:spMkLst>
            <pc:docMk/>
            <pc:sldMk cId="0" sldId="266"/>
            <ac:spMk id="209" creationId="{F1D4C871-5A2B-4CA9-B350-65BF2185C02A}"/>
          </ac:spMkLst>
        </pc:spChg>
        <pc:spChg chg="add del mod">
          <ac:chgData name="Kebba Jeng" userId="fe4cc296-ba7d-48a2-8799-89b58d218255" providerId="ADAL" clId="{388EFDEE-447E-42B4-98EF-30C01AB2E8CD}" dt="2022-03-28T18:48:09.370" v="3055"/>
          <ac:spMkLst>
            <pc:docMk/>
            <pc:sldMk cId="0" sldId="266"/>
            <ac:spMk id="210" creationId="{6370E0A6-69C0-449D-8BAC-27BA6661B826}"/>
          </ac:spMkLst>
        </pc:spChg>
        <pc:spChg chg="add del mod">
          <ac:chgData name="Kebba Jeng" userId="fe4cc296-ba7d-48a2-8799-89b58d218255" providerId="ADAL" clId="{388EFDEE-447E-42B4-98EF-30C01AB2E8CD}" dt="2022-03-28T18:48:09.370" v="3055"/>
          <ac:spMkLst>
            <pc:docMk/>
            <pc:sldMk cId="0" sldId="266"/>
            <ac:spMk id="211" creationId="{837A021A-15E6-4289-9329-203086E151C5}"/>
          </ac:spMkLst>
        </pc:spChg>
        <pc:spChg chg="add del mod">
          <ac:chgData name="Kebba Jeng" userId="fe4cc296-ba7d-48a2-8799-89b58d218255" providerId="ADAL" clId="{388EFDEE-447E-42B4-98EF-30C01AB2E8CD}" dt="2022-03-28T18:48:09.370" v="3055"/>
          <ac:spMkLst>
            <pc:docMk/>
            <pc:sldMk cId="0" sldId="266"/>
            <ac:spMk id="212" creationId="{BD01F7C9-A7D1-4004-9CC7-9C9BCDFFDB18}"/>
          </ac:spMkLst>
        </pc:spChg>
        <pc:spChg chg="add del mod">
          <ac:chgData name="Kebba Jeng" userId="fe4cc296-ba7d-48a2-8799-89b58d218255" providerId="ADAL" clId="{388EFDEE-447E-42B4-98EF-30C01AB2E8CD}" dt="2022-03-28T18:48:09.370" v="3055"/>
          <ac:spMkLst>
            <pc:docMk/>
            <pc:sldMk cId="0" sldId="266"/>
            <ac:spMk id="213" creationId="{8B05A031-FD15-40EF-80BF-FEBBC6CA3FD5}"/>
          </ac:spMkLst>
        </pc:spChg>
        <pc:spChg chg="add del mod">
          <ac:chgData name="Kebba Jeng" userId="fe4cc296-ba7d-48a2-8799-89b58d218255" providerId="ADAL" clId="{388EFDEE-447E-42B4-98EF-30C01AB2E8CD}" dt="2022-03-28T18:48:09.370" v="3055"/>
          <ac:spMkLst>
            <pc:docMk/>
            <pc:sldMk cId="0" sldId="266"/>
            <ac:spMk id="214" creationId="{E259D97A-E459-4D3F-B3E3-9A58905E9CA3}"/>
          </ac:spMkLst>
        </pc:spChg>
        <pc:spChg chg="add del mod">
          <ac:chgData name="Kebba Jeng" userId="fe4cc296-ba7d-48a2-8799-89b58d218255" providerId="ADAL" clId="{388EFDEE-447E-42B4-98EF-30C01AB2E8CD}" dt="2022-03-28T18:48:09.370" v="3055"/>
          <ac:spMkLst>
            <pc:docMk/>
            <pc:sldMk cId="0" sldId="266"/>
            <ac:spMk id="215" creationId="{98E9AAE1-23BB-475E-954D-1C87201DA073}"/>
          </ac:spMkLst>
        </pc:spChg>
        <pc:spChg chg="add del mod">
          <ac:chgData name="Kebba Jeng" userId="fe4cc296-ba7d-48a2-8799-89b58d218255" providerId="ADAL" clId="{388EFDEE-447E-42B4-98EF-30C01AB2E8CD}" dt="2022-03-28T18:48:09.370" v="3055"/>
          <ac:spMkLst>
            <pc:docMk/>
            <pc:sldMk cId="0" sldId="266"/>
            <ac:spMk id="216" creationId="{2BB47037-77D8-479E-B7CF-3CE9088CF5AA}"/>
          </ac:spMkLst>
        </pc:spChg>
        <pc:spChg chg="add del mod">
          <ac:chgData name="Kebba Jeng" userId="fe4cc296-ba7d-48a2-8799-89b58d218255" providerId="ADAL" clId="{388EFDEE-447E-42B4-98EF-30C01AB2E8CD}" dt="2022-03-28T18:48:09.370" v="3055"/>
          <ac:spMkLst>
            <pc:docMk/>
            <pc:sldMk cId="0" sldId="266"/>
            <ac:spMk id="217" creationId="{7C36131D-7D61-4AF7-9C65-17F3554C859A}"/>
          </ac:spMkLst>
        </pc:spChg>
        <pc:spChg chg="add del mod">
          <ac:chgData name="Kebba Jeng" userId="fe4cc296-ba7d-48a2-8799-89b58d218255" providerId="ADAL" clId="{388EFDEE-447E-42B4-98EF-30C01AB2E8CD}" dt="2022-03-28T18:48:09.370" v="3055"/>
          <ac:spMkLst>
            <pc:docMk/>
            <pc:sldMk cId="0" sldId="266"/>
            <ac:spMk id="218" creationId="{007243A7-6320-40E2-A5CA-E1DA0E9E4371}"/>
          </ac:spMkLst>
        </pc:spChg>
        <pc:spChg chg="add del mod">
          <ac:chgData name="Kebba Jeng" userId="fe4cc296-ba7d-48a2-8799-89b58d218255" providerId="ADAL" clId="{388EFDEE-447E-42B4-98EF-30C01AB2E8CD}" dt="2022-03-28T18:48:09.370" v="3055"/>
          <ac:spMkLst>
            <pc:docMk/>
            <pc:sldMk cId="0" sldId="266"/>
            <ac:spMk id="219" creationId="{756217BF-F55A-45B3-B336-90A89FA1E7E9}"/>
          </ac:spMkLst>
        </pc:spChg>
        <pc:spChg chg="add del mod">
          <ac:chgData name="Kebba Jeng" userId="fe4cc296-ba7d-48a2-8799-89b58d218255" providerId="ADAL" clId="{388EFDEE-447E-42B4-98EF-30C01AB2E8CD}" dt="2022-03-28T18:48:09.370" v="3055"/>
          <ac:spMkLst>
            <pc:docMk/>
            <pc:sldMk cId="0" sldId="266"/>
            <ac:spMk id="220" creationId="{5614F6FD-A5E4-466E-9AA4-63B225FE4362}"/>
          </ac:spMkLst>
        </pc:spChg>
        <pc:spChg chg="add del mod">
          <ac:chgData name="Kebba Jeng" userId="fe4cc296-ba7d-48a2-8799-89b58d218255" providerId="ADAL" clId="{388EFDEE-447E-42B4-98EF-30C01AB2E8CD}" dt="2022-03-28T18:48:09.370" v="3055"/>
          <ac:spMkLst>
            <pc:docMk/>
            <pc:sldMk cId="0" sldId="266"/>
            <ac:spMk id="221" creationId="{CA380701-1097-4241-98BD-43FB68CBA6EF}"/>
          </ac:spMkLst>
        </pc:spChg>
        <pc:spChg chg="add del mod">
          <ac:chgData name="Kebba Jeng" userId="fe4cc296-ba7d-48a2-8799-89b58d218255" providerId="ADAL" clId="{388EFDEE-447E-42B4-98EF-30C01AB2E8CD}" dt="2022-03-28T18:48:09.370" v="3055"/>
          <ac:spMkLst>
            <pc:docMk/>
            <pc:sldMk cId="0" sldId="266"/>
            <ac:spMk id="222" creationId="{24D1C10E-99CF-47C5-B028-F1368EE9F44B}"/>
          </ac:spMkLst>
        </pc:spChg>
        <pc:spChg chg="add del mod">
          <ac:chgData name="Kebba Jeng" userId="fe4cc296-ba7d-48a2-8799-89b58d218255" providerId="ADAL" clId="{388EFDEE-447E-42B4-98EF-30C01AB2E8CD}" dt="2022-03-28T18:48:09.370" v="3055"/>
          <ac:spMkLst>
            <pc:docMk/>
            <pc:sldMk cId="0" sldId="266"/>
            <ac:spMk id="223" creationId="{8F695161-3D76-4C4E-A9A2-13058DB6CAAA}"/>
          </ac:spMkLst>
        </pc:spChg>
        <pc:spChg chg="add del mod">
          <ac:chgData name="Kebba Jeng" userId="fe4cc296-ba7d-48a2-8799-89b58d218255" providerId="ADAL" clId="{388EFDEE-447E-42B4-98EF-30C01AB2E8CD}" dt="2022-03-28T18:48:09.370" v="3055"/>
          <ac:spMkLst>
            <pc:docMk/>
            <pc:sldMk cId="0" sldId="266"/>
            <ac:spMk id="224" creationId="{62C7F6F8-F6DB-4923-A713-1163E541435F}"/>
          </ac:spMkLst>
        </pc:spChg>
        <pc:spChg chg="add del mod">
          <ac:chgData name="Kebba Jeng" userId="fe4cc296-ba7d-48a2-8799-89b58d218255" providerId="ADAL" clId="{388EFDEE-447E-42B4-98EF-30C01AB2E8CD}" dt="2022-03-28T18:48:09.370" v="3055"/>
          <ac:spMkLst>
            <pc:docMk/>
            <pc:sldMk cId="0" sldId="266"/>
            <ac:spMk id="225" creationId="{BB27317F-34E1-4157-BEB7-ADEC6DAC5122}"/>
          </ac:spMkLst>
        </pc:spChg>
        <pc:spChg chg="add del mod">
          <ac:chgData name="Kebba Jeng" userId="fe4cc296-ba7d-48a2-8799-89b58d218255" providerId="ADAL" clId="{388EFDEE-447E-42B4-98EF-30C01AB2E8CD}" dt="2022-03-28T18:48:09.370" v="3055"/>
          <ac:spMkLst>
            <pc:docMk/>
            <pc:sldMk cId="0" sldId="266"/>
            <ac:spMk id="226" creationId="{87A26526-AACE-4FC6-88B4-A8FE5592C231}"/>
          </ac:spMkLst>
        </pc:spChg>
        <pc:spChg chg="add del mod">
          <ac:chgData name="Kebba Jeng" userId="fe4cc296-ba7d-48a2-8799-89b58d218255" providerId="ADAL" clId="{388EFDEE-447E-42B4-98EF-30C01AB2E8CD}" dt="2022-03-28T18:48:09.370" v="3055"/>
          <ac:spMkLst>
            <pc:docMk/>
            <pc:sldMk cId="0" sldId="266"/>
            <ac:spMk id="227" creationId="{3981A412-69C3-4573-AEC6-38A2E3C4FA8A}"/>
          </ac:spMkLst>
        </pc:spChg>
        <pc:spChg chg="add del mod">
          <ac:chgData name="Kebba Jeng" userId="fe4cc296-ba7d-48a2-8799-89b58d218255" providerId="ADAL" clId="{388EFDEE-447E-42B4-98EF-30C01AB2E8CD}" dt="2022-03-28T18:48:09.370" v="3055"/>
          <ac:spMkLst>
            <pc:docMk/>
            <pc:sldMk cId="0" sldId="266"/>
            <ac:spMk id="228" creationId="{5A3B9750-FB32-432B-BE4D-FF9E6E78739D}"/>
          </ac:spMkLst>
        </pc:spChg>
        <pc:spChg chg="add del mod">
          <ac:chgData name="Kebba Jeng" userId="fe4cc296-ba7d-48a2-8799-89b58d218255" providerId="ADAL" clId="{388EFDEE-447E-42B4-98EF-30C01AB2E8CD}" dt="2022-03-28T18:48:09.370" v="3055"/>
          <ac:spMkLst>
            <pc:docMk/>
            <pc:sldMk cId="0" sldId="266"/>
            <ac:spMk id="229" creationId="{63472861-EDF0-4CA0-9835-21D5D5EEDD68}"/>
          </ac:spMkLst>
        </pc:spChg>
        <pc:spChg chg="add del mod">
          <ac:chgData name="Kebba Jeng" userId="fe4cc296-ba7d-48a2-8799-89b58d218255" providerId="ADAL" clId="{388EFDEE-447E-42B4-98EF-30C01AB2E8CD}" dt="2022-03-28T18:48:09.370" v="3055"/>
          <ac:spMkLst>
            <pc:docMk/>
            <pc:sldMk cId="0" sldId="266"/>
            <ac:spMk id="230" creationId="{C607A402-435F-403F-87DB-49F6A2DC9D45}"/>
          </ac:spMkLst>
        </pc:spChg>
        <pc:spChg chg="add del mod">
          <ac:chgData name="Kebba Jeng" userId="fe4cc296-ba7d-48a2-8799-89b58d218255" providerId="ADAL" clId="{388EFDEE-447E-42B4-98EF-30C01AB2E8CD}" dt="2022-03-28T18:48:09.370" v="3055"/>
          <ac:spMkLst>
            <pc:docMk/>
            <pc:sldMk cId="0" sldId="266"/>
            <ac:spMk id="231" creationId="{4208753F-C8D3-4C9F-9E2C-33878BD72D56}"/>
          </ac:spMkLst>
        </pc:spChg>
        <pc:spChg chg="add del mod">
          <ac:chgData name="Kebba Jeng" userId="fe4cc296-ba7d-48a2-8799-89b58d218255" providerId="ADAL" clId="{388EFDEE-447E-42B4-98EF-30C01AB2E8CD}" dt="2022-03-28T18:48:09.370" v="3055"/>
          <ac:spMkLst>
            <pc:docMk/>
            <pc:sldMk cId="0" sldId="266"/>
            <ac:spMk id="232" creationId="{743ECDDE-D315-4F0C-A209-98AFCC76F019}"/>
          </ac:spMkLst>
        </pc:spChg>
        <pc:spChg chg="add del mod">
          <ac:chgData name="Kebba Jeng" userId="fe4cc296-ba7d-48a2-8799-89b58d218255" providerId="ADAL" clId="{388EFDEE-447E-42B4-98EF-30C01AB2E8CD}" dt="2022-03-28T18:48:09.370" v="3055"/>
          <ac:spMkLst>
            <pc:docMk/>
            <pc:sldMk cId="0" sldId="266"/>
            <ac:spMk id="233" creationId="{32616CF3-F26A-407A-9702-A5B563903BCE}"/>
          </ac:spMkLst>
        </pc:spChg>
        <pc:spChg chg="add del mod">
          <ac:chgData name="Kebba Jeng" userId="fe4cc296-ba7d-48a2-8799-89b58d218255" providerId="ADAL" clId="{388EFDEE-447E-42B4-98EF-30C01AB2E8CD}" dt="2022-03-28T18:48:09.370" v="3055"/>
          <ac:spMkLst>
            <pc:docMk/>
            <pc:sldMk cId="0" sldId="266"/>
            <ac:spMk id="234" creationId="{26047388-B527-4DF0-984E-90930BFB1B54}"/>
          </ac:spMkLst>
        </pc:spChg>
        <pc:spChg chg="add del mod">
          <ac:chgData name="Kebba Jeng" userId="fe4cc296-ba7d-48a2-8799-89b58d218255" providerId="ADAL" clId="{388EFDEE-447E-42B4-98EF-30C01AB2E8CD}" dt="2022-03-28T18:48:09.370" v="3055"/>
          <ac:spMkLst>
            <pc:docMk/>
            <pc:sldMk cId="0" sldId="266"/>
            <ac:spMk id="235" creationId="{ECA60F27-D71A-4CD0-B05B-1969BC2D2B54}"/>
          </ac:spMkLst>
        </pc:spChg>
        <pc:spChg chg="add del mod">
          <ac:chgData name="Kebba Jeng" userId="fe4cc296-ba7d-48a2-8799-89b58d218255" providerId="ADAL" clId="{388EFDEE-447E-42B4-98EF-30C01AB2E8CD}" dt="2022-03-28T18:48:09.370" v="3055"/>
          <ac:spMkLst>
            <pc:docMk/>
            <pc:sldMk cId="0" sldId="266"/>
            <ac:spMk id="236" creationId="{BD031C3C-D0B2-4A5D-8CA6-857A130D151F}"/>
          </ac:spMkLst>
        </pc:spChg>
        <pc:spChg chg="add del mod">
          <ac:chgData name="Kebba Jeng" userId="fe4cc296-ba7d-48a2-8799-89b58d218255" providerId="ADAL" clId="{388EFDEE-447E-42B4-98EF-30C01AB2E8CD}" dt="2022-03-28T18:48:09.370" v="3055"/>
          <ac:spMkLst>
            <pc:docMk/>
            <pc:sldMk cId="0" sldId="266"/>
            <ac:spMk id="237" creationId="{68DEB646-BCCD-4C1C-8800-02B9F1D7DF42}"/>
          </ac:spMkLst>
        </pc:spChg>
        <pc:spChg chg="add del mod">
          <ac:chgData name="Kebba Jeng" userId="fe4cc296-ba7d-48a2-8799-89b58d218255" providerId="ADAL" clId="{388EFDEE-447E-42B4-98EF-30C01AB2E8CD}" dt="2022-03-28T18:48:09.370" v="3055"/>
          <ac:spMkLst>
            <pc:docMk/>
            <pc:sldMk cId="0" sldId="266"/>
            <ac:spMk id="238" creationId="{49197277-7A41-45CD-BDAE-1F01F2EFEC12}"/>
          </ac:spMkLst>
        </pc:spChg>
        <pc:spChg chg="add del mod">
          <ac:chgData name="Kebba Jeng" userId="fe4cc296-ba7d-48a2-8799-89b58d218255" providerId="ADAL" clId="{388EFDEE-447E-42B4-98EF-30C01AB2E8CD}" dt="2022-03-28T18:48:09.370" v="3055"/>
          <ac:spMkLst>
            <pc:docMk/>
            <pc:sldMk cId="0" sldId="266"/>
            <ac:spMk id="239" creationId="{FAA06AF0-3547-4106-9F90-8ED46853D56C}"/>
          </ac:spMkLst>
        </pc:spChg>
        <pc:spChg chg="add del mod">
          <ac:chgData name="Kebba Jeng" userId="fe4cc296-ba7d-48a2-8799-89b58d218255" providerId="ADAL" clId="{388EFDEE-447E-42B4-98EF-30C01AB2E8CD}" dt="2022-03-28T18:48:09.370" v="3055"/>
          <ac:spMkLst>
            <pc:docMk/>
            <pc:sldMk cId="0" sldId="266"/>
            <ac:spMk id="240" creationId="{E79C7E66-1F94-444D-A62D-CEFE5A18640C}"/>
          </ac:spMkLst>
        </pc:spChg>
        <pc:spChg chg="add del mod">
          <ac:chgData name="Kebba Jeng" userId="fe4cc296-ba7d-48a2-8799-89b58d218255" providerId="ADAL" clId="{388EFDEE-447E-42B4-98EF-30C01AB2E8CD}" dt="2022-03-28T18:48:09.370" v="3055"/>
          <ac:spMkLst>
            <pc:docMk/>
            <pc:sldMk cId="0" sldId="266"/>
            <ac:spMk id="241" creationId="{9B8FF69F-50D3-47C4-9054-B2E4384D7ABD}"/>
          </ac:spMkLst>
        </pc:spChg>
        <pc:spChg chg="add del mod">
          <ac:chgData name="Kebba Jeng" userId="fe4cc296-ba7d-48a2-8799-89b58d218255" providerId="ADAL" clId="{388EFDEE-447E-42B4-98EF-30C01AB2E8CD}" dt="2022-03-28T18:48:09.370" v="3055"/>
          <ac:spMkLst>
            <pc:docMk/>
            <pc:sldMk cId="0" sldId="266"/>
            <ac:spMk id="242" creationId="{79E5DB11-C84E-4017-9830-358358A3F1C1}"/>
          </ac:spMkLst>
        </pc:spChg>
        <pc:spChg chg="add del mod">
          <ac:chgData name="Kebba Jeng" userId="fe4cc296-ba7d-48a2-8799-89b58d218255" providerId="ADAL" clId="{388EFDEE-447E-42B4-98EF-30C01AB2E8CD}" dt="2022-03-28T18:48:09.370" v="3055"/>
          <ac:spMkLst>
            <pc:docMk/>
            <pc:sldMk cId="0" sldId="266"/>
            <ac:spMk id="243" creationId="{AEC8F741-04AE-4FEA-9CE0-0E637ABF5441}"/>
          </ac:spMkLst>
        </pc:spChg>
        <pc:spChg chg="add del mod">
          <ac:chgData name="Kebba Jeng" userId="fe4cc296-ba7d-48a2-8799-89b58d218255" providerId="ADAL" clId="{388EFDEE-447E-42B4-98EF-30C01AB2E8CD}" dt="2022-03-28T18:48:09.370" v="3055"/>
          <ac:spMkLst>
            <pc:docMk/>
            <pc:sldMk cId="0" sldId="266"/>
            <ac:spMk id="244" creationId="{288E308D-E507-4127-9D39-4DEED553237F}"/>
          </ac:spMkLst>
        </pc:spChg>
        <pc:spChg chg="add del mod">
          <ac:chgData name="Kebba Jeng" userId="fe4cc296-ba7d-48a2-8799-89b58d218255" providerId="ADAL" clId="{388EFDEE-447E-42B4-98EF-30C01AB2E8CD}" dt="2022-03-28T18:48:09.370" v="3055"/>
          <ac:spMkLst>
            <pc:docMk/>
            <pc:sldMk cId="0" sldId="266"/>
            <ac:spMk id="245" creationId="{35B76B39-D190-4E37-90D8-9F259439EE1E}"/>
          </ac:spMkLst>
        </pc:spChg>
        <pc:spChg chg="add del mod">
          <ac:chgData name="Kebba Jeng" userId="fe4cc296-ba7d-48a2-8799-89b58d218255" providerId="ADAL" clId="{388EFDEE-447E-42B4-98EF-30C01AB2E8CD}" dt="2022-03-28T18:48:09.370" v="3055"/>
          <ac:spMkLst>
            <pc:docMk/>
            <pc:sldMk cId="0" sldId="266"/>
            <ac:spMk id="246" creationId="{69D463B0-AEDD-49D5-9A5D-D5470296C08C}"/>
          </ac:spMkLst>
        </pc:spChg>
        <pc:spChg chg="add del mod">
          <ac:chgData name="Kebba Jeng" userId="fe4cc296-ba7d-48a2-8799-89b58d218255" providerId="ADAL" clId="{388EFDEE-447E-42B4-98EF-30C01AB2E8CD}" dt="2022-03-28T18:48:09.370" v="3055"/>
          <ac:spMkLst>
            <pc:docMk/>
            <pc:sldMk cId="0" sldId="266"/>
            <ac:spMk id="247" creationId="{DCF02D4E-0DC0-4868-B855-C1917864264E}"/>
          </ac:spMkLst>
        </pc:spChg>
        <pc:spChg chg="add del mod">
          <ac:chgData name="Kebba Jeng" userId="fe4cc296-ba7d-48a2-8799-89b58d218255" providerId="ADAL" clId="{388EFDEE-447E-42B4-98EF-30C01AB2E8CD}" dt="2022-03-28T18:48:09.370" v="3055"/>
          <ac:spMkLst>
            <pc:docMk/>
            <pc:sldMk cId="0" sldId="266"/>
            <ac:spMk id="248" creationId="{F7E8D6EF-490C-48DB-86E5-11633CDDDDB0}"/>
          </ac:spMkLst>
        </pc:spChg>
        <pc:spChg chg="add del mod">
          <ac:chgData name="Kebba Jeng" userId="fe4cc296-ba7d-48a2-8799-89b58d218255" providerId="ADAL" clId="{388EFDEE-447E-42B4-98EF-30C01AB2E8CD}" dt="2022-03-28T18:48:09.370" v="3055"/>
          <ac:spMkLst>
            <pc:docMk/>
            <pc:sldMk cId="0" sldId="266"/>
            <ac:spMk id="249" creationId="{852BEFCC-6970-4213-9506-EF71363C7E33}"/>
          </ac:spMkLst>
        </pc:spChg>
        <pc:spChg chg="add del mod">
          <ac:chgData name="Kebba Jeng" userId="fe4cc296-ba7d-48a2-8799-89b58d218255" providerId="ADAL" clId="{388EFDEE-447E-42B4-98EF-30C01AB2E8CD}" dt="2022-03-28T18:48:09.370" v="3055"/>
          <ac:spMkLst>
            <pc:docMk/>
            <pc:sldMk cId="0" sldId="266"/>
            <ac:spMk id="250" creationId="{96568F76-5689-4055-9D16-A25C8C7994CE}"/>
          </ac:spMkLst>
        </pc:spChg>
        <pc:spChg chg="add del mod">
          <ac:chgData name="Kebba Jeng" userId="fe4cc296-ba7d-48a2-8799-89b58d218255" providerId="ADAL" clId="{388EFDEE-447E-42B4-98EF-30C01AB2E8CD}" dt="2022-03-28T18:48:09.370" v="3055"/>
          <ac:spMkLst>
            <pc:docMk/>
            <pc:sldMk cId="0" sldId="266"/>
            <ac:spMk id="251" creationId="{43DCEECE-BC82-4996-B2C5-D729FA925CE2}"/>
          </ac:spMkLst>
        </pc:spChg>
        <pc:spChg chg="add del mod">
          <ac:chgData name="Kebba Jeng" userId="fe4cc296-ba7d-48a2-8799-89b58d218255" providerId="ADAL" clId="{388EFDEE-447E-42B4-98EF-30C01AB2E8CD}" dt="2022-03-28T18:48:09.370" v="3055"/>
          <ac:spMkLst>
            <pc:docMk/>
            <pc:sldMk cId="0" sldId="266"/>
            <ac:spMk id="252" creationId="{D6E94281-6B04-4E9F-88F0-6E8CC47D0824}"/>
          </ac:spMkLst>
        </pc:spChg>
        <pc:spChg chg="add del mod">
          <ac:chgData name="Kebba Jeng" userId="fe4cc296-ba7d-48a2-8799-89b58d218255" providerId="ADAL" clId="{388EFDEE-447E-42B4-98EF-30C01AB2E8CD}" dt="2022-03-28T18:48:09.370" v="3055"/>
          <ac:spMkLst>
            <pc:docMk/>
            <pc:sldMk cId="0" sldId="266"/>
            <ac:spMk id="253" creationId="{139756A8-961C-4470-AB6D-165F16A1117A}"/>
          </ac:spMkLst>
        </pc:spChg>
        <pc:spChg chg="add del mod">
          <ac:chgData name="Kebba Jeng" userId="fe4cc296-ba7d-48a2-8799-89b58d218255" providerId="ADAL" clId="{388EFDEE-447E-42B4-98EF-30C01AB2E8CD}" dt="2022-03-28T18:48:09.370" v="3055"/>
          <ac:spMkLst>
            <pc:docMk/>
            <pc:sldMk cId="0" sldId="266"/>
            <ac:spMk id="254" creationId="{D3292F48-0673-440C-8197-36F8CAF612E0}"/>
          </ac:spMkLst>
        </pc:spChg>
        <pc:spChg chg="add del mod">
          <ac:chgData name="Kebba Jeng" userId="fe4cc296-ba7d-48a2-8799-89b58d218255" providerId="ADAL" clId="{388EFDEE-447E-42B4-98EF-30C01AB2E8CD}" dt="2022-03-28T18:48:09.370" v="3055"/>
          <ac:spMkLst>
            <pc:docMk/>
            <pc:sldMk cId="0" sldId="266"/>
            <ac:spMk id="255" creationId="{907C5268-0463-4DFE-B890-19BC724E16FB}"/>
          </ac:spMkLst>
        </pc:spChg>
        <pc:spChg chg="add del mod">
          <ac:chgData name="Kebba Jeng" userId="fe4cc296-ba7d-48a2-8799-89b58d218255" providerId="ADAL" clId="{388EFDEE-447E-42B4-98EF-30C01AB2E8CD}" dt="2022-03-28T18:48:09.370" v="3055"/>
          <ac:spMkLst>
            <pc:docMk/>
            <pc:sldMk cId="0" sldId="266"/>
            <ac:spMk id="256" creationId="{4516B32A-D82B-4C44-A739-F717668FF456}"/>
          </ac:spMkLst>
        </pc:spChg>
        <pc:spChg chg="add del mod">
          <ac:chgData name="Kebba Jeng" userId="fe4cc296-ba7d-48a2-8799-89b58d218255" providerId="ADAL" clId="{388EFDEE-447E-42B4-98EF-30C01AB2E8CD}" dt="2022-03-28T18:48:09.370" v="3055"/>
          <ac:spMkLst>
            <pc:docMk/>
            <pc:sldMk cId="0" sldId="266"/>
            <ac:spMk id="257" creationId="{A7EB30F1-78AB-4352-ADC2-7FA3FD2FE9DC}"/>
          </ac:spMkLst>
        </pc:spChg>
        <pc:spChg chg="add del mod">
          <ac:chgData name="Kebba Jeng" userId="fe4cc296-ba7d-48a2-8799-89b58d218255" providerId="ADAL" clId="{388EFDEE-447E-42B4-98EF-30C01AB2E8CD}" dt="2022-03-28T18:48:09.370" v="3055"/>
          <ac:spMkLst>
            <pc:docMk/>
            <pc:sldMk cId="0" sldId="266"/>
            <ac:spMk id="258" creationId="{B33165A2-BDC3-47C8-A93B-EE481C4061C8}"/>
          </ac:spMkLst>
        </pc:spChg>
        <pc:spChg chg="add del mod">
          <ac:chgData name="Kebba Jeng" userId="fe4cc296-ba7d-48a2-8799-89b58d218255" providerId="ADAL" clId="{388EFDEE-447E-42B4-98EF-30C01AB2E8CD}" dt="2022-03-28T18:48:09.370" v="3055"/>
          <ac:spMkLst>
            <pc:docMk/>
            <pc:sldMk cId="0" sldId="266"/>
            <ac:spMk id="259" creationId="{2F6F99DA-1667-403B-AD9E-A8E54B465001}"/>
          </ac:spMkLst>
        </pc:spChg>
        <pc:spChg chg="add del mod">
          <ac:chgData name="Kebba Jeng" userId="fe4cc296-ba7d-48a2-8799-89b58d218255" providerId="ADAL" clId="{388EFDEE-447E-42B4-98EF-30C01AB2E8CD}" dt="2022-03-28T18:48:09.370" v="3055"/>
          <ac:spMkLst>
            <pc:docMk/>
            <pc:sldMk cId="0" sldId="266"/>
            <ac:spMk id="260" creationId="{C32804C3-286C-4CAB-B802-68A0AAFF3ECA}"/>
          </ac:spMkLst>
        </pc:spChg>
        <pc:spChg chg="add del mod">
          <ac:chgData name="Kebba Jeng" userId="fe4cc296-ba7d-48a2-8799-89b58d218255" providerId="ADAL" clId="{388EFDEE-447E-42B4-98EF-30C01AB2E8CD}" dt="2022-03-28T18:48:09.370" v="3055"/>
          <ac:spMkLst>
            <pc:docMk/>
            <pc:sldMk cId="0" sldId="266"/>
            <ac:spMk id="261" creationId="{74FA3A71-C9ED-4BF9-AD48-A1899DBE1077}"/>
          </ac:spMkLst>
        </pc:spChg>
        <pc:spChg chg="add del mod">
          <ac:chgData name="Kebba Jeng" userId="fe4cc296-ba7d-48a2-8799-89b58d218255" providerId="ADAL" clId="{388EFDEE-447E-42B4-98EF-30C01AB2E8CD}" dt="2022-03-28T18:48:09.370" v="3055"/>
          <ac:spMkLst>
            <pc:docMk/>
            <pc:sldMk cId="0" sldId="266"/>
            <ac:spMk id="262" creationId="{5525AE0E-DD63-4337-A4A5-DDDA6B67AB6D}"/>
          </ac:spMkLst>
        </pc:spChg>
        <pc:spChg chg="add del mod">
          <ac:chgData name="Kebba Jeng" userId="fe4cc296-ba7d-48a2-8799-89b58d218255" providerId="ADAL" clId="{388EFDEE-447E-42B4-98EF-30C01AB2E8CD}" dt="2022-03-28T18:48:09.370" v="3055"/>
          <ac:spMkLst>
            <pc:docMk/>
            <pc:sldMk cId="0" sldId="266"/>
            <ac:spMk id="263" creationId="{3CE6BA73-0022-4A7C-82E6-3AA7D57D5A74}"/>
          </ac:spMkLst>
        </pc:spChg>
        <pc:spChg chg="add del mod">
          <ac:chgData name="Kebba Jeng" userId="fe4cc296-ba7d-48a2-8799-89b58d218255" providerId="ADAL" clId="{388EFDEE-447E-42B4-98EF-30C01AB2E8CD}" dt="2022-03-28T18:48:09.370" v="3055"/>
          <ac:spMkLst>
            <pc:docMk/>
            <pc:sldMk cId="0" sldId="266"/>
            <ac:spMk id="264" creationId="{B1A3D5CD-4631-4C43-B52C-5E415CB01FC4}"/>
          </ac:spMkLst>
        </pc:spChg>
        <pc:spChg chg="add del mod">
          <ac:chgData name="Kebba Jeng" userId="fe4cc296-ba7d-48a2-8799-89b58d218255" providerId="ADAL" clId="{388EFDEE-447E-42B4-98EF-30C01AB2E8CD}" dt="2022-03-28T18:48:09.370" v="3055"/>
          <ac:spMkLst>
            <pc:docMk/>
            <pc:sldMk cId="0" sldId="266"/>
            <ac:spMk id="265" creationId="{8B19B856-4E8B-48E8-BE14-7341A95A1F5A}"/>
          </ac:spMkLst>
        </pc:spChg>
        <pc:spChg chg="add del mod">
          <ac:chgData name="Kebba Jeng" userId="fe4cc296-ba7d-48a2-8799-89b58d218255" providerId="ADAL" clId="{388EFDEE-447E-42B4-98EF-30C01AB2E8CD}" dt="2022-03-28T18:48:09.370" v="3055"/>
          <ac:spMkLst>
            <pc:docMk/>
            <pc:sldMk cId="0" sldId="266"/>
            <ac:spMk id="266" creationId="{3585B716-DAF3-4CEB-9265-A0E98F01FD93}"/>
          </ac:spMkLst>
        </pc:spChg>
        <pc:spChg chg="add del mod">
          <ac:chgData name="Kebba Jeng" userId="fe4cc296-ba7d-48a2-8799-89b58d218255" providerId="ADAL" clId="{388EFDEE-447E-42B4-98EF-30C01AB2E8CD}" dt="2022-03-28T18:48:09.370" v="3055"/>
          <ac:spMkLst>
            <pc:docMk/>
            <pc:sldMk cId="0" sldId="266"/>
            <ac:spMk id="267" creationId="{1607EF05-0A7B-4A68-8084-BAC13081C3FE}"/>
          </ac:spMkLst>
        </pc:spChg>
        <pc:spChg chg="add del mod">
          <ac:chgData name="Kebba Jeng" userId="fe4cc296-ba7d-48a2-8799-89b58d218255" providerId="ADAL" clId="{388EFDEE-447E-42B4-98EF-30C01AB2E8CD}" dt="2022-03-28T18:48:09.370" v="3055"/>
          <ac:spMkLst>
            <pc:docMk/>
            <pc:sldMk cId="0" sldId="266"/>
            <ac:spMk id="268" creationId="{674F3035-9F8A-43C1-9ABA-F3FFC54F7AA9}"/>
          </ac:spMkLst>
        </pc:spChg>
        <pc:spChg chg="add del mod">
          <ac:chgData name="Kebba Jeng" userId="fe4cc296-ba7d-48a2-8799-89b58d218255" providerId="ADAL" clId="{388EFDEE-447E-42B4-98EF-30C01AB2E8CD}" dt="2022-03-28T18:48:09.370" v="3055"/>
          <ac:spMkLst>
            <pc:docMk/>
            <pc:sldMk cId="0" sldId="266"/>
            <ac:spMk id="269" creationId="{E523DEEA-F8DA-4DDC-85D4-1E7DF1B19AF8}"/>
          </ac:spMkLst>
        </pc:spChg>
        <pc:spChg chg="add del mod">
          <ac:chgData name="Kebba Jeng" userId="fe4cc296-ba7d-48a2-8799-89b58d218255" providerId="ADAL" clId="{388EFDEE-447E-42B4-98EF-30C01AB2E8CD}" dt="2022-03-28T18:48:09.370" v="3055"/>
          <ac:spMkLst>
            <pc:docMk/>
            <pc:sldMk cId="0" sldId="266"/>
            <ac:spMk id="270" creationId="{F15BBA74-BD6D-49DF-A351-AC2A1DC2D1B5}"/>
          </ac:spMkLst>
        </pc:spChg>
        <pc:spChg chg="add del mod">
          <ac:chgData name="Kebba Jeng" userId="fe4cc296-ba7d-48a2-8799-89b58d218255" providerId="ADAL" clId="{388EFDEE-447E-42B4-98EF-30C01AB2E8CD}" dt="2022-03-28T18:48:09.370" v="3055"/>
          <ac:spMkLst>
            <pc:docMk/>
            <pc:sldMk cId="0" sldId="266"/>
            <ac:spMk id="271" creationId="{20175CD2-8F81-4BBA-A7DD-9DC3301B149D}"/>
          </ac:spMkLst>
        </pc:spChg>
        <pc:spChg chg="add del mod">
          <ac:chgData name="Kebba Jeng" userId="fe4cc296-ba7d-48a2-8799-89b58d218255" providerId="ADAL" clId="{388EFDEE-447E-42B4-98EF-30C01AB2E8CD}" dt="2022-03-28T18:48:09.370" v="3055"/>
          <ac:spMkLst>
            <pc:docMk/>
            <pc:sldMk cId="0" sldId="266"/>
            <ac:spMk id="272" creationId="{4D230BC8-D401-478B-8274-D8E7F7691DA9}"/>
          </ac:spMkLst>
        </pc:spChg>
        <pc:spChg chg="add del mod">
          <ac:chgData name="Kebba Jeng" userId="fe4cc296-ba7d-48a2-8799-89b58d218255" providerId="ADAL" clId="{388EFDEE-447E-42B4-98EF-30C01AB2E8CD}" dt="2022-03-28T18:48:09.370" v="3055"/>
          <ac:spMkLst>
            <pc:docMk/>
            <pc:sldMk cId="0" sldId="266"/>
            <ac:spMk id="273" creationId="{07E3476E-67E9-4F5D-98A2-C94D4BDFB265}"/>
          </ac:spMkLst>
        </pc:spChg>
        <pc:spChg chg="add del mod">
          <ac:chgData name="Kebba Jeng" userId="fe4cc296-ba7d-48a2-8799-89b58d218255" providerId="ADAL" clId="{388EFDEE-447E-42B4-98EF-30C01AB2E8CD}" dt="2022-03-28T18:48:09.370" v="3055"/>
          <ac:spMkLst>
            <pc:docMk/>
            <pc:sldMk cId="0" sldId="266"/>
            <ac:spMk id="274" creationId="{537753C7-6B42-48AA-AD31-2CDEA5BC46C6}"/>
          </ac:spMkLst>
        </pc:spChg>
        <pc:spChg chg="add del mod">
          <ac:chgData name="Kebba Jeng" userId="fe4cc296-ba7d-48a2-8799-89b58d218255" providerId="ADAL" clId="{388EFDEE-447E-42B4-98EF-30C01AB2E8CD}" dt="2022-03-28T18:48:09.370" v="3055"/>
          <ac:spMkLst>
            <pc:docMk/>
            <pc:sldMk cId="0" sldId="266"/>
            <ac:spMk id="275" creationId="{A7297A26-6BD2-4B00-BAC1-B02E7DF48979}"/>
          </ac:spMkLst>
        </pc:spChg>
        <pc:spChg chg="add del mod">
          <ac:chgData name="Kebba Jeng" userId="fe4cc296-ba7d-48a2-8799-89b58d218255" providerId="ADAL" clId="{388EFDEE-447E-42B4-98EF-30C01AB2E8CD}" dt="2022-03-28T18:48:09.370" v="3055"/>
          <ac:spMkLst>
            <pc:docMk/>
            <pc:sldMk cId="0" sldId="266"/>
            <ac:spMk id="276" creationId="{BD738CAD-C8E9-4106-9527-5A62047392BA}"/>
          </ac:spMkLst>
        </pc:spChg>
        <pc:spChg chg="add del mod">
          <ac:chgData name="Kebba Jeng" userId="fe4cc296-ba7d-48a2-8799-89b58d218255" providerId="ADAL" clId="{388EFDEE-447E-42B4-98EF-30C01AB2E8CD}" dt="2022-03-28T18:48:09.370" v="3055"/>
          <ac:spMkLst>
            <pc:docMk/>
            <pc:sldMk cId="0" sldId="266"/>
            <ac:spMk id="277" creationId="{E9E165E7-DDE1-4690-9F73-BF1B97CC46C4}"/>
          </ac:spMkLst>
        </pc:spChg>
        <pc:spChg chg="add del mod">
          <ac:chgData name="Kebba Jeng" userId="fe4cc296-ba7d-48a2-8799-89b58d218255" providerId="ADAL" clId="{388EFDEE-447E-42B4-98EF-30C01AB2E8CD}" dt="2022-03-28T18:48:09.370" v="3055"/>
          <ac:spMkLst>
            <pc:docMk/>
            <pc:sldMk cId="0" sldId="266"/>
            <ac:spMk id="278" creationId="{FCF2A322-1F6B-414E-A5D7-4B457BAAB4F1}"/>
          </ac:spMkLst>
        </pc:spChg>
        <pc:spChg chg="add del mod">
          <ac:chgData name="Kebba Jeng" userId="fe4cc296-ba7d-48a2-8799-89b58d218255" providerId="ADAL" clId="{388EFDEE-447E-42B4-98EF-30C01AB2E8CD}" dt="2022-03-28T18:48:09.370" v="3055"/>
          <ac:spMkLst>
            <pc:docMk/>
            <pc:sldMk cId="0" sldId="266"/>
            <ac:spMk id="279" creationId="{F7B35495-8084-4328-9508-22EA32095835}"/>
          </ac:spMkLst>
        </pc:spChg>
        <pc:spChg chg="add del mod">
          <ac:chgData name="Kebba Jeng" userId="fe4cc296-ba7d-48a2-8799-89b58d218255" providerId="ADAL" clId="{388EFDEE-447E-42B4-98EF-30C01AB2E8CD}" dt="2022-03-28T18:48:09.370" v="3055"/>
          <ac:spMkLst>
            <pc:docMk/>
            <pc:sldMk cId="0" sldId="266"/>
            <ac:spMk id="280" creationId="{CA0A96C7-C1EC-4D0B-9117-3DA7D8808425}"/>
          </ac:spMkLst>
        </pc:spChg>
        <pc:spChg chg="add del mod">
          <ac:chgData name="Kebba Jeng" userId="fe4cc296-ba7d-48a2-8799-89b58d218255" providerId="ADAL" clId="{388EFDEE-447E-42B4-98EF-30C01AB2E8CD}" dt="2022-03-28T18:48:09.370" v="3055"/>
          <ac:spMkLst>
            <pc:docMk/>
            <pc:sldMk cId="0" sldId="266"/>
            <ac:spMk id="281" creationId="{0DC1F601-C644-47EE-834B-DDED3FC8026D}"/>
          </ac:spMkLst>
        </pc:spChg>
        <pc:spChg chg="add del mod">
          <ac:chgData name="Kebba Jeng" userId="fe4cc296-ba7d-48a2-8799-89b58d218255" providerId="ADAL" clId="{388EFDEE-447E-42B4-98EF-30C01AB2E8CD}" dt="2022-03-28T18:48:09.370" v="3055"/>
          <ac:spMkLst>
            <pc:docMk/>
            <pc:sldMk cId="0" sldId="266"/>
            <ac:spMk id="282" creationId="{B50A1434-77B1-4C5B-B0C5-108B88B066ED}"/>
          </ac:spMkLst>
        </pc:spChg>
        <pc:spChg chg="add del mod">
          <ac:chgData name="Kebba Jeng" userId="fe4cc296-ba7d-48a2-8799-89b58d218255" providerId="ADAL" clId="{388EFDEE-447E-42B4-98EF-30C01AB2E8CD}" dt="2022-03-28T18:48:09.370" v="3055"/>
          <ac:spMkLst>
            <pc:docMk/>
            <pc:sldMk cId="0" sldId="266"/>
            <ac:spMk id="283" creationId="{88E2BA78-2530-47BE-9E84-221EF9E20ACE}"/>
          </ac:spMkLst>
        </pc:spChg>
        <pc:spChg chg="add del mod">
          <ac:chgData name="Kebba Jeng" userId="fe4cc296-ba7d-48a2-8799-89b58d218255" providerId="ADAL" clId="{388EFDEE-447E-42B4-98EF-30C01AB2E8CD}" dt="2022-03-28T18:48:09.370" v="3055"/>
          <ac:spMkLst>
            <pc:docMk/>
            <pc:sldMk cId="0" sldId="266"/>
            <ac:spMk id="284" creationId="{9E2DDEAD-5C90-4D4C-B93F-789ABB6DCD60}"/>
          </ac:spMkLst>
        </pc:spChg>
        <pc:spChg chg="add del mod">
          <ac:chgData name="Kebba Jeng" userId="fe4cc296-ba7d-48a2-8799-89b58d218255" providerId="ADAL" clId="{388EFDEE-447E-42B4-98EF-30C01AB2E8CD}" dt="2022-03-28T18:48:09.370" v="3055"/>
          <ac:spMkLst>
            <pc:docMk/>
            <pc:sldMk cId="0" sldId="266"/>
            <ac:spMk id="285" creationId="{188AF9AA-E081-4A93-AA91-A638DDE06BD1}"/>
          </ac:spMkLst>
        </pc:spChg>
        <pc:spChg chg="add del mod">
          <ac:chgData name="Kebba Jeng" userId="fe4cc296-ba7d-48a2-8799-89b58d218255" providerId="ADAL" clId="{388EFDEE-447E-42B4-98EF-30C01AB2E8CD}" dt="2022-03-28T18:48:09.370" v="3055"/>
          <ac:spMkLst>
            <pc:docMk/>
            <pc:sldMk cId="0" sldId="266"/>
            <ac:spMk id="286" creationId="{A5D398C2-15C8-4C69-869D-51FB4564AEF5}"/>
          </ac:spMkLst>
        </pc:spChg>
        <pc:spChg chg="add del mod">
          <ac:chgData name="Kebba Jeng" userId="fe4cc296-ba7d-48a2-8799-89b58d218255" providerId="ADAL" clId="{388EFDEE-447E-42B4-98EF-30C01AB2E8CD}" dt="2022-03-28T18:48:09.370" v="3055"/>
          <ac:spMkLst>
            <pc:docMk/>
            <pc:sldMk cId="0" sldId="266"/>
            <ac:spMk id="287" creationId="{194DF757-C599-4B4E-92EC-93ECAED2D13D}"/>
          </ac:spMkLst>
        </pc:spChg>
        <pc:spChg chg="add del mod">
          <ac:chgData name="Kebba Jeng" userId="fe4cc296-ba7d-48a2-8799-89b58d218255" providerId="ADAL" clId="{388EFDEE-447E-42B4-98EF-30C01AB2E8CD}" dt="2022-03-28T18:48:09.370" v="3055"/>
          <ac:spMkLst>
            <pc:docMk/>
            <pc:sldMk cId="0" sldId="266"/>
            <ac:spMk id="288" creationId="{93F6B21F-B94D-4530-9003-C54F94A77338}"/>
          </ac:spMkLst>
        </pc:spChg>
        <pc:spChg chg="add del mod">
          <ac:chgData name="Kebba Jeng" userId="fe4cc296-ba7d-48a2-8799-89b58d218255" providerId="ADAL" clId="{388EFDEE-447E-42B4-98EF-30C01AB2E8CD}" dt="2022-03-28T18:48:09.370" v="3055"/>
          <ac:spMkLst>
            <pc:docMk/>
            <pc:sldMk cId="0" sldId="266"/>
            <ac:spMk id="289" creationId="{33564EE2-17C5-4EF9-BD80-994C81335DE1}"/>
          </ac:spMkLst>
        </pc:spChg>
        <pc:spChg chg="add del mod">
          <ac:chgData name="Kebba Jeng" userId="fe4cc296-ba7d-48a2-8799-89b58d218255" providerId="ADAL" clId="{388EFDEE-447E-42B4-98EF-30C01AB2E8CD}" dt="2022-03-28T18:48:09.370" v="3055"/>
          <ac:spMkLst>
            <pc:docMk/>
            <pc:sldMk cId="0" sldId="266"/>
            <ac:spMk id="290" creationId="{482E39E1-2CA0-4256-8569-1FADC54C98E4}"/>
          </ac:spMkLst>
        </pc:spChg>
        <pc:spChg chg="add del mod">
          <ac:chgData name="Kebba Jeng" userId="fe4cc296-ba7d-48a2-8799-89b58d218255" providerId="ADAL" clId="{388EFDEE-447E-42B4-98EF-30C01AB2E8CD}" dt="2022-03-28T18:48:09.370" v="3055"/>
          <ac:spMkLst>
            <pc:docMk/>
            <pc:sldMk cId="0" sldId="266"/>
            <ac:spMk id="291" creationId="{02455F44-373A-44B5-8E1C-88C0D623458F}"/>
          </ac:spMkLst>
        </pc:spChg>
        <pc:spChg chg="add del mod">
          <ac:chgData name="Kebba Jeng" userId="fe4cc296-ba7d-48a2-8799-89b58d218255" providerId="ADAL" clId="{388EFDEE-447E-42B4-98EF-30C01AB2E8CD}" dt="2022-03-28T18:48:09.370" v="3055"/>
          <ac:spMkLst>
            <pc:docMk/>
            <pc:sldMk cId="0" sldId="266"/>
            <ac:spMk id="292" creationId="{A78667E3-14ED-4F47-9A28-176EC9ADFDB3}"/>
          </ac:spMkLst>
        </pc:spChg>
        <pc:spChg chg="add del mod">
          <ac:chgData name="Kebba Jeng" userId="fe4cc296-ba7d-48a2-8799-89b58d218255" providerId="ADAL" clId="{388EFDEE-447E-42B4-98EF-30C01AB2E8CD}" dt="2022-03-28T18:48:09.370" v="3055"/>
          <ac:spMkLst>
            <pc:docMk/>
            <pc:sldMk cId="0" sldId="266"/>
            <ac:spMk id="293" creationId="{692384AD-626E-41C8-9D13-1B230B7A08E0}"/>
          </ac:spMkLst>
        </pc:spChg>
        <pc:spChg chg="add del mod">
          <ac:chgData name="Kebba Jeng" userId="fe4cc296-ba7d-48a2-8799-89b58d218255" providerId="ADAL" clId="{388EFDEE-447E-42B4-98EF-30C01AB2E8CD}" dt="2022-03-28T18:48:09.370" v="3055"/>
          <ac:spMkLst>
            <pc:docMk/>
            <pc:sldMk cId="0" sldId="266"/>
            <ac:spMk id="294" creationId="{912CADC3-70E0-494F-9232-398B001FC651}"/>
          </ac:spMkLst>
        </pc:spChg>
        <pc:spChg chg="add del mod">
          <ac:chgData name="Kebba Jeng" userId="fe4cc296-ba7d-48a2-8799-89b58d218255" providerId="ADAL" clId="{388EFDEE-447E-42B4-98EF-30C01AB2E8CD}" dt="2022-03-28T18:48:09.370" v="3055"/>
          <ac:spMkLst>
            <pc:docMk/>
            <pc:sldMk cId="0" sldId="266"/>
            <ac:spMk id="295" creationId="{8A355920-A209-44DF-ABC6-8CF73E4FFF83}"/>
          </ac:spMkLst>
        </pc:spChg>
        <pc:spChg chg="add del mod">
          <ac:chgData name="Kebba Jeng" userId="fe4cc296-ba7d-48a2-8799-89b58d218255" providerId="ADAL" clId="{388EFDEE-447E-42B4-98EF-30C01AB2E8CD}" dt="2022-03-28T18:48:09.370" v="3055"/>
          <ac:spMkLst>
            <pc:docMk/>
            <pc:sldMk cId="0" sldId="266"/>
            <ac:spMk id="296" creationId="{6487C50A-33C9-4776-9A1B-31F092BFEEC5}"/>
          </ac:spMkLst>
        </pc:spChg>
        <pc:spChg chg="add del mod">
          <ac:chgData name="Kebba Jeng" userId="fe4cc296-ba7d-48a2-8799-89b58d218255" providerId="ADAL" clId="{388EFDEE-447E-42B4-98EF-30C01AB2E8CD}" dt="2022-03-28T18:48:09.370" v="3055"/>
          <ac:spMkLst>
            <pc:docMk/>
            <pc:sldMk cId="0" sldId="266"/>
            <ac:spMk id="297" creationId="{B9772930-87C8-473F-AF20-0BB299F7EFDF}"/>
          </ac:spMkLst>
        </pc:spChg>
        <pc:spChg chg="add del mod">
          <ac:chgData name="Kebba Jeng" userId="fe4cc296-ba7d-48a2-8799-89b58d218255" providerId="ADAL" clId="{388EFDEE-447E-42B4-98EF-30C01AB2E8CD}" dt="2022-03-28T18:48:09.370" v="3055"/>
          <ac:spMkLst>
            <pc:docMk/>
            <pc:sldMk cId="0" sldId="266"/>
            <ac:spMk id="298" creationId="{9655C249-8267-49CD-8D00-727F669761DB}"/>
          </ac:spMkLst>
        </pc:spChg>
        <pc:spChg chg="add del mod">
          <ac:chgData name="Kebba Jeng" userId="fe4cc296-ba7d-48a2-8799-89b58d218255" providerId="ADAL" clId="{388EFDEE-447E-42B4-98EF-30C01AB2E8CD}" dt="2022-03-28T18:48:09.370" v="3055"/>
          <ac:spMkLst>
            <pc:docMk/>
            <pc:sldMk cId="0" sldId="266"/>
            <ac:spMk id="299" creationId="{330EEFD6-6DDE-44CA-9EE4-5C0DD7ADE447}"/>
          </ac:spMkLst>
        </pc:spChg>
        <pc:spChg chg="add del mod">
          <ac:chgData name="Kebba Jeng" userId="fe4cc296-ba7d-48a2-8799-89b58d218255" providerId="ADAL" clId="{388EFDEE-447E-42B4-98EF-30C01AB2E8CD}" dt="2022-03-28T18:48:09.370" v="3055"/>
          <ac:spMkLst>
            <pc:docMk/>
            <pc:sldMk cId="0" sldId="266"/>
            <ac:spMk id="300" creationId="{D68B3F33-7A31-4BBB-8435-FC5377E2920C}"/>
          </ac:spMkLst>
        </pc:spChg>
        <pc:spChg chg="add del mod">
          <ac:chgData name="Kebba Jeng" userId="fe4cc296-ba7d-48a2-8799-89b58d218255" providerId="ADAL" clId="{388EFDEE-447E-42B4-98EF-30C01AB2E8CD}" dt="2022-03-28T18:48:09.370" v="3055"/>
          <ac:spMkLst>
            <pc:docMk/>
            <pc:sldMk cId="0" sldId="266"/>
            <ac:spMk id="301" creationId="{CB593435-031F-46A1-9246-C7DC75A4F80F}"/>
          </ac:spMkLst>
        </pc:spChg>
        <pc:spChg chg="add del mod">
          <ac:chgData name="Kebba Jeng" userId="fe4cc296-ba7d-48a2-8799-89b58d218255" providerId="ADAL" clId="{388EFDEE-447E-42B4-98EF-30C01AB2E8CD}" dt="2022-03-28T18:48:09.370" v="3055"/>
          <ac:spMkLst>
            <pc:docMk/>
            <pc:sldMk cId="0" sldId="266"/>
            <ac:spMk id="302" creationId="{1442ACFF-E8C5-4211-824D-01C2B8462EDD}"/>
          </ac:spMkLst>
        </pc:spChg>
        <pc:spChg chg="add del mod">
          <ac:chgData name="Kebba Jeng" userId="fe4cc296-ba7d-48a2-8799-89b58d218255" providerId="ADAL" clId="{388EFDEE-447E-42B4-98EF-30C01AB2E8CD}" dt="2022-03-28T18:48:09.370" v="3055"/>
          <ac:spMkLst>
            <pc:docMk/>
            <pc:sldMk cId="0" sldId="266"/>
            <ac:spMk id="303" creationId="{5553B4D9-138C-423D-99F2-1FE5A70080F1}"/>
          </ac:spMkLst>
        </pc:spChg>
        <pc:spChg chg="add del mod">
          <ac:chgData name="Kebba Jeng" userId="fe4cc296-ba7d-48a2-8799-89b58d218255" providerId="ADAL" clId="{388EFDEE-447E-42B4-98EF-30C01AB2E8CD}" dt="2022-03-28T18:48:09.370" v="3055"/>
          <ac:spMkLst>
            <pc:docMk/>
            <pc:sldMk cId="0" sldId="266"/>
            <ac:spMk id="304" creationId="{62147CFF-6950-4414-93E3-3DBB77743331}"/>
          </ac:spMkLst>
        </pc:spChg>
        <pc:spChg chg="add del mod">
          <ac:chgData name="Kebba Jeng" userId="fe4cc296-ba7d-48a2-8799-89b58d218255" providerId="ADAL" clId="{388EFDEE-447E-42B4-98EF-30C01AB2E8CD}" dt="2022-03-28T18:48:09.370" v="3055"/>
          <ac:spMkLst>
            <pc:docMk/>
            <pc:sldMk cId="0" sldId="266"/>
            <ac:spMk id="305" creationId="{A0E50704-A63C-4B12-9C96-F01E8ABB00FA}"/>
          </ac:spMkLst>
        </pc:spChg>
        <pc:spChg chg="add del mod">
          <ac:chgData name="Kebba Jeng" userId="fe4cc296-ba7d-48a2-8799-89b58d218255" providerId="ADAL" clId="{388EFDEE-447E-42B4-98EF-30C01AB2E8CD}" dt="2022-03-28T18:48:09.370" v="3055"/>
          <ac:spMkLst>
            <pc:docMk/>
            <pc:sldMk cId="0" sldId="266"/>
            <ac:spMk id="306" creationId="{6FCCD050-72D3-4896-B41B-6F452B507DDA}"/>
          </ac:spMkLst>
        </pc:spChg>
        <pc:spChg chg="add del mod">
          <ac:chgData name="Kebba Jeng" userId="fe4cc296-ba7d-48a2-8799-89b58d218255" providerId="ADAL" clId="{388EFDEE-447E-42B4-98EF-30C01AB2E8CD}" dt="2022-03-28T18:48:09.370" v="3055"/>
          <ac:spMkLst>
            <pc:docMk/>
            <pc:sldMk cId="0" sldId="266"/>
            <ac:spMk id="307" creationId="{1D11EFE9-A96A-46F1-A232-D74C3E9EAA08}"/>
          </ac:spMkLst>
        </pc:spChg>
        <pc:spChg chg="add del mod">
          <ac:chgData name="Kebba Jeng" userId="fe4cc296-ba7d-48a2-8799-89b58d218255" providerId="ADAL" clId="{388EFDEE-447E-42B4-98EF-30C01AB2E8CD}" dt="2022-03-28T18:48:09.370" v="3055"/>
          <ac:spMkLst>
            <pc:docMk/>
            <pc:sldMk cId="0" sldId="266"/>
            <ac:spMk id="308" creationId="{164DA6B7-0FB8-4CBF-BBDA-BF405E09E420}"/>
          </ac:spMkLst>
        </pc:spChg>
        <pc:spChg chg="add del mod">
          <ac:chgData name="Kebba Jeng" userId="fe4cc296-ba7d-48a2-8799-89b58d218255" providerId="ADAL" clId="{388EFDEE-447E-42B4-98EF-30C01AB2E8CD}" dt="2022-03-28T18:48:09.370" v="3055"/>
          <ac:spMkLst>
            <pc:docMk/>
            <pc:sldMk cId="0" sldId="266"/>
            <ac:spMk id="309" creationId="{6096805E-C92D-4CD8-845E-CE30D32F47B5}"/>
          </ac:spMkLst>
        </pc:spChg>
        <pc:spChg chg="add del mod">
          <ac:chgData name="Kebba Jeng" userId="fe4cc296-ba7d-48a2-8799-89b58d218255" providerId="ADAL" clId="{388EFDEE-447E-42B4-98EF-30C01AB2E8CD}" dt="2022-03-28T18:48:09.370" v="3055"/>
          <ac:spMkLst>
            <pc:docMk/>
            <pc:sldMk cId="0" sldId="266"/>
            <ac:spMk id="310" creationId="{D7016341-C20B-44D3-83C2-608C5AAB814A}"/>
          </ac:spMkLst>
        </pc:spChg>
        <pc:spChg chg="add del mod">
          <ac:chgData name="Kebba Jeng" userId="fe4cc296-ba7d-48a2-8799-89b58d218255" providerId="ADAL" clId="{388EFDEE-447E-42B4-98EF-30C01AB2E8CD}" dt="2022-03-28T18:48:09.370" v="3055"/>
          <ac:spMkLst>
            <pc:docMk/>
            <pc:sldMk cId="0" sldId="266"/>
            <ac:spMk id="311" creationId="{89A4E151-280C-48DC-8E92-A1EC94B5499C}"/>
          </ac:spMkLst>
        </pc:spChg>
        <pc:spChg chg="add del mod">
          <ac:chgData name="Kebba Jeng" userId="fe4cc296-ba7d-48a2-8799-89b58d218255" providerId="ADAL" clId="{388EFDEE-447E-42B4-98EF-30C01AB2E8CD}" dt="2022-03-28T18:48:09.370" v="3055"/>
          <ac:spMkLst>
            <pc:docMk/>
            <pc:sldMk cId="0" sldId="266"/>
            <ac:spMk id="312" creationId="{FB393C32-3140-4BDE-966E-6C7E5455A339}"/>
          </ac:spMkLst>
        </pc:spChg>
        <pc:spChg chg="add del mod">
          <ac:chgData name="Kebba Jeng" userId="fe4cc296-ba7d-48a2-8799-89b58d218255" providerId="ADAL" clId="{388EFDEE-447E-42B4-98EF-30C01AB2E8CD}" dt="2022-03-28T18:48:09.370" v="3055"/>
          <ac:spMkLst>
            <pc:docMk/>
            <pc:sldMk cId="0" sldId="266"/>
            <ac:spMk id="313" creationId="{3F1AE799-FB4F-4AA6-A4F2-04D642F40260}"/>
          </ac:spMkLst>
        </pc:spChg>
        <pc:spChg chg="add del mod">
          <ac:chgData name="Kebba Jeng" userId="fe4cc296-ba7d-48a2-8799-89b58d218255" providerId="ADAL" clId="{388EFDEE-447E-42B4-98EF-30C01AB2E8CD}" dt="2022-03-28T18:48:09.370" v="3055"/>
          <ac:spMkLst>
            <pc:docMk/>
            <pc:sldMk cId="0" sldId="266"/>
            <ac:spMk id="314" creationId="{A3382AF2-06A5-4E53-8A33-C57B5A04DBAA}"/>
          </ac:spMkLst>
        </pc:spChg>
        <pc:spChg chg="add del mod">
          <ac:chgData name="Kebba Jeng" userId="fe4cc296-ba7d-48a2-8799-89b58d218255" providerId="ADAL" clId="{388EFDEE-447E-42B4-98EF-30C01AB2E8CD}" dt="2022-03-28T18:48:09.370" v="3055"/>
          <ac:spMkLst>
            <pc:docMk/>
            <pc:sldMk cId="0" sldId="266"/>
            <ac:spMk id="315" creationId="{35306A0B-772C-4523-8106-AD9CD73FF253}"/>
          </ac:spMkLst>
        </pc:spChg>
        <pc:spChg chg="add del mod">
          <ac:chgData name="Kebba Jeng" userId="fe4cc296-ba7d-48a2-8799-89b58d218255" providerId="ADAL" clId="{388EFDEE-447E-42B4-98EF-30C01AB2E8CD}" dt="2022-03-28T18:48:09.370" v="3055"/>
          <ac:spMkLst>
            <pc:docMk/>
            <pc:sldMk cId="0" sldId="266"/>
            <ac:spMk id="316" creationId="{0BDE2030-6C2C-433D-9E8A-2C9293F190BE}"/>
          </ac:spMkLst>
        </pc:spChg>
        <pc:spChg chg="add del mod">
          <ac:chgData name="Kebba Jeng" userId="fe4cc296-ba7d-48a2-8799-89b58d218255" providerId="ADAL" clId="{388EFDEE-447E-42B4-98EF-30C01AB2E8CD}" dt="2022-03-28T18:48:09.370" v="3055"/>
          <ac:spMkLst>
            <pc:docMk/>
            <pc:sldMk cId="0" sldId="266"/>
            <ac:spMk id="317" creationId="{36076D3F-DED4-47B8-871D-F84B294926BE}"/>
          </ac:spMkLst>
        </pc:spChg>
        <pc:spChg chg="add del mod">
          <ac:chgData name="Kebba Jeng" userId="fe4cc296-ba7d-48a2-8799-89b58d218255" providerId="ADAL" clId="{388EFDEE-447E-42B4-98EF-30C01AB2E8CD}" dt="2022-03-28T18:48:09.370" v="3055"/>
          <ac:spMkLst>
            <pc:docMk/>
            <pc:sldMk cId="0" sldId="266"/>
            <ac:spMk id="318" creationId="{AAD7B8FD-BAAF-4EDD-9145-9E55C35A0EF6}"/>
          </ac:spMkLst>
        </pc:spChg>
        <pc:spChg chg="add del mod">
          <ac:chgData name="Kebba Jeng" userId="fe4cc296-ba7d-48a2-8799-89b58d218255" providerId="ADAL" clId="{388EFDEE-447E-42B4-98EF-30C01AB2E8CD}" dt="2022-03-28T18:48:09.370" v="3055"/>
          <ac:spMkLst>
            <pc:docMk/>
            <pc:sldMk cId="0" sldId="266"/>
            <ac:spMk id="319" creationId="{0BBED157-6130-4238-9BE0-7BDA4DD120FC}"/>
          </ac:spMkLst>
        </pc:spChg>
        <pc:spChg chg="add del mod">
          <ac:chgData name="Kebba Jeng" userId="fe4cc296-ba7d-48a2-8799-89b58d218255" providerId="ADAL" clId="{388EFDEE-447E-42B4-98EF-30C01AB2E8CD}" dt="2022-03-28T18:48:09.370" v="3055"/>
          <ac:spMkLst>
            <pc:docMk/>
            <pc:sldMk cId="0" sldId="266"/>
            <ac:spMk id="320" creationId="{C7CED7A1-9A80-406A-9ECC-32B56F83A20B}"/>
          </ac:spMkLst>
        </pc:spChg>
        <pc:spChg chg="add del mod">
          <ac:chgData name="Kebba Jeng" userId="fe4cc296-ba7d-48a2-8799-89b58d218255" providerId="ADAL" clId="{388EFDEE-447E-42B4-98EF-30C01AB2E8CD}" dt="2022-03-28T18:48:09.370" v="3055"/>
          <ac:spMkLst>
            <pc:docMk/>
            <pc:sldMk cId="0" sldId="266"/>
            <ac:spMk id="321" creationId="{C6434E83-E050-4298-9CA2-26797BB65D74}"/>
          </ac:spMkLst>
        </pc:spChg>
        <pc:spChg chg="add del mod">
          <ac:chgData name="Kebba Jeng" userId="fe4cc296-ba7d-48a2-8799-89b58d218255" providerId="ADAL" clId="{388EFDEE-447E-42B4-98EF-30C01AB2E8CD}" dt="2022-03-28T18:48:09.370" v="3055"/>
          <ac:spMkLst>
            <pc:docMk/>
            <pc:sldMk cId="0" sldId="266"/>
            <ac:spMk id="322" creationId="{E440AC3E-536E-4892-A49F-80E0CE6846A9}"/>
          </ac:spMkLst>
        </pc:spChg>
        <pc:spChg chg="add del mod">
          <ac:chgData name="Kebba Jeng" userId="fe4cc296-ba7d-48a2-8799-89b58d218255" providerId="ADAL" clId="{388EFDEE-447E-42B4-98EF-30C01AB2E8CD}" dt="2022-03-28T18:48:09.370" v="3055"/>
          <ac:spMkLst>
            <pc:docMk/>
            <pc:sldMk cId="0" sldId="266"/>
            <ac:spMk id="323" creationId="{B59DFAC9-CD1C-4727-A79E-0675B6E7BD40}"/>
          </ac:spMkLst>
        </pc:spChg>
        <pc:spChg chg="add del mod">
          <ac:chgData name="Kebba Jeng" userId="fe4cc296-ba7d-48a2-8799-89b58d218255" providerId="ADAL" clId="{388EFDEE-447E-42B4-98EF-30C01AB2E8CD}" dt="2022-03-28T18:48:09.370" v="3055"/>
          <ac:spMkLst>
            <pc:docMk/>
            <pc:sldMk cId="0" sldId="266"/>
            <ac:spMk id="324" creationId="{8D50793A-A042-4310-86CF-78B432C5F461}"/>
          </ac:spMkLst>
        </pc:spChg>
        <pc:spChg chg="add del mod">
          <ac:chgData name="Kebba Jeng" userId="fe4cc296-ba7d-48a2-8799-89b58d218255" providerId="ADAL" clId="{388EFDEE-447E-42B4-98EF-30C01AB2E8CD}" dt="2022-03-28T18:48:09.370" v="3055"/>
          <ac:spMkLst>
            <pc:docMk/>
            <pc:sldMk cId="0" sldId="266"/>
            <ac:spMk id="325" creationId="{A55F02F5-DEFC-4C43-B266-B2CCBA173309}"/>
          </ac:spMkLst>
        </pc:spChg>
        <pc:spChg chg="add del mod">
          <ac:chgData name="Kebba Jeng" userId="fe4cc296-ba7d-48a2-8799-89b58d218255" providerId="ADAL" clId="{388EFDEE-447E-42B4-98EF-30C01AB2E8CD}" dt="2022-03-28T18:48:09.370" v="3055"/>
          <ac:spMkLst>
            <pc:docMk/>
            <pc:sldMk cId="0" sldId="266"/>
            <ac:spMk id="326" creationId="{C81E80B4-2498-4AE7-BEB0-6F931AE5342F}"/>
          </ac:spMkLst>
        </pc:spChg>
        <pc:spChg chg="add del mod">
          <ac:chgData name="Kebba Jeng" userId="fe4cc296-ba7d-48a2-8799-89b58d218255" providerId="ADAL" clId="{388EFDEE-447E-42B4-98EF-30C01AB2E8CD}" dt="2022-03-28T18:48:09.370" v="3055"/>
          <ac:spMkLst>
            <pc:docMk/>
            <pc:sldMk cId="0" sldId="266"/>
            <ac:spMk id="327" creationId="{CD596852-97C7-4782-B779-42F40DDEC1CF}"/>
          </ac:spMkLst>
        </pc:spChg>
        <pc:spChg chg="add del mod">
          <ac:chgData name="Kebba Jeng" userId="fe4cc296-ba7d-48a2-8799-89b58d218255" providerId="ADAL" clId="{388EFDEE-447E-42B4-98EF-30C01AB2E8CD}" dt="2022-03-28T18:48:09.370" v="3055"/>
          <ac:spMkLst>
            <pc:docMk/>
            <pc:sldMk cId="0" sldId="266"/>
            <ac:spMk id="328" creationId="{B0B0C13A-615A-47D3-B384-34D21AAEEDF8}"/>
          </ac:spMkLst>
        </pc:spChg>
        <pc:spChg chg="add del mod">
          <ac:chgData name="Kebba Jeng" userId="fe4cc296-ba7d-48a2-8799-89b58d218255" providerId="ADAL" clId="{388EFDEE-447E-42B4-98EF-30C01AB2E8CD}" dt="2022-03-28T18:48:09.370" v="3055"/>
          <ac:spMkLst>
            <pc:docMk/>
            <pc:sldMk cId="0" sldId="266"/>
            <ac:spMk id="329" creationId="{8DDA16D8-979C-4F67-90CC-B55F838B120C}"/>
          </ac:spMkLst>
        </pc:spChg>
        <pc:spChg chg="add del mod">
          <ac:chgData name="Kebba Jeng" userId="fe4cc296-ba7d-48a2-8799-89b58d218255" providerId="ADAL" clId="{388EFDEE-447E-42B4-98EF-30C01AB2E8CD}" dt="2022-03-28T18:48:09.370" v="3055"/>
          <ac:spMkLst>
            <pc:docMk/>
            <pc:sldMk cId="0" sldId="266"/>
            <ac:spMk id="330" creationId="{C8DA8552-0856-4DD4-9918-42B6C69E40BB}"/>
          </ac:spMkLst>
        </pc:spChg>
        <pc:spChg chg="add del mod">
          <ac:chgData name="Kebba Jeng" userId="fe4cc296-ba7d-48a2-8799-89b58d218255" providerId="ADAL" clId="{388EFDEE-447E-42B4-98EF-30C01AB2E8CD}" dt="2022-03-28T18:48:09.370" v="3055"/>
          <ac:spMkLst>
            <pc:docMk/>
            <pc:sldMk cId="0" sldId="266"/>
            <ac:spMk id="331" creationId="{A6BABA9F-DF4E-4888-A841-B1AE45F39146}"/>
          </ac:spMkLst>
        </pc:spChg>
        <pc:spChg chg="add del mod">
          <ac:chgData name="Kebba Jeng" userId="fe4cc296-ba7d-48a2-8799-89b58d218255" providerId="ADAL" clId="{388EFDEE-447E-42B4-98EF-30C01AB2E8CD}" dt="2022-03-28T18:48:09.370" v="3055"/>
          <ac:spMkLst>
            <pc:docMk/>
            <pc:sldMk cId="0" sldId="266"/>
            <ac:spMk id="332" creationId="{02A529BC-76AC-4461-B10B-648A6C568692}"/>
          </ac:spMkLst>
        </pc:spChg>
        <pc:spChg chg="add del mod">
          <ac:chgData name="Kebba Jeng" userId="fe4cc296-ba7d-48a2-8799-89b58d218255" providerId="ADAL" clId="{388EFDEE-447E-42B4-98EF-30C01AB2E8CD}" dt="2022-03-28T18:48:09.370" v="3055"/>
          <ac:spMkLst>
            <pc:docMk/>
            <pc:sldMk cId="0" sldId="266"/>
            <ac:spMk id="333" creationId="{7B9A2FFB-EB67-489C-B336-6A66A46ECDF5}"/>
          </ac:spMkLst>
        </pc:spChg>
        <pc:spChg chg="add del mod">
          <ac:chgData name="Kebba Jeng" userId="fe4cc296-ba7d-48a2-8799-89b58d218255" providerId="ADAL" clId="{388EFDEE-447E-42B4-98EF-30C01AB2E8CD}" dt="2022-03-28T18:48:09.370" v="3055"/>
          <ac:spMkLst>
            <pc:docMk/>
            <pc:sldMk cId="0" sldId="266"/>
            <ac:spMk id="334" creationId="{1E532418-8601-4ADD-9FB6-3DF9152F9656}"/>
          </ac:spMkLst>
        </pc:spChg>
        <pc:spChg chg="add del mod">
          <ac:chgData name="Kebba Jeng" userId="fe4cc296-ba7d-48a2-8799-89b58d218255" providerId="ADAL" clId="{388EFDEE-447E-42B4-98EF-30C01AB2E8CD}" dt="2022-03-28T18:48:09.370" v="3055"/>
          <ac:spMkLst>
            <pc:docMk/>
            <pc:sldMk cId="0" sldId="266"/>
            <ac:spMk id="335" creationId="{DD0F278A-1AE4-4F7D-BBF3-DDCEF35D4529}"/>
          </ac:spMkLst>
        </pc:spChg>
        <pc:spChg chg="add del mod">
          <ac:chgData name="Kebba Jeng" userId="fe4cc296-ba7d-48a2-8799-89b58d218255" providerId="ADAL" clId="{388EFDEE-447E-42B4-98EF-30C01AB2E8CD}" dt="2022-03-28T18:48:09.370" v="3055"/>
          <ac:spMkLst>
            <pc:docMk/>
            <pc:sldMk cId="0" sldId="266"/>
            <ac:spMk id="336" creationId="{3D7DC125-CBDE-44ED-B0C0-367BE114811E}"/>
          </ac:spMkLst>
        </pc:spChg>
        <pc:spChg chg="add del mod">
          <ac:chgData name="Kebba Jeng" userId="fe4cc296-ba7d-48a2-8799-89b58d218255" providerId="ADAL" clId="{388EFDEE-447E-42B4-98EF-30C01AB2E8CD}" dt="2022-03-28T18:48:09.370" v="3055"/>
          <ac:spMkLst>
            <pc:docMk/>
            <pc:sldMk cId="0" sldId="266"/>
            <ac:spMk id="337" creationId="{17941280-5C0A-4F74-AB01-8F5DF243C535}"/>
          </ac:spMkLst>
        </pc:spChg>
        <pc:spChg chg="add del mod">
          <ac:chgData name="Kebba Jeng" userId="fe4cc296-ba7d-48a2-8799-89b58d218255" providerId="ADAL" clId="{388EFDEE-447E-42B4-98EF-30C01AB2E8CD}" dt="2022-03-28T18:48:09.370" v="3055"/>
          <ac:spMkLst>
            <pc:docMk/>
            <pc:sldMk cId="0" sldId="266"/>
            <ac:spMk id="338" creationId="{BFCED7C5-20FD-4A3F-ABE8-6449D6EB06A6}"/>
          </ac:spMkLst>
        </pc:spChg>
        <pc:spChg chg="add del mod">
          <ac:chgData name="Kebba Jeng" userId="fe4cc296-ba7d-48a2-8799-89b58d218255" providerId="ADAL" clId="{388EFDEE-447E-42B4-98EF-30C01AB2E8CD}" dt="2022-03-28T18:48:09.370" v="3055"/>
          <ac:spMkLst>
            <pc:docMk/>
            <pc:sldMk cId="0" sldId="266"/>
            <ac:spMk id="339" creationId="{1D165497-FADF-4DA6-922A-7E1227913600}"/>
          </ac:spMkLst>
        </pc:spChg>
        <pc:spChg chg="add del mod">
          <ac:chgData name="Kebba Jeng" userId="fe4cc296-ba7d-48a2-8799-89b58d218255" providerId="ADAL" clId="{388EFDEE-447E-42B4-98EF-30C01AB2E8CD}" dt="2022-03-28T18:48:09.370" v="3055"/>
          <ac:spMkLst>
            <pc:docMk/>
            <pc:sldMk cId="0" sldId="266"/>
            <ac:spMk id="340" creationId="{1042F5A9-4343-4F9E-B033-132E6D7ED511}"/>
          </ac:spMkLst>
        </pc:spChg>
        <pc:spChg chg="add del mod">
          <ac:chgData name="Kebba Jeng" userId="fe4cc296-ba7d-48a2-8799-89b58d218255" providerId="ADAL" clId="{388EFDEE-447E-42B4-98EF-30C01AB2E8CD}" dt="2022-03-28T18:48:09.370" v="3055"/>
          <ac:spMkLst>
            <pc:docMk/>
            <pc:sldMk cId="0" sldId="266"/>
            <ac:spMk id="341" creationId="{FB452FE8-F94B-4D3A-B031-4762D6CC2CD8}"/>
          </ac:spMkLst>
        </pc:spChg>
        <pc:spChg chg="add del mod">
          <ac:chgData name="Kebba Jeng" userId="fe4cc296-ba7d-48a2-8799-89b58d218255" providerId="ADAL" clId="{388EFDEE-447E-42B4-98EF-30C01AB2E8CD}" dt="2022-03-28T18:48:09.370" v="3055"/>
          <ac:spMkLst>
            <pc:docMk/>
            <pc:sldMk cId="0" sldId="266"/>
            <ac:spMk id="342" creationId="{F256993B-B049-4C5A-812A-D0952839B3A7}"/>
          </ac:spMkLst>
        </pc:spChg>
        <pc:spChg chg="add del mod">
          <ac:chgData name="Kebba Jeng" userId="fe4cc296-ba7d-48a2-8799-89b58d218255" providerId="ADAL" clId="{388EFDEE-447E-42B4-98EF-30C01AB2E8CD}" dt="2022-03-28T18:48:09.370" v="3055"/>
          <ac:spMkLst>
            <pc:docMk/>
            <pc:sldMk cId="0" sldId="266"/>
            <ac:spMk id="343" creationId="{5827B054-2EB5-43A0-89E3-CDA0B86CA26C}"/>
          </ac:spMkLst>
        </pc:spChg>
        <pc:spChg chg="add del mod">
          <ac:chgData name="Kebba Jeng" userId="fe4cc296-ba7d-48a2-8799-89b58d218255" providerId="ADAL" clId="{388EFDEE-447E-42B4-98EF-30C01AB2E8CD}" dt="2022-03-28T18:48:09.370" v="3055"/>
          <ac:spMkLst>
            <pc:docMk/>
            <pc:sldMk cId="0" sldId="266"/>
            <ac:spMk id="344" creationId="{70B51544-1E90-4387-BDAF-2D590CEE2258}"/>
          </ac:spMkLst>
        </pc:spChg>
        <pc:spChg chg="add del mod">
          <ac:chgData name="Kebba Jeng" userId="fe4cc296-ba7d-48a2-8799-89b58d218255" providerId="ADAL" clId="{388EFDEE-447E-42B4-98EF-30C01AB2E8CD}" dt="2022-03-28T18:48:09.370" v="3055"/>
          <ac:spMkLst>
            <pc:docMk/>
            <pc:sldMk cId="0" sldId="266"/>
            <ac:spMk id="345" creationId="{0EF524E6-10DE-4907-96BD-53CCE2D4485E}"/>
          </ac:spMkLst>
        </pc:spChg>
        <pc:spChg chg="add del mod">
          <ac:chgData name="Kebba Jeng" userId="fe4cc296-ba7d-48a2-8799-89b58d218255" providerId="ADAL" clId="{388EFDEE-447E-42B4-98EF-30C01AB2E8CD}" dt="2022-03-28T18:48:09.370" v="3055"/>
          <ac:spMkLst>
            <pc:docMk/>
            <pc:sldMk cId="0" sldId="266"/>
            <ac:spMk id="346" creationId="{2F55BD34-E29B-4D46-816E-729A17760EEC}"/>
          </ac:spMkLst>
        </pc:spChg>
        <pc:spChg chg="add del mod">
          <ac:chgData name="Kebba Jeng" userId="fe4cc296-ba7d-48a2-8799-89b58d218255" providerId="ADAL" clId="{388EFDEE-447E-42B4-98EF-30C01AB2E8CD}" dt="2022-03-28T18:48:09.370" v="3055"/>
          <ac:spMkLst>
            <pc:docMk/>
            <pc:sldMk cId="0" sldId="266"/>
            <ac:spMk id="347" creationId="{015CF0E1-9D45-403B-B6F5-24D945C8F1E2}"/>
          </ac:spMkLst>
        </pc:spChg>
        <pc:spChg chg="add del mod">
          <ac:chgData name="Kebba Jeng" userId="fe4cc296-ba7d-48a2-8799-89b58d218255" providerId="ADAL" clId="{388EFDEE-447E-42B4-98EF-30C01AB2E8CD}" dt="2022-03-28T18:48:09.370" v="3055"/>
          <ac:spMkLst>
            <pc:docMk/>
            <pc:sldMk cId="0" sldId="266"/>
            <ac:spMk id="348" creationId="{35EC65ED-6A94-439C-A44A-B989584F1EB4}"/>
          </ac:spMkLst>
        </pc:spChg>
        <pc:spChg chg="add del mod">
          <ac:chgData name="Kebba Jeng" userId="fe4cc296-ba7d-48a2-8799-89b58d218255" providerId="ADAL" clId="{388EFDEE-447E-42B4-98EF-30C01AB2E8CD}" dt="2022-03-28T18:48:09.370" v="3055"/>
          <ac:spMkLst>
            <pc:docMk/>
            <pc:sldMk cId="0" sldId="266"/>
            <ac:spMk id="349" creationId="{14AEB42D-75BB-40A3-B26D-3FD9790D45E2}"/>
          </ac:spMkLst>
        </pc:spChg>
        <pc:spChg chg="add del mod">
          <ac:chgData name="Kebba Jeng" userId="fe4cc296-ba7d-48a2-8799-89b58d218255" providerId="ADAL" clId="{388EFDEE-447E-42B4-98EF-30C01AB2E8CD}" dt="2022-03-28T18:48:09.370" v="3055"/>
          <ac:spMkLst>
            <pc:docMk/>
            <pc:sldMk cId="0" sldId="266"/>
            <ac:spMk id="350" creationId="{4EC456E7-2406-4A9C-BE36-B338B752AB05}"/>
          </ac:spMkLst>
        </pc:spChg>
        <pc:spChg chg="add del mod">
          <ac:chgData name="Kebba Jeng" userId="fe4cc296-ba7d-48a2-8799-89b58d218255" providerId="ADAL" clId="{388EFDEE-447E-42B4-98EF-30C01AB2E8CD}" dt="2022-03-28T18:48:09.370" v="3055"/>
          <ac:spMkLst>
            <pc:docMk/>
            <pc:sldMk cId="0" sldId="266"/>
            <ac:spMk id="351" creationId="{61EDE858-B6B2-4841-AADF-FCDED11950F0}"/>
          </ac:spMkLst>
        </pc:spChg>
        <pc:spChg chg="add del mod">
          <ac:chgData name="Kebba Jeng" userId="fe4cc296-ba7d-48a2-8799-89b58d218255" providerId="ADAL" clId="{388EFDEE-447E-42B4-98EF-30C01AB2E8CD}" dt="2022-03-28T18:48:09.370" v="3055"/>
          <ac:spMkLst>
            <pc:docMk/>
            <pc:sldMk cId="0" sldId="266"/>
            <ac:spMk id="352" creationId="{1F1CD613-A592-4FE0-A611-B3073D4B1254}"/>
          </ac:spMkLst>
        </pc:spChg>
        <pc:spChg chg="add del mod">
          <ac:chgData name="Kebba Jeng" userId="fe4cc296-ba7d-48a2-8799-89b58d218255" providerId="ADAL" clId="{388EFDEE-447E-42B4-98EF-30C01AB2E8CD}" dt="2022-03-28T18:48:09.370" v="3055"/>
          <ac:spMkLst>
            <pc:docMk/>
            <pc:sldMk cId="0" sldId="266"/>
            <ac:spMk id="353" creationId="{A6B36697-C4A3-47D3-BA66-47A6E362FA8C}"/>
          </ac:spMkLst>
        </pc:spChg>
        <pc:spChg chg="add del mod">
          <ac:chgData name="Kebba Jeng" userId="fe4cc296-ba7d-48a2-8799-89b58d218255" providerId="ADAL" clId="{388EFDEE-447E-42B4-98EF-30C01AB2E8CD}" dt="2022-03-28T18:48:09.370" v="3055"/>
          <ac:spMkLst>
            <pc:docMk/>
            <pc:sldMk cId="0" sldId="266"/>
            <ac:spMk id="354" creationId="{4D7D6616-8217-424A-AD3D-DB5039493794}"/>
          </ac:spMkLst>
        </pc:spChg>
        <pc:spChg chg="add del mod">
          <ac:chgData name="Kebba Jeng" userId="fe4cc296-ba7d-48a2-8799-89b58d218255" providerId="ADAL" clId="{388EFDEE-447E-42B4-98EF-30C01AB2E8CD}" dt="2022-03-28T18:48:09.370" v="3055"/>
          <ac:spMkLst>
            <pc:docMk/>
            <pc:sldMk cId="0" sldId="266"/>
            <ac:spMk id="355" creationId="{F117CF53-F2EC-4FDC-B2A4-A32B647EBF92}"/>
          </ac:spMkLst>
        </pc:spChg>
        <pc:spChg chg="add del mod">
          <ac:chgData name="Kebba Jeng" userId="fe4cc296-ba7d-48a2-8799-89b58d218255" providerId="ADAL" clId="{388EFDEE-447E-42B4-98EF-30C01AB2E8CD}" dt="2022-03-28T18:48:09.370" v="3055"/>
          <ac:spMkLst>
            <pc:docMk/>
            <pc:sldMk cId="0" sldId="266"/>
            <ac:spMk id="356" creationId="{979289A4-EA80-47E3-B8F9-2D4DFF3582FF}"/>
          </ac:spMkLst>
        </pc:spChg>
        <pc:spChg chg="add del mod">
          <ac:chgData name="Kebba Jeng" userId="fe4cc296-ba7d-48a2-8799-89b58d218255" providerId="ADAL" clId="{388EFDEE-447E-42B4-98EF-30C01AB2E8CD}" dt="2022-03-28T18:48:09.370" v="3055"/>
          <ac:spMkLst>
            <pc:docMk/>
            <pc:sldMk cId="0" sldId="266"/>
            <ac:spMk id="357" creationId="{6573754F-7398-4B19-97F7-B92588A3934D}"/>
          </ac:spMkLst>
        </pc:spChg>
        <pc:spChg chg="add del mod">
          <ac:chgData name="Kebba Jeng" userId="fe4cc296-ba7d-48a2-8799-89b58d218255" providerId="ADAL" clId="{388EFDEE-447E-42B4-98EF-30C01AB2E8CD}" dt="2022-03-28T18:48:09.370" v="3055"/>
          <ac:spMkLst>
            <pc:docMk/>
            <pc:sldMk cId="0" sldId="266"/>
            <ac:spMk id="358" creationId="{99DD4CFB-4E7D-4E5B-9218-8BC9BAC7A712}"/>
          </ac:spMkLst>
        </pc:spChg>
        <pc:spChg chg="add del mod">
          <ac:chgData name="Kebba Jeng" userId="fe4cc296-ba7d-48a2-8799-89b58d218255" providerId="ADAL" clId="{388EFDEE-447E-42B4-98EF-30C01AB2E8CD}" dt="2022-03-28T18:48:09.370" v="3055"/>
          <ac:spMkLst>
            <pc:docMk/>
            <pc:sldMk cId="0" sldId="266"/>
            <ac:spMk id="359" creationId="{455A49AA-7F2D-4955-9052-5C28C669989A}"/>
          </ac:spMkLst>
        </pc:spChg>
        <pc:spChg chg="add del mod">
          <ac:chgData name="Kebba Jeng" userId="fe4cc296-ba7d-48a2-8799-89b58d218255" providerId="ADAL" clId="{388EFDEE-447E-42B4-98EF-30C01AB2E8CD}" dt="2022-03-28T18:48:09.370" v="3055"/>
          <ac:spMkLst>
            <pc:docMk/>
            <pc:sldMk cId="0" sldId="266"/>
            <ac:spMk id="360" creationId="{DC6E45A1-53A4-4E9F-B7E2-412A73C0DDA1}"/>
          </ac:spMkLst>
        </pc:spChg>
        <pc:spChg chg="add del mod">
          <ac:chgData name="Kebba Jeng" userId="fe4cc296-ba7d-48a2-8799-89b58d218255" providerId="ADAL" clId="{388EFDEE-447E-42B4-98EF-30C01AB2E8CD}" dt="2022-03-28T18:48:09.370" v="3055"/>
          <ac:spMkLst>
            <pc:docMk/>
            <pc:sldMk cId="0" sldId="266"/>
            <ac:spMk id="361" creationId="{B348D130-97B3-4118-8C38-7A61EACDB9A6}"/>
          </ac:spMkLst>
        </pc:spChg>
        <pc:spChg chg="add del mod">
          <ac:chgData name="Kebba Jeng" userId="fe4cc296-ba7d-48a2-8799-89b58d218255" providerId="ADAL" clId="{388EFDEE-447E-42B4-98EF-30C01AB2E8CD}" dt="2022-03-28T18:48:09.370" v="3055"/>
          <ac:spMkLst>
            <pc:docMk/>
            <pc:sldMk cId="0" sldId="266"/>
            <ac:spMk id="362" creationId="{6A8302FD-51A6-49B1-BAB9-9CB4079A1C77}"/>
          </ac:spMkLst>
        </pc:spChg>
        <pc:spChg chg="add del mod">
          <ac:chgData name="Kebba Jeng" userId="fe4cc296-ba7d-48a2-8799-89b58d218255" providerId="ADAL" clId="{388EFDEE-447E-42B4-98EF-30C01AB2E8CD}" dt="2022-03-28T18:48:09.370" v="3055"/>
          <ac:spMkLst>
            <pc:docMk/>
            <pc:sldMk cId="0" sldId="266"/>
            <ac:spMk id="363" creationId="{07299908-B0F5-44B3-BBAA-5EF281F630B7}"/>
          </ac:spMkLst>
        </pc:spChg>
        <pc:spChg chg="add del mod">
          <ac:chgData name="Kebba Jeng" userId="fe4cc296-ba7d-48a2-8799-89b58d218255" providerId="ADAL" clId="{388EFDEE-447E-42B4-98EF-30C01AB2E8CD}" dt="2022-03-28T18:48:09.370" v="3055"/>
          <ac:spMkLst>
            <pc:docMk/>
            <pc:sldMk cId="0" sldId="266"/>
            <ac:spMk id="364" creationId="{2DD6E604-C6DB-4C01-9DA9-B70DE5F881B2}"/>
          </ac:spMkLst>
        </pc:spChg>
        <pc:spChg chg="add del mod">
          <ac:chgData name="Kebba Jeng" userId="fe4cc296-ba7d-48a2-8799-89b58d218255" providerId="ADAL" clId="{388EFDEE-447E-42B4-98EF-30C01AB2E8CD}" dt="2022-03-28T18:48:09.370" v="3055"/>
          <ac:spMkLst>
            <pc:docMk/>
            <pc:sldMk cId="0" sldId="266"/>
            <ac:spMk id="365" creationId="{704DE1E6-FEBD-4040-96B2-113233AC7E31}"/>
          </ac:spMkLst>
        </pc:spChg>
        <pc:spChg chg="add del mod">
          <ac:chgData name="Kebba Jeng" userId="fe4cc296-ba7d-48a2-8799-89b58d218255" providerId="ADAL" clId="{388EFDEE-447E-42B4-98EF-30C01AB2E8CD}" dt="2022-03-28T18:48:09.370" v="3055"/>
          <ac:spMkLst>
            <pc:docMk/>
            <pc:sldMk cId="0" sldId="266"/>
            <ac:spMk id="366" creationId="{6FCA9408-BD17-41B8-A7B6-91FE29DCD8C6}"/>
          </ac:spMkLst>
        </pc:spChg>
        <pc:spChg chg="add del mod">
          <ac:chgData name="Kebba Jeng" userId="fe4cc296-ba7d-48a2-8799-89b58d218255" providerId="ADAL" clId="{388EFDEE-447E-42B4-98EF-30C01AB2E8CD}" dt="2022-03-28T18:48:09.370" v="3055"/>
          <ac:spMkLst>
            <pc:docMk/>
            <pc:sldMk cId="0" sldId="266"/>
            <ac:spMk id="367" creationId="{0434B2A3-C029-452F-9284-E17C63720A14}"/>
          </ac:spMkLst>
        </pc:spChg>
        <pc:spChg chg="add del mod">
          <ac:chgData name="Kebba Jeng" userId="fe4cc296-ba7d-48a2-8799-89b58d218255" providerId="ADAL" clId="{388EFDEE-447E-42B4-98EF-30C01AB2E8CD}" dt="2022-03-28T18:48:09.370" v="3055"/>
          <ac:spMkLst>
            <pc:docMk/>
            <pc:sldMk cId="0" sldId="266"/>
            <ac:spMk id="368" creationId="{D1414885-0AA7-498B-9256-597F1C533594}"/>
          </ac:spMkLst>
        </pc:spChg>
        <pc:spChg chg="add del mod">
          <ac:chgData name="Kebba Jeng" userId="fe4cc296-ba7d-48a2-8799-89b58d218255" providerId="ADAL" clId="{388EFDEE-447E-42B4-98EF-30C01AB2E8CD}" dt="2022-03-28T18:48:09.370" v="3055"/>
          <ac:spMkLst>
            <pc:docMk/>
            <pc:sldMk cId="0" sldId="266"/>
            <ac:spMk id="369" creationId="{16945A8A-3A91-42D7-A9E3-205CE5CD0FEF}"/>
          </ac:spMkLst>
        </pc:spChg>
        <pc:spChg chg="add del mod">
          <ac:chgData name="Kebba Jeng" userId="fe4cc296-ba7d-48a2-8799-89b58d218255" providerId="ADAL" clId="{388EFDEE-447E-42B4-98EF-30C01AB2E8CD}" dt="2022-03-28T18:48:09.370" v="3055"/>
          <ac:spMkLst>
            <pc:docMk/>
            <pc:sldMk cId="0" sldId="266"/>
            <ac:spMk id="370" creationId="{77380C67-7DA7-4D6B-AF78-EA99BCC7339B}"/>
          </ac:spMkLst>
        </pc:spChg>
        <pc:spChg chg="add del mod">
          <ac:chgData name="Kebba Jeng" userId="fe4cc296-ba7d-48a2-8799-89b58d218255" providerId="ADAL" clId="{388EFDEE-447E-42B4-98EF-30C01AB2E8CD}" dt="2022-03-28T18:48:09.370" v="3055"/>
          <ac:spMkLst>
            <pc:docMk/>
            <pc:sldMk cId="0" sldId="266"/>
            <ac:spMk id="371" creationId="{77C2695E-B5A8-45BB-B581-54A1C0C867DE}"/>
          </ac:spMkLst>
        </pc:spChg>
        <pc:spChg chg="add del mod">
          <ac:chgData name="Kebba Jeng" userId="fe4cc296-ba7d-48a2-8799-89b58d218255" providerId="ADAL" clId="{388EFDEE-447E-42B4-98EF-30C01AB2E8CD}" dt="2022-03-28T18:48:09.370" v="3055"/>
          <ac:spMkLst>
            <pc:docMk/>
            <pc:sldMk cId="0" sldId="266"/>
            <ac:spMk id="372" creationId="{F7D2E3FD-45B9-464F-91E0-B2F0B2691F1B}"/>
          </ac:spMkLst>
        </pc:spChg>
        <pc:spChg chg="add del mod">
          <ac:chgData name="Kebba Jeng" userId="fe4cc296-ba7d-48a2-8799-89b58d218255" providerId="ADAL" clId="{388EFDEE-447E-42B4-98EF-30C01AB2E8CD}" dt="2022-03-28T18:48:09.370" v="3055"/>
          <ac:spMkLst>
            <pc:docMk/>
            <pc:sldMk cId="0" sldId="266"/>
            <ac:spMk id="373" creationId="{866F8616-526A-4CD1-AB56-C3CB098C1E05}"/>
          </ac:spMkLst>
        </pc:spChg>
        <pc:spChg chg="add del mod">
          <ac:chgData name="Kebba Jeng" userId="fe4cc296-ba7d-48a2-8799-89b58d218255" providerId="ADAL" clId="{388EFDEE-447E-42B4-98EF-30C01AB2E8CD}" dt="2022-03-28T18:48:09.370" v="3055"/>
          <ac:spMkLst>
            <pc:docMk/>
            <pc:sldMk cId="0" sldId="266"/>
            <ac:spMk id="374" creationId="{247BB3FD-CE0E-4D67-A662-02E12265AD64}"/>
          </ac:spMkLst>
        </pc:spChg>
        <pc:spChg chg="add del mod">
          <ac:chgData name="Kebba Jeng" userId="fe4cc296-ba7d-48a2-8799-89b58d218255" providerId="ADAL" clId="{388EFDEE-447E-42B4-98EF-30C01AB2E8CD}" dt="2022-03-28T18:48:09.370" v="3055"/>
          <ac:spMkLst>
            <pc:docMk/>
            <pc:sldMk cId="0" sldId="266"/>
            <ac:spMk id="375" creationId="{16B68BAE-FE03-4AE2-A422-A085A660D5E7}"/>
          </ac:spMkLst>
        </pc:spChg>
        <pc:spChg chg="add del mod">
          <ac:chgData name="Kebba Jeng" userId="fe4cc296-ba7d-48a2-8799-89b58d218255" providerId="ADAL" clId="{388EFDEE-447E-42B4-98EF-30C01AB2E8CD}" dt="2022-03-28T18:48:09.370" v="3055"/>
          <ac:spMkLst>
            <pc:docMk/>
            <pc:sldMk cId="0" sldId="266"/>
            <ac:spMk id="376" creationId="{750EDC0C-2BBF-4948-AE94-03C35FB651E1}"/>
          </ac:spMkLst>
        </pc:spChg>
        <pc:spChg chg="add del mod">
          <ac:chgData name="Kebba Jeng" userId="fe4cc296-ba7d-48a2-8799-89b58d218255" providerId="ADAL" clId="{388EFDEE-447E-42B4-98EF-30C01AB2E8CD}" dt="2022-03-28T18:48:09.370" v="3055"/>
          <ac:spMkLst>
            <pc:docMk/>
            <pc:sldMk cId="0" sldId="266"/>
            <ac:spMk id="377" creationId="{B541F21A-A0D3-483E-A178-D4D21E94B1BA}"/>
          </ac:spMkLst>
        </pc:spChg>
        <pc:spChg chg="add del mod">
          <ac:chgData name="Kebba Jeng" userId="fe4cc296-ba7d-48a2-8799-89b58d218255" providerId="ADAL" clId="{388EFDEE-447E-42B4-98EF-30C01AB2E8CD}" dt="2022-03-28T18:48:09.370" v="3055"/>
          <ac:spMkLst>
            <pc:docMk/>
            <pc:sldMk cId="0" sldId="266"/>
            <ac:spMk id="378" creationId="{3DCA256F-AA86-44F9-9C6A-1892B98E2F53}"/>
          </ac:spMkLst>
        </pc:spChg>
        <pc:spChg chg="add del mod">
          <ac:chgData name="Kebba Jeng" userId="fe4cc296-ba7d-48a2-8799-89b58d218255" providerId="ADAL" clId="{388EFDEE-447E-42B4-98EF-30C01AB2E8CD}" dt="2022-03-28T18:48:09.370" v="3055"/>
          <ac:spMkLst>
            <pc:docMk/>
            <pc:sldMk cId="0" sldId="266"/>
            <ac:spMk id="379" creationId="{2C6C3716-7B4B-473B-BABB-DB82D51E988A}"/>
          </ac:spMkLst>
        </pc:spChg>
        <pc:spChg chg="add del mod">
          <ac:chgData name="Kebba Jeng" userId="fe4cc296-ba7d-48a2-8799-89b58d218255" providerId="ADAL" clId="{388EFDEE-447E-42B4-98EF-30C01AB2E8CD}" dt="2022-03-28T18:48:09.370" v="3055"/>
          <ac:spMkLst>
            <pc:docMk/>
            <pc:sldMk cId="0" sldId="266"/>
            <ac:spMk id="380" creationId="{D20B332D-DB69-4478-A35E-898B2DF25BE4}"/>
          </ac:spMkLst>
        </pc:spChg>
        <pc:spChg chg="add del mod">
          <ac:chgData name="Kebba Jeng" userId="fe4cc296-ba7d-48a2-8799-89b58d218255" providerId="ADAL" clId="{388EFDEE-447E-42B4-98EF-30C01AB2E8CD}" dt="2022-03-28T18:48:09.370" v="3055"/>
          <ac:spMkLst>
            <pc:docMk/>
            <pc:sldMk cId="0" sldId="266"/>
            <ac:spMk id="381" creationId="{EA73604B-2DA9-4960-820C-1A179E38CAF1}"/>
          </ac:spMkLst>
        </pc:spChg>
        <pc:spChg chg="add del mod">
          <ac:chgData name="Kebba Jeng" userId="fe4cc296-ba7d-48a2-8799-89b58d218255" providerId="ADAL" clId="{388EFDEE-447E-42B4-98EF-30C01AB2E8CD}" dt="2022-03-28T18:48:09.370" v="3055"/>
          <ac:spMkLst>
            <pc:docMk/>
            <pc:sldMk cId="0" sldId="266"/>
            <ac:spMk id="382" creationId="{5DA4B401-32E1-46AC-A292-79CB25C5DC2A}"/>
          </ac:spMkLst>
        </pc:spChg>
        <pc:spChg chg="add del mod">
          <ac:chgData name="Kebba Jeng" userId="fe4cc296-ba7d-48a2-8799-89b58d218255" providerId="ADAL" clId="{388EFDEE-447E-42B4-98EF-30C01AB2E8CD}" dt="2022-03-28T18:48:09.370" v="3055"/>
          <ac:spMkLst>
            <pc:docMk/>
            <pc:sldMk cId="0" sldId="266"/>
            <ac:spMk id="383" creationId="{BD22415D-FFC1-4E98-B1E9-CD6D5C6D75A6}"/>
          </ac:spMkLst>
        </pc:spChg>
        <pc:spChg chg="add del mod">
          <ac:chgData name="Kebba Jeng" userId="fe4cc296-ba7d-48a2-8799-89b58d218255" providerId="ADAL" clId="{388EFDEE-447E-42B4-98EF-30C01AB2E8CD}" dt="2022-03-28T18:48:09.370" v="3055"/>
          <ac:spMkLst>
            <pc:docMk/>
            <pc:sldMk cId="0" sldId="266"/>
            <ac:spMk id="384" creationId="{EA5A93EB-AA67-47FA-9CCD-B80DB8F09F31}"/>
          </ac:spMkLst>
        </pc:spChg>
        <pc:spChg chg="add del mod">
          <ac:chgData name="Kebba Jeng" userId="fe4cc296-ba7d-48a2-8799-89b58d218255" providerId="ADAL" clId="{388EFDEE-447E-42B4-98EF-30C01AB2E8CD}" dt="2022-03-28T18:48:09.370" v="3055"/>
          <ac:spMkLst>
            <pc:docMk/>
            <pc:sldMk cId="0" sldId="266"/>
            <ac:spMk id="385" creationId="{A8102097-90F9-42C7-9D2F-6E88F81752CC}"/>
          </ac:spMkLst>
        </pc:spChg>
        <pc:spChg chg="add del mod">
          <ac:chgData name="Kebba Jeng" userId="fe4cc296-ba7d-48a2-8799-89b58d218255" providerId="ADAL" clId="{388EFDEE-447E-42B4-98EF-30C01AB2E8CD}" dt="2022-03-28T18:48:09.370" v="3055"/>
          <ac:spMkLst>
            <pc:docMk/>
            <pc:sldMk cId="0" sldId="266"/>
            <ac:spMk id="386" creationId="{646479CE-DF18-4240-A981-8B227BE15AE3}"/>
          </ac:spMkLst>
        </pc:spChg>
        <pc:spChg chg="add del mod">
          <ac:chgData name="Kebba Jeng" userId="fe4cc296-ba7d-48a2-8799-89b58d218255" providerId="ADAL" clId="{388EFDEE-447E-42B4-98EF-30C01AB2E8CD}" dt="2022-03-28T18:48:09.370" v="3055"/>
          <ac:spMkLst>
            <pc:docMk/>
            <pc:sldMk cId="0" sldId="266"/>
            <ac:spMk id="387" creationId="{97E5FC66-687F-4650-B772-4487CD83AC32}"/>
          </ac:spMkLst>
        </pc:spChg>
        <pc:spChg chg="add del mod">
          <ac:chgData name="Kebba Jeng" userId="fe4cc296-ba7d-48a2-8799-89b58d218255" providerId="ADAL" clId="{388EFDEE-447E-42B4-98EF-30C01AB2E8CD}" dt="2022-03-28T18:48:09.370" v="3055"/>
          <ac:spMkLst>
            <pc:docMk/>
            <pc:sldMk cId="0" sldId="266"/>
            <ac:spMk id="388" creationId="{AC53A2EE-CD55-423B-B796-9BF5634D387F}"/>
          </ac:spMkLst>
        </pc:spChg>
        <pc:spChg chg="add del mod">
          <ac:chgData name="Kebba Jeng" userId="fe4cc296-ba7d-48a2-8799-89b58d218255" providerId="ADAL" clId="{388EFDEE-447E-42B4-98EF-30C01AB2E8CD}" dt="2022-03-28T18:48:09.370" v="3055"/>
          <ac:spMkLst>
            <pc:docMk/>
            <pc:sldMk cId="0" sldId="266"/>
            <ac:spMk id="389" creationId="{077F0EFC-C90D-40C9-B240-10CE8838F1CC}"/>
          </ac:spMkLst>
        </pc:spChg>
        <pc:spChg chg="add del mod">
          <ac:chgData name="Kebba Jeng" userId="fe4cc296-ba7d-48a2-8799-89b58d218255" providerId="ADAL" clId="{388EFDEE-447E-42B4-98EF-30C01AB2E8CD}" dt="2022-03-28T18:48:09.370" v="3055"/>
          <ac:spMkLst>
            <pc:docMk/>
            <pc:sldMk cId="0" sldId="266"/>
            <ac:spMk id="390" creationId="{B5E0A232-5D65-4972-9D55-6EC6D054E0F9}"/>
          </ac:spMkLst>
        </pc:spChg>
        <pc:spChg chg="add del mod">
          <ac:chgData name="Kebba Jeng" userId="fe4cc296-ba7d-48a2-8799-89b58d218255" providerId="ADAL" clId="{388EFDEE-447E-42B4-98EF-30C01AB2E8CD}" dt="2022-03-28T18:48:09.370" v="3055"/>
          <ac:spMkLst>
            <pc:docMk/>
            <pc:sldMk cId="0" sldId="266"/>
            <ac:spMk id="391" creationId="{2C821143-8AD4-4645-A13F-28A48F67001A}"/>
          </ac:spMkLst>
        </pc:spChg>
        <pc:spChg chg="add del mod">
          <ac:chgData name="Kebba Jeng" userId="fe4cc296-ba7d-48a2-8799-89b58d218255" providerId="ADAL" clId="{388EFDEE-447E-42B4-98EF-30C01AB2E8CD}" dt="2022-03-28T18:48:09.370" v="3055"/>
          <ac:spMkLst>
            <pc:docMk/>
            <pc:sldMk cId="0" sldId="266"/>
            <ac:spMk id="392" creationId="{C8381566-95B3-4984-BFE5-9EEB96F8C378}"/>
          </ac:spMkLst>
        </pc:spChg>
        <pc:spChg chg="add del mod">
          <ac:chgData name="Kebba Jeng" userId="fe4cc296-ba7d-48a2-8799-89b58d218255" providerId="ADAL" clId="{388EFDEE-447E-42B4-98EF-30C01AB2E8CD}" dt="2022-03-28T18:48:09.370" v="3055"/>
          <ac:spMkLst>
            <pc:docMk/>
            <pc:sldMk cId="0" sldId="266"/>
            <ac:spMk id="393" creationId="{9711EE44-80EF-4D0C-84DA-19B8FF93E547}"/>
          </ac:spMkLst>
        </pc:spChg>
        <pc:spChg chg="add del mod">
          <ac:chgData name="Kebba Jeng" userId="fe4cc296-ba7d-48a2-8799-89b58d218255" providerId="ADAL" clId="{388EFDEE-447E-42B4-98EF-30C01AB2E8CD}" dt="2022-03-28T18:48:09.370" v="3055"/>
          <ac:spMkLst>
            <pc:docMk/>
            <pc:sldMk cId="0" sldId="266"/>
            <ac:spMk id="394" creationId="{D64402FB-D1D8-44DB-89A4-8531006B9A3D}"/>
          </ac:spMkLst>
        </pc:spChg>
        <pc:spChg chg="add del mod">
          <ac:chgData name="Kebba Jeng" userId="fe4cc296-ba7d-48a2-8799-89b58d218255" providerId="ADAL" clId="{388EFDEE-447E-42B4-98EF-30C01AB2E8CD}" dt="2022-03-28T18:48:09.370" v="3055"/>
          <ac:spMkLst>
            <pc:docMk/>
            <pc:sldMk cId="0" sldId="266"/>
            <ac:spMk id="395" creationId="{32C57B6D-2C9B-483A-A21A-FE94DFB2C68F}"/>
          </ac:spMkLst>
        </pc:spChg>
        <pc:spChg chg="add del mod">
          <ac:chgData name="Kebba Jeng" userId="fe4cc296-ba7d-48a2-8799-89b58d218255" providerId="ADAL" clId="{388EFDEE-447E-42B4-98EF-30C01AB2E8CD}" dt="2022-03-28T18:48:09.370" v="3055"/>
          <ac:spMkLst>
            <pc:docMk/>
            <pc:sldMk cId="0" sldId="266"/>
            <ac:spMk id="396" creationId="{EC81DA55-4768-4ADA-9AAA-085942F28BC5}"/>
          </ac:spMkLst>
        </pc:spChg>
        <pc:spChg chg="add mod">
          <ac:chgData name="Kebba Jeng" userId="fe4cc296-ba7d-48a2-8799-89b58d218255" providerId="ADAL" clId="{388EFDEE-447E-42B4-98EF-30C01AB2E8CD}" dt="2022-03-28T20:18:10.387" v="4808" actId="20577"/>
          <ac:spMkLst>
            <pc:docMk/>
            <pc:sldMk cId="0" sldId="266"/>
            <ac:spMk id="398" creationId="{0B2DA253-2B6E-4C8A-9F57-C5AFC7D3A056}"/>
          </ac:spMkLst>
        </pc:spChg>
        <pc:spChg chg="add del mod">
          <ac:chgData name="Kebba Jeng" userId="fe4cc296-ba7d-48a2-8799-89b58d218255" providerId="ADAL" clId="{388EFDEE-447E-42B4-98EF-30C01AB2E8CD}" dt="2022-03-28T18:48:51.016" v="3064" actId="478"/>
          <ac:spMkLst>
            <pc:docMk/>
            <pc:sldMk cId="0" sldId="266"/>
            <ac:spMk id="399" creationId="{9B69637E-A687-4C81-B7E6-35EAC73B6BED}"/>
          </ac:spMkLst>
        </pc:spChg>
        <pc:spChg chg="add mod">
          <ac:chgData name="Kebba Jeng" userId="fe4cc296-ba7d-48a2-8799-89b58d218255" providerId="ADAL" clId="{388EFDEE-447E-42B4-98EF-30C01AB2E8CD}" dt="2022-03-28T19:00:53.058" v="3346" actId="164"/>
          <ac:spMkLst>
            <pc:docMk/>
            <pc:sldMk cId="0" sldId="266"/>
            <ac:spMk id="400" creationId="{11A6FB91-16B3-4DB1-B31B-EC78C1569E76}"/>
          </ac:spMkLst>
        </pc:spChg>
        <pc:spChg chg="add mod">
          <ac:chgData name="Kebba Jeng" userId="fe4cc296-ba7d-48a2-8799-89b58d218255" providerId="ADAL" clId="{388EFDEE-447E-42B4-98EF-30C01AB2E8CD}" dt="2022-03-28T19:00:53.058" v="3346" actId="164"/>
          <ac:spMkLst>
            <pc:docMk/>
            <pc:sldMk cId="0" sldId="266"/>
            <ac:spMk id="401" creationId="{DEAE2E53-A844-4F9B-8C7C-34860AB1B958}"/>
          </ac:spMkLst>
        </pc:spChg>
        <pc:spChg chg="add mod">
          <ac:chgData name="Kebba Jeng" userId="fe4cc296-ba7d-48a2-8799-89b58d218255" providerId="ADAL" clId="{388EFDEE-447E-42B4-98EF-30C01AB2E8CD}" dt="2022-03-28T19:00:53.058" v="3346" actId="164"/>
          <ac:spMkLst>
            <pc:docMk/>
            <pc:sldMk cId="0" sldId="266"/>
            <ac:spMk id="402" creationId="{D1F6ABD3-C56F-4F21-8C99-76CBEF19FBB4}"/>
          </ac:spMkLst>
        </pc:spChg>
        <pc:spChg chg="add mod">
          <ac:chgData name="Kebba Jeng" userId="fe4cc296-ba7d-48a2-8799-89b58d218255" providerId="ADAL" clId="{388EFDEE-447E-42B4-98EF-30C01AB2E8CD}" dt="2022-03-28T19:00:53.058" v="3346" actId="164"/>
          <ac:spMkLst>
            <pc:docMk/>
            <pc:sldMk cId="0" sldId="266"/>
            <ac:spMk id="403" creationId="{6EFBB40F-C42F-4F90-99CE-CA149B4A8790}"/>
          </ac:spMkLst>
        </pc:spChg>
        <pc:spChg chg="add mod">
          <ac:chgData name="Kebba Jeng" userId="fe4cc296-ba7d-48a2-8799-89b58d218255" providerId="ADAL" clId="{388EFDEE-447E-42B4-98EF-30C01AB2E8CD}" dt="2022-03-28T19:00:53.058" v="3346" actId="164"/>
          <ac:spMkLst>
            <pc:docMk/>
            <pc:sldMk cId="0" sldId="266"/>
            <ac:spMk id="404" creationId="{D25045B7-F706-4EE8-9529-370822D081BE}"/>
          </ac:spMkLst>
        </pc:spChg>
        <pc:spChg chg="add mod">
          <ac:chgData name="Kebba Jeng" userId="fe4cc296-ba7d-48a2-8799-89b58d218255" providerId="ADAL" clId="{388EFDEE-447E-42B4-98EF-30C01AB2E8CD}" dt="2022-03-28T19:00:53.058" v="3346" actId="164"/>
          <ac:spMkLst>
            <pc:docMk/>
            <pc:sldMk cId="0" sldId="266"/>
            <ac:spMk id="405" creationId="{7F318D17-EDCD-4E90-B9D5-E8FF40467369}"/>
          </ac:spMkLst>
        </pc:spChg>
        <pc:spChg chg="add mod">
          <ac:chgData name="Kebba Jeng" userId="fe4cc296-ba7d-48a2-8799-89b58d218255" providerId="ADAL" clId="{388EFDEE-447E-42B4-98EF-30C01AB2E8CD}" dt="2022-03-28T19:00:53.058" v="3346" actId="164"/>
          <ac:spMkLst>
            <pc:docMk/>
            <pc:sldMk cId="0" sldId="266"/>
            <ac:spMk id="406" creationId="{CED59C83-402B-4B02-8A7F-FA2EC7326153}"/>
          </ac:spMkLst>
        </pc:spChg>
        <pc:spChg chg="add mod">
          <ac:chgData name="Kebba Jeng" userId="fe4cc296-ba7d-48a2-8799-89b58d218255" providerId="ADAL" clId="{388EFDEE-447E-42B4-98EF-30C01AB2E8CD}" dt="2022-03-28T19:00:53.058" v="3346" actId="164"/>
          <ac:spMkLst>
            <pc:docMk/>
            <pc:sldMk cId="0" sldId="266"/>
            <ac:spMk id="407" creationId="{6126F453-53C2-4D28-82EA-F440F9D6593C}"/>
          </ac:spMkLst>
        </pc:spChg>
        <pc:spChg chg="add mod">
          <ac:chgData name="Kebba Jeng" userId="fe4cc296-ba7d-48a2-8799-89b58d218255" providerId="ADAL" clId="{388EFDEE-447E-42B4-98EF-30C01AB2E8CD}" dt="2022-03-28T19:00:53.058" v="3346" actId="164"/>
          <ac:spMkLst>
            <pc:docMk/>
            <pc:sldMk cId="0" sldId="266"/>
            <ac:spMk id="408" creationId="{B896A658-4CE5-4755-A982-36CD216F0FA0}"/>
          </ac:spMkLst>
        </pc:spChg>
        <pc:spChg chg="add mod">
          <ac:chgData name="Kebba Jeng" userId="fe4cc296-ba7d-48a2-8799-89b58d218255" providerId="ADAL" clId="{388EFDEE-447E-42B4-98EF-30C01AB2E8CD}" dt="2022-03-28T19:00:53.058" v="3346" actId="164"/>
          <ac:spMkLst>
            <pc:docMk/>
            <pc:sldMk cId="0" sldId="266"/>
            <ac:spMk id="409" creationId="{D7D02D08-C5A3-44A8-96B3-DA4E8AFEBA30}"/>
          </ac:spMkLst>
        </pc:spChg>
        <pc:spChg chg="add mod">
          <ac:chgData name="Kebba Jeng" userId="fe4cc296-ba7d-48a2-8799-89b58d218255" providerId="ADAL" clId="{388EFDEE-447E-42B4-98EF-30C01AB2E8CD}" dt="2022-03-28T19:00:53.058" v="3346" actId="164"/>
          <ac:spMkLst>
            <pc:docMk/>
            <pc:sldMk cId="0" sldId="266"/>
            <ac:spMk id="410" creationId="{72A7CA6B-3938-4BAC-8BDB-E6DA39E4364C}"/>
          </ac:spMkLst>
        </pc:spChg>
        <pc:spChg chg="add mod">
          <ac:chgData name="Kebba Jeng" userId="fe4cc296-ba7d-48a2-8799-89b58d218255" providerId="ADAL" clId="{388EFDEE-447E-42B4-98EF-30C01AB2E8CD}" dt="2022-03-28T19:00:53.058" v="3346" actId="164"/>
          <ac:spMkLst>
            <pc:docMk/>
            <pc:sldMk cId="0" sldId="266"/>
            <ac:spMk id="411" creationId="{59E01C4D-72BD-4663-AC7F-B946A764F2DE}"/>
          </ac:spMkLst>
        </pc:spChg>
        <pc:spChg chg="add mod">
          <ac:chgData name="Kebba Jeng" userId="fe4cc296-ba7d-48a2-8799-89b58d218255" providerId="ADAL" clId="{388EFDEE-447E-42B4-98EF-30C01AB2E8CD}" dt="2022-03-28T19:00:53.058" v="3346" actId="164"/>
          <ac:spMkLst>
            <pc:docMk/>
            <pc:sldMk cId="0" sldId="266"/>
            <ac:spMk id="412" creationId="{4774D9EF-C695-45F1-9571-6AB8B4975750}"/>
          </ac:spMkLst>
        </pc:spChg>
        <pc:spChg chg="add mod">
          <ac:chgData name="Kebba Jeng" userId="fe4cc296-ba7d-48a2-8799-89b58d218255" providerId="ADAL" clId="{388EFDEE-447E-42B4-98EF-30C01AB2E8CD}" dt="2022-03-28T19:00:53.058" v="3346" actId="164"/>
          <ac:spMkLst>
            <pc:docMk/>
            <pc:sldMk cId="0" sldId="266"/>
            <ac:spMk id="413" creationId="{9870D79D-1A26-46B8-A524-D4A1D2E33F7E}"/>
          </ac:spMkLst>
        </pc:spChg>
        <pc:spChg chg="add mod">
          <ac:chgData name="Kebba Jeng" userId="fe4cc296-ba7d-48a2-8799-89b58d218255" providerId="ADAL" clId="{388EFDEE-447E-42B4-98EF-30C01AB2E8CD}" dt="2022-03-28T19:00:53.058" v="3346" actId="164"/>
          <ac:spMkLst>
            <pc:docMk/>
            <pc:sldMk cId="0" sldId="266"/>
            <ac:spMk id="414" creationId="{B1B16EF3-56FD-4B95-8976-21ED59EA7A19}"/>
          </ac:spMkLst>
        </pc:spChg>
        <pc:spChg chg="add mod">
          <ac:chgData name="Kebba Jeng" userId="fe4cc296-ba7d-48a2-8799-89b58d218255" providerId="ADAL" clId="{388EFDEE-447E-42B4-98EF-30C01AB2E8CD}" dt="2022-03-28T19:00:53.058" v="3346" actId="164"/>
          <ac:spMkLst>
            <pc:docMk/>
            <pc:sldMk cId="0" sldId="266"/>
            <ac:spMk id="415" creationId="{84ABC972-59D6-4245-9172-50F50E0048F7}"/>
          </ac:spMkLst>
        </pc:spChg>
        <pc:spChg chg="add mod">
          <ac:chgData name="Kebba Jeng" userId="fe4cc296-ba7d-48a2-8799-89b58d218255" providerId="ADAL" clId="{388EFDEE-447E-42B4-98EF-30C01AB2E8CD}" dt="2022-03-28T19:00:53.058" v="3346" actId="164"/>
          <ac:spMkLst>
            <pc:docMk/>
            <pc:sldMk cId="0" sldId="266"/>
            <ac:spMk id="416" creationId="{59942A6E-73FC-43AD-AFC3-F6BAF507635E}"/>
          </ac:spMkLst>
        </pc:spChg>
        <pc:spChg chg="add mod">
          <ac:chgData name="Kebba Jeng" userId="fe4cc296-ba7d-48a2-8799-89b58d218255" providerId="ADAL" clId="{388EFDEE-447E-42B4-98EF-30C01AB2E8CD}" dt="2022-03-28T19:00:53.058" v="3346" actId="164"/>
          <ac:spMkLst>
            <pc:docMk/>
            <pc:sldMk cId="0" sldId="266"/>
            <ac:spMk id="417" creationId="{F1BC24D4-DBD7-4AD6-8760-DB9C260C12D8}"/>
          </ac:spMkLst>
        </pc:spChg>
        <pc:spChg chg="add mod">
          <ac:chgData name="Kebba Jeng" userId="fe4cc296-ba7d-48a2-8799-89b58d218255" providerId="ADAL" clId="{388EFDEE-447E-42B4-98EF-30C01AB2E8CD}" dt="2022-03-28T19:00:53.058" v="3346" actId="164"/>
          <ac:spMkLst>
            <pc:docMk/>
            <pc:sldMk cId="0" sldId="266"/>
            <ac:spMk id="418" creationId="{5B3968E6-0268-454C-BF32-04C51109AE98}"/>
          </ac:spMkLst>
        </pc:spChg>
        <pc:spChg chg="add mod">
          <ac:chgData name="Kebba Jeng" userId="fe4cc296-ba7d-48a2-8799-89b58d218255" providerId="ADAL" clId="{388EFDEE-447E-42B4-98EF-30C01AB2E8CD}" dt="2022-03-28T19:00:53.058" v="3346" actId="164"/>
          <ac:spMkLst>
            <pc:docMk/>
            <pc:sldMk cId="0" sldId="266"/>
            <ac:spMk id="419" creationId="{101E301A-2B6D-4FCE-933E-AEDA3DDA8EA5}"/>
          </ac:spMkLst>
        </pc:spChg>
        <pc:spChg chg="add mod">
          <ac:chgData name="Kebba Jeng" userId="fe4cc296-ba7d-48a2-8799-89b58d218255" providerId="ADAL" clId="{388EFDEE-447E-42B4-98EF-30C01AB2E8CD}" dt="2022-03-28T19:00:53.058" v="3346" actId="164"/>
          <ac:spMkLst>
            <pc:docMk/>
            <pc:sldMk cId="0" sldId="266"/>
            <ac:spMk id="420" creationId="{615F67A6-840B-42FA-8C36-80202C32718B}"/>
          </ac:spMkLst>
        </pc:spChg>
        <pc:spChg chg="add mod">
          <ac:chgData name="Kebba Jeng" userId="fe4cc296-ba7d-48a2-8799-89b58d218255" providerId="ADAL" clId="{388EFDEE-447E-42B4-98EF-30C01AB2E8CD}" dt="2022-03-28T19:00:53.058" v="3346" actId="164"/>
          <ac:spMkLst>
            <pc:docMk/>
            <pc:sldMk cId="0" sldId="266"/>
            <ac:spMk id="421" creationId="{1C804EF3-F927-4E05-A44E-2BE22FBECFB1}"/>
          </ac:spMkLst>
        </pc:spChg>
        <pc:spChg chg="add mod">
          <ac:chgData name="Kebba Jeng" userId="fe4cc296-ba7d-48a2-8799-89b58d218255" providerId="ADAL" clId="{388EFDEE-447E-42B4-98EF-30C01AB2E8CD}" dt="2022-03-28T19:00:53.058" v="3346" actId="164"/>
          <ac:spMkLst>
            <pc:docMk/>
            <pc:sldMk cId="0" sldId="266"/>
            <ac:spMk id="422" creationId="{78863AFB-6133-4E44-BD6D-9A796BF950A6}"/>
          </ac:spMkLst>
        </pc:spChg>
        <pc:spChg chg="add mod">
          <ac:chgData name="Kebba Jeng" userId="fe4cc296-ba7d-48a2-8799-89b58d218255" providerId="ADAL" clId="{388EFDEE-447E-42B4-98EF-30C01AB2E8CD}" dt="2022-03-28T19:00:53.058" v="3346" actId="164"/>
          <ac:spMkLst>
            <pc:docMk/>
            <pc:sldMk cId="0" sldId="266"/>
            <ac:spMk id="423" creationId="{93D9FBB7-09AD-40C4-9D5D-2E530449557F}"/>
          </ac:spMkLst>
        </pc:spChg>
        <pc:spChg chg="add mod">
          <ac:chgData name="Kebba Jeng" userId="fe4cc296-ba7d-48a2-8799-89b58d218255" providerId="ADAL" clId="{388EFDEE-447E-42B4-98EF-30C01AB2E8CD}" dt="2022-03-28T19:00:53.058" v="3346" actId="164"/>
          <ac:spMkLst>
            <pc:docMk/>
            <pc:sldMk cId="0" sldId="266"/>
            <ac:spMk id="424" creationId="{38719BF2-64AE-44B9-8AF8-76430EB30ED8}"/>
          </ac:spMkLst>
        </pc:spChg>
        <pc:spChg chg="add mod">
          <ac:chgData name="Kebba Jeng" userId="fe4cc296-ba7d-48a2-8799-89b58d218255" providerId="ADAL" clId="{388EFDEE-447E-42B4-98EF-30C01AB2E8CD}" dt="2022-03-28T19:00:53.058" v="3346" actId="164"/>
          <ac:spMkLst>
            <pc:docMk/>
            <pc:sldMk cId="0" sldId="266"/>
            <ac:spMk id="425" creationId="{C416483F-1DB1-4365-B756-C6B4A06CCAFC}"/>
          </ac:spMkLst>
        </pc:spChg>
        <pc:spChg chg="add mod">
          <ac:chgData name="Kebba Jeng" userId="fe4cc296-ba7d-48a2-8799-89b58d218255" providerId="ADAL" clId="{388EFDEE-447E-42B4-98EF-30C01AB2E8CD}" dt="2022-03-28T19:00:53.058" v="3346" actId="164"/>
          <ac:spMkLst>
            <pc:docMk/>
            <pc:sldMk cId="0" sldId="266"/>
            <ac:spMk id="426" creationId="{FA29760E-2723-43F4-9127-262CD5A01A14}"/>
          </ac:spMkLst>
        </pc:spChg>
        <pc:spChg chg="add mod">
          <ac:chgData name="Kebba Jeng" userId="fe4cc296-ba7d-48a2-8799-89b58d218255" providerId="ADAL" clId="{388EFDEE-447E-42B4-98EF-30C01AB2E8CD}" dt="2022-03-28T19:00:53.058" v="3346" actId="164"/>
          <ac:spMkLst>
            <pc:docMk/>
            <pc:sldMk cId="0" sldId="266"/>
            <ac:spMk id="427" creationId="{3A3525D3-DDAD-45FA-AE51-99DE68F909FB}"/>
          </ac:spMkLst>
        </pc:spChg>
        <pc:spChg chg="add mod">
          <ac:chgData name="Kebba Jeng" userId="fe4cc296-ba7d-48a2-8799-89b58d218255" providerId="ADAL" clId="{388EFDEE-447E-42B4-98EF-30C01AB2E8CD}" dt="2022-03-28T19:00:53.058" v="3346" actId="164"/>
          <ac:spMkLst>
            <pc:docMk/>
            <pc:sldMk cId="0" sldId="266"/>
            <ac:spMk id="428" creationId="{7218D95D-83C4-4DF2-BEA9-B0CFF74882B5}"/>
          </ac:spMkLst>
        </pc:spChg>
        <pc:spChg chg="add mod">
          <ac:chgData name="Kebba Jeng" userId="fe4cc296-ba7d-48a2-8799-89b58d218255" providerId="ADAL" clId="{388EFDEE-447E-42B4-98EF-30C01AB2E8CD}" dt="2022-03-28T19:00:53.058" v="3346" actId="164"/>
          <ac:spMkLst>
            <pc:docMk/>
            <pc:sldMk cId="0" sldId="266"/>
            <ac:spMk id="429" creationId="{B49E6A0E-9FA3-47DD-AE18-FF84014B54A6}"/>
          </ac:spMkLst>
        </pc:spChg>
        <pc:spChg chg="add mod">
          <ac:chgData name="Kebba Jeng" userId="fe4cc296-ba7d-48a2-8799-89b58d218255" providerId="ADAL" clId="{388EFDEE-447E-42B4-98EF-30C01AB2E8CD}" dt="2022-03-28T19:00:53.058" v="3346" actId="164"/>
          <ac:spMkLst>
            <pc:docMk/>
            <pc:sldMk cId="0" sldId="266"/>
            <ac:spMk id="430" creationId="{50EC94A2-F624-4FDD-BD8E-A3C0ECA30B75}"/>
          </ac:spMkLst>
        </pc:spChg>
        <pc:spChg chg="add mod">
          <ac:chgData name="Kebba Jeng" userId="fe4cc296-ba7d-48a2-8799-89b58d218255" providerId="ADAL" clId="{388EFDEE-447E-42B4-98EF-30C01AB2E8CD}" dt="2022-03-28T19:00:53.058" v="3346" actId="164"/>
          <ac:spMkLst>
            <pc:docMk/>
            <pc:sldMk cId="0" sldId="266"/>
            <ac:spMk id="431" creationId="{E29AC50E-FB4C-4137-825F-7DB465482C3B}"/>
          </ac:spMkLst>
        </pc:spChg>
        <pc:spChg chg="add mod">
          <ac:chgData name="Kebba Jeng" userId="fe4cc296-ba7d-48a2-8799-89b58d218255" providerId="ADAL" clId="{388EFDEE-447E-42B4-98EF-30C01AB2E8CD}" dt="2022-03-28T19:00:53.058" v="3346" actId="164"/>
          <ac:spMkLst>
            <pc:docMk/>
            <pc:sldMk cId="0" sldId="266"/>
            <ac:spMk id="432" creationId="{3C359EBD-9341-41E6-BB47-E09FA97C7C3F}"/>
          </ac:spMkLst>
        </pc:spChg>
        <pc:spChg chg="add mod">
          <ac:chgData name="Kebba Jeng" userId="fe4cc296-ba7d-48a2-8799-89b58d218255" providerId="ADAL" clId="{388EFDEE-447E-42B4-98EF-30C01AB2E8CD}" dt="2022-03-28T19:00:53.058" v="3346" actId="164"/>
          <ac:spMkLst>
            <pc:docMk/>
            <pc:sldMk cId="0" sldId="266"/>
            <ac:spMk id="433" creationId="{BFDC9E15-BCAB-45DD-AE4E-8FE8F8ED3BA4}"/>
          </ac:spMkLst>
        </pc:spChg>
        <pc:spChg chg="add mod">
          <ac:chgData name="Kebba Jeng" userId="fe4cc296-ba7d-48a2-8799-89b58d218255" providerId="ADAL" clId="{388EFDEE-447E-42B4-98EF-30C01AB2E8CD}" dt="2022-03-28T19:00:53.058" v="3346" actId="164"/>
          <ac:spMkLst>
            <pc:docMk/>
            <pc:sldMk cId="0" sldId="266"/>
            <ac:spMk id="434" creationId="{3EDC7672-60BE-4DF4-A28D-E90CC0575A50}"/>
          </ac:spMkLst>
        </pc:spChg>
        <pc:spChg chg="add mod">
          <ac:chgData name="Kebba Jeng" userId="fe4cc296-ba7d-48a2-8799-89b58d218255" providerId="ADAL" clId="{388EFDEE-447E-42B4-98EF-30C01AB2E8CD}" dt="2022-03-28T19:00:53.058" v="3346" actId="164"/>
          <ac:spMkLst>
            <pc:docMk/>
            <pc:sldMk cId="0" sldId="266"/>
            <ac:spMk id="435" creationId="{DC199C2A-ACFA-467D-9E69-862E35D8839F}"/>
          </ac:spMkLst>
        </pc:spChg>
        <pc:spChg chg="add mod">
          <ac:chgData name="Kebba Jeng" userId="fe4cc296-ba7d-48a2-8799-89b58d218255" providerId="ADAL" clId="{388EFDEE-447E-42B4-98EF-30C01AB2E8CD}" dt="2022-03-28T19:00:53.058" v="3346" actId="164"/>
          <ac:spMkLst>
            <pc:docMk/>
            <pc:sldMk cId="0" sldId="266"/>
            <ac:spMk id="436" creationId="{4149B535-5C1F-44A0-B712-3BBE4E879849}"/>
          </ac:spMkLst>
        </pc:spChg>
        <pc:spChg chg="add mod">
          <ac:chgData name="Kebba Jeng" userId="fe4cc296-ba7d-48a2-8799-89b58d218255" providerId="ADAL" clId="{388EFDEE-447E-42B4-98EF-30C01AB2E8CD}" dt="2022-03-28T19:00:53.058" v="3346" actId="164"/>
          <ac:spMkLst>
            <pc:docMk/>
            <pc:sldMk cId="0" sldId="266"/>
            <ac:spMk id="437" creationId="{FDB5F085-00A8-4F12-A379-48C8DAC5D816}"/>
          </ac:spMkLst>
        </pc:spChg>
        <pc:spChg chg="add mod">
          <ac:chgData name="Kebba Jeng" userId="fe4cc296-ba7d-48a2-8799-89b58d218255" providerId="ADAL" clId="{388EFDEE-447E-42B4-98EF-30C01AB2E8CD}" dt="2022-03-28T19:00:53.058" v="3346" actId="164"/>
          <ac:spMkLst>
            <pc:docMk/>
            <pc:sldMk cId="0" sldId="266"/>
            <ac:spMk id="438" creationId="{3E60B61C-9597-4172-9FB6-628A8CAF4AE1}"/>
          </ac:spMkLst>
        </pc:spChg>
        <pc:spChg chg="add mod">
          <ac:chgData name="Kebba Jeng" userId="fe4cc296-ba7d-48a2-8799-89b58d218255" providerId="ADAL" clId="{388EFDEE-447E-42B4-98EF-30C01AB2E8CD}" dt="2022-03-28T19:00:53.058" v="3346" actId="164"/>
          <ac:spMkLst>
            <pc:docMk/>
            <pc:sldMk cId="0" sldId="266"/>
            <ac:spMk id="439" creationId="{2D776A5E-1B31-4AFF-B602-341401986011}"/>
          </ac:spMkLst>
        </pc:spChg>
        <pc:spChg chg="add mod">
          <ac:chgData name="Kebba Jeng" userId="fe4cc296-ba7d-48a2-8799-89b58d218255" providerId="ADAL" clId="{388EFDEE-447E-42B4-98EF-30C01AB2E8CD}" dt="2022-03-28T19:00:53.058" v="3346" actId="164"/>
          <ac:spMkLst>
            <pc:docMk/>
            <pc:sldMk cId="0" sldId="266"/>
            <ac:spMk id="440" creationId="{615BF08A-ED78-4587-875B-AADBD19BB963}"/>
          </ac:spMkLst>
        </pc:spChg>
        <pc:spChg chg="add mod">
          <ac:chgData name="Kebba Jeng" userId="fe4cc296-ba7d-48a2-8799-89b58d218255" providerId="ADAL" clId="{388EFDEE-447E-42B4-98EF-30C01AB2E8CD}" dt="2022-03-28T19:00:53.058" v="3346" actId="164"/>
          <ac:spMkLst>
            <pc:docMk/>
            <pc:sldMk cId="0" sldId="266"/>
            <ac:spMk id="441" creationId="{F90D0D5D-12A1-4676-AFD9-547BDA6D5922}"/>
          </ac:spMkLst>
        </pc:spChg>
        <pc:spChg chg="add mod">
          <ac:chgData name="Kebba Jeng" userId="fe4cc296-ba7d-48a2-8799-89b58d218255" providerId="ADAL" clId="{388EFDEE-447E-42B4-98EF-30C01AB2E8CD}" dt="2022-03-28T19:00:53.058" v="3346" actId="164"/>
          <ac:spMkLst>
            <pc:docMk/>
            <pc:sldMk cId="0" sldId="266"/>
            <ac:spMk id="442" creationId="{49B151AE-11E0-45DC-A7D4-E58EE92E0EF8}"/>
          </ac:spMkLst>
        </pc:spChg>
        <pc:spChg chg="add mod">
          <ac:chgData name="Kebba Jeng" userId="fe4cc296-ba7d-48a2-8799-89b58d218255" providerId="ADAL" clId="{388EFDEE-447E-42B4-98EF-30C01AB2E8CD}" dt="2022-03-28T19:00:53.058" v="3346" actId="164"/>
          <ac:spMkLst>
            <pc:docMk/>
            <pc:sldMk cId="0" sldId="266"/>
            <ac:spMk id="443" creationId="{B350C384-C09F-492C-86E5-80C2E4AAFA28}"/>
          </ac:spMkLst>
        </pc:spChg>
        <pc:spChg chg="add mod">
          <ac:chgData name="Kebba Jeng" userId="fe4cc296-ba7d-48a2-8799-89b58d218255" providerId="ADAL" clId="{388EFDEE-447E-42B4-98EF-30C01AB2E8CD}" dt="2022-03-28T19:00:53.058" v="3346" actId="164"/>
          <ac:spMkLst>
            <pc:docMk/>
            <pc:sldMk cId="0" sldId="266"/>
            <ac:spMk id="444" creationId="{E44EF60B-F8D6-4ABC-9822-77A2A062E05B}"/>
          </ac:spMkLst>
        </pc:spChg>
        <pc:spChg chg="add mod">
          <ac:chgData name="Kebba Jeng" userId="fe4cc296-ba7d-48a2-8799-89b58d218255" providerId="ADAL" clId="{388EFDEE-447E-42B4-98EF-30C01AB2E8CD}" dt="2022-03-28T19:00:53.058" v="3346" actId="164"/>
          <ac:spMkLst>
            <pc:docMk/>
            <pc:sldMk cId="0" sldId="266"/>
            <ac:spMk id="445" creationId="{52C6738A-4C99-4C76-AB67-900ACB3E54F5}"/>
          </ac:spMkLst>
        </pc:spChg>
        <pc:spChg chg="add mod">
          <ac:chgData name="Kebba Jeng" userId="fe4cc296-ba7d-48a2-8799-89b58d218255" providerId="ADAL" clId="{388EFDEE-447E-42B4-98EF-30C01AB2E8CD}" dt="2022-03-28T19:00:53.058" v="3346" actId="164"/>
          <ac:spMkLst>
            <pc:docMk/>
            <pc:sldMk cId="0" sldId="266"/>
            <ac:spMk id="446" creationId="{C6360F95-7FBF-4056-8C21-4C0361EE7587}"/>
          </ac:spMkLst>
        </pc:spChg>
        <pc:spChg chg="add mod">
          <ac:chgData name="Kebba Jeng" userId="fe4cc296-ba7d-48a2-8799-89b58d218255" providerId="ADAL" clId="{388EFDEE-447E-42B4-98EF-30C01AB2E8CD}" dt="2022-03-28T19:00:53.058" v="3346" actId="164"/>
          <ac:spMkLst>
            <pc:docMk/>
            <pc:sldMk cId="0" sldId="266"/>
            <ac:spMk id="447" creationId="{B93BF785-BFA9-40BE-9980-8E4126F36E42}"/>
          </ac:spMkLst>
        </pc:spChg>
        <pc:spChg chg="add mod">
          <ac:chgData name="Kebba Jeng" userId="fe4cc296-ba7d-48a2-8799-89b58d218255" providerId="ADAL" clId="{388EFDEE-447E-42B4-98EF-30C01AB2E8CD}" dt="2022-03-28T19:00:53.058" v="3346" actId="164"/>
          <ac:spMkLst>
            <pc:docMk/>
            <pc:sldMk cId="0" sldId="266"/>
            <ac:spMk id="448" creationId="{24353896-21AD-4A73-9AE1-6B2AB7CE8EDA}"/>
          </ac:spMkLst>
        </pc:spChg>
        <pc:spChg chg="add mod">
          <ac:chgData name="Kebba Jeng" userId="fe4cc296-ba7d-48a2-8799-89b58d218255" providerId="ADAL" clId="{388EFDEE-447E-42B4-98EF-30C01AB2E8CD}" dt="2022-03-28T19:00:53.058" v="3346" actId="164"/>
          <ac:spMkLst>
            <pc:docMk/>
            <pc:sldMk cId="0" sldId="266"/>
            <ac:spMk id="449" creationId="{061EB73E-03A3-4901-8241-AB342CFE6F66}"/>
          </ac:spMkLst>
        </pc:spChg>
        <pc:spChg chg="add mod">
          <ac:chgData name="Kebba Jeng" userId="fe4cc296-ba7d-48a2-8799-89b58d218255" providerId="ADAL" clId="{388EFDEE-447E-42B4-98EF-30C01AB2E8CD}" dt="2022-03-28T19:00:53.058" v="3346" actId="164"/>
          <ac:spMkLst>
            <pc:docMk/>
            <pc:sldMk cId="0" sldId="266"/>
            <ac:spMk id="450" creationId="{DD01AD24-BD7D-49C9-895C-EB01BDBDFDAC}"/>
          </ac:spMkLst>
        </pc:spChg>
        <pc:spChg chg="add mod">
          <ac:chgData name="Kebba Jeng" userId="fe4cc296-ba7d-48a2-8799-89b58d218255" providerId="ADAL" clId="{388EFDEE-447E-42B4-98EF-30C01AB2E8CD}" dt="2022-03-28T19:00:53.058" v="3346" actId="164"/>
          <ac:spMkLst>
            <pc:docMk/>
            <pc:sldMk cId="0" sldId="266"/>
            <ac:spMk id="451" creationId="{CBF18744-5BD1-4E35-86A7-617783C0A5DA}"/>
          </ac:spMkLst>
        </pc:spChg>
        <pc:spChg chg="add mod">
          <ac:chgData name="Kebba Jeng" userId="fe4cc296-ba7d-48a2-8799-89b58d218255" providerId="ADAL" clId="{388EFDEE-447E-42B4-98EF-30C01AB2E8CD}" dt="2022-03-28T19:00:53.058" v="3346" actId="164"/>
          <ac:spMkLst>
            <pc:docMk/>
            <pc:sldMk cId="0" sldId="266"/>
            <ac:spMk id="452" creationId="{94E479E4-67F0-4058-953C-84EC0AA44624}"/>
          </ac:spMkLst>
        </pc:spChg>
        <pc:spChg chg="add mod">
          <ac:chgData name="Kebba Jeng" userId="fe4cc296-ba7d-48a2-8799-89b58d218255" providerId="ADAL" clId="{388EFDEE-447E-42B4-98EF-30C01AB2E8CD}" dt="2022-03-28T19:00:53.058" v="3346" actId="164"/>
          <ac:spMkLst>
            <pc:docMk/>
            <pc:sldMk cId="0" sldId="266"/>
            <ac:spMk id="453" creationId="{BAB971B5-FE7E-4EE5-BD8F-BC584D8F0BA0}"/>
          </ac:spMkLst>
        </pc:spChg>
        <pc:spChg chg="add mod">
          <ac:chgData name="Kebba Jeng" userId="fe4cc296-ba7d-48a2-8799-89b58d218255" providerId="ADAL" clId="{388EFDEE-447E-42B4-98EF-30C01AB2E8CD}" dt="2022-03-28T19:00:53.058" v="3346" actId="164"/>
          <ac:spMkLst>
            <pc:docMk/>
            <pc:sldMk cId="0" sldId="266"/>
            <ac:spMk id="454" creationId="{B0B1E62B-66CC-41B4-BE36-C401416F663F}"/>
          </ac:spMkLst>
        </pc:spChg>
        <pc:spChg chg="add mod">
          <ac:chgData name="Kebba Jeng" userId="fe4cc296-ba7d-48a2-8799-89b58d218255" providerId="ADAL" clId="{388EFDEE-447E-42B4-98EF-30C01AB2E8CD}" dt="2022-03-28T19:00:53.058" v="3346" actId="164"/>
          <ac:spMkLst>
            <pc:docMk/>
            <pc:sldMk cId="0" sldId="266"/>
            <ac:spMk id="455" creationId="{AE15E98A-A555-4682-BE48-E6D71ABA233A}"/>
          </ac:spMkLst>
        </pc:spChg>
        <pc:spChg chg="add mod">
          <ac:chgData name="Kebba Jeng" userId="fe4cc296-ba7d-48a2-8799-89b58d218255" providerId="ADAL" clId="{388EFDEE-447E-42B4-98EF-30C01AB2E8CD}" dt="2022-03-28T19:00:53.058" v="3346" actId="164"/>
          <ac:spMkLst>
            <pc:docMk/>
            <pc:sldMk cId="0" sldId="266"/>
            <ac:spMk id="456" creationId="{0C821443-63EE-403D-BDD9-E02498A467EB}"/>
          </ac:spMkLst>
        </pc:spChg>
        <pc:spChg chg="add mod">
          <ac:chgData name="Kebba Jeng" userId="fe4cc296-ba7d-48a2-8799-89b58d218255" providerId="ADAL" clId="{388EFDEE-447E-42B4-98EF-30C01AB2E8CD}" dt="2022-03-28T19:00:53.058" v="3346" actId="164"/>
          <ac:spMkLst>
            <pc:docMk/>
            <pc:sldMk cId="0" sldId="266"/>
            <ac:spMk id="457" creationId="{F6B7C051-9457-422B-9E73-1739EF210EFD}"/>
          </ac:spMkLst>
        </pc:spChg>
        <pc:spChg chg="add mod">
          <ac:chgData name="Kebba Jeng" userId="fe4cc296-ba7d-48a2-8799-89b58d218255" providerId="ADAL" clId="{388EFDEE-447E-42B4-98EF-30C01AB2E8CD}" dt="2022-03-28T19:00:53.058" v="3346" actId="164"/>
          <ac:spMkLst>
            <pc:docMk/>
            <pc:sldMk cId="0" sldId="266"/>
            <ac:spMk id="458" creationId="{EDC533ED-DD6D-4718-A48B-23E1E144BEF1}"/>
          </ac:spMkLst>
        </pc:spChg>
        <pc:spChg chg="add mod">
          <ac:chgData name="Kebba Jeng" userId="fe4cc296-ba7d-48a2-8799-89b58d218255" providerId="ADAL" clId="{388EFDEE-447E-42B4-98EF-30C01AB2E8CD}" dt="2022-03-28T19:00:53.058" v="3346" actId="164"/>
          <ac:spMkLst>
            <pc:docMk/>
            <pc:sldMk cId="0" sldId="266"/>
            <ac:spMk id="459" creationId="{7254035F-1651-452B-82C7-03CEC7DD52E2}"/>
          </ac:spMkLst>
        </pc:spChg>
        <pc:spChg chg="add mod">
          <ac:chgData name="Kebba Jeng" userId="fe4cc296-ba7d-48a2-8799-89b58d218255" providerId="ADAL" clId="{388EFDEE-447E-42B4-98EF-30C01AB2E8CD}" dt="2022-03-28T19:00:53.058" v="3346" actId="164"/>
          <ac:spMkLst>
            <pc:docMk/>
            <pc:sldMk cId="0" sldId="266"/>
            <ac:spMk id="460" creationId="{8509ACF7-5788-4F4B-BA11-7C962967811F}"/>
          </ac:spMkLst>
        </pc:spChg>
        <pc:spChg chg="add mod">
          <ac:chgData name="Kebba Jeng" userId="fe4cc296-ba7d-48a2-8799-89b58d218255" providerId="ADAL" clId="{388EFDEE-447E-42B4-98EF-30C01AB2E8CD}" dt="2022-03-28T19:00:53.058" v="3346" actId="164"/>
          <ac:spMkLst>
            <pc:docMk/>
            <pc:sldMk cId="0" sldId="266"/>
            <ac:spMk id="461" creationId="{BE1B2F90-D00E-4088-ACF2-25315A2D237A}"/>
          </ac:spMkLst>
        </pc:spChg>
        <pc:spChg chg="add mod">
          <ac:chgData name="Kebba Jeng" userId="fe4cc296-ba7d-48a2-8799-89b58d218255" providerId="ADAL" clId="{388EFDEE-447E-42B4-98EF-30C01AB2E8CD}" dt="2022-03-28T19:00:53.058" v="3346" actId="164"/>
          <ac:spMkLst>
            <pc:docMk/>
            <pc:sldMk cId="0" sldId="266"/>
            <ac:spMk id="462" creationId="{9D2E57ED-C4C6-4117-9139-F3ED40EBBA00}"/>
          </ac:spMkLst>
        </pc:spChg>
        <pc:spChg chg="add mod">
          <ac:chgData name="Kebba Jeng" userId="fe4cc296-ba7d-48a2-8799-89b58d218255" providerId="ADAL" clId="{388EFDEE-447E-42B4-98EF-30C01AB2E8CD}" dt="2022-03-28T19:00:53.058" v="3346" actId="164"/>
          <ac:spMkLst>
            <pc:docMk/>
            <pc:sldMk cId="0" sldId="266"/>
            <ac:spMk id="463" creationId="{DC476ECD-9851-4B5A-936C-4D0CABC2E44E}"/>
          </ac:spMkLst>
        </pc:spChg>
        <pc:spChg chg="add mod">
          <ac:chgData name="Kebba Jeng" userId="fe4cc296-ba7d-48a2-8799-89b58d218255" providerId="ADAL" clId="{388EFDEE-447E-42B4-98EF-30C01AB2E8CD}" dt="2022-03-28T19:00:53.058" v="3346" actId="164"/>
          <ac:spMkLst>
            <pc:docMk/>
            <pc:sldMk cId="0" sldId="266"/>
            <ac:spMk id="464" creationId="{2A08466C-D17C-4E9C-9D2B-DA9E95DAFA3C}"/>
          </ac:spMkLst>
        </pc:spChg>
        <pc:spChg chg="add mod">
          <ac:chgData name="Kebba Jeng" userId="fe4cc296-ba7d-48a2-8799-89b58d218255" providerId="ADAL" clId="{388EFDEE-447E-42B4-98EF-30C01AB2E8CD}" dt="2022-03-28T19:00:53.058" v="3346" actId="164"/>
          <ac:spMkLst>
            <pc:docMk/>
            <pc:sldMk cId="0" sldId="266"/>
            <ac:spMk id="465" creationId="{D2F4E942-A8E7-4EDE-93E4-69B9105C2B31}"/>
          </ac:spMkLst>
        </pc:spChg>
        <pc:spChg chg="add mod">
          <ac:chgData name="Kebba Jeng" userId="fe4cc296-ba7d-48a2-8799-89b58d218255" providerId="ADAL" clId="{388EFDEE-447E-42B4-98EF-30C01AB2E8CD}" dt="2022-03-28T19:06:08.385" v="3509" actId="20577"/>
          <ac:spMkLst>
            <pc:docMk/>
            <pc:sldMk cId="0" sldId="266"/>
            <ac:spMk id="466" creationId="{51A430F9-1C75-4B61-B22E-F357A5A825BB}"/>
          </ac:spMkLst>
        </pc:spChg>
        <pc:spChg chg="add mod">
          <ac:chgData name="Kebba Jeng" userId="fe4cc296-ba7d-48a2-8799-89b58d218255" providerId="ADAL" clId="{388EFDEE-447E-42B4-98EF-30C01AB2E8CD}" dt="2022-03-28T19:00:53.058" v="3346" actId="164"/>
          <ac:spMkLst>
            <pc:docMk/>
            <pc:sldMk cId="0" sldId="266"/>
            <ac:spMk id="467" creationId="{E19B1D2A-C2E7-4F2C-AB00-93C76F719209}"/>
          </ac:spMkLst>
        </pc:spChg>
        <pc:spChg chg="add mod">
          <ac:chgData name="Kebba Jeng" userId="fe4cc296-ba7d-48a2-8799-89b58d218255" providerId="ADAL" clId="{388EFDEE-447E-42B4-98EF-30C01AB2E8CD}" dt="2022-03-28T19:00:53.058" v="3346" actId="164"/>
          <ac:spMkLst>
            <pc:docMk/>
            <pc:sldMk cId="0" sldId="266"/>
            <ac:spMk id="468" creationId="{282F5FB9-EBE4-48F7-8BCB-7BC37B8072E6}"/>
          </ac:spMkLst>
        </pc:spChg>
        <pc:spChg chg="add mod">
          <ac:chgData name="Kebba Jeng" userId="fe4cc296-ba7d-48a2-8799-89b58d218255" providerId="ADAL" clId="{388EFDEE-447E-42B4-98EF-30C01AB2E8CD}" dt="2022-03-28T19:00:53.058" v="3346" actId="164"/>
          <ac:spMkLst>
            <pc:docMk/>
            <pc:sldMk cId="0" sldId="266"/>
            <ac:spMk id="469" creationId="{796C1183-E5EF-4C7C-BA62-019B0C187EF6}"/>
          </ac:spMkLst>
        </pc:spChg>
        <pc:spChg chg="add mod">
          <ac:chgData name="Kebba Jeng" userId="fe4cc296-ba7d-48a2-8799-89b58d218255" providerId="ADAL" clId="{388EFDEE-447E-42B4-98EF-30C01AB2E8CD}" dt="2022-03-28T19:00:53.058" v="3346" actId="164"/>
          <ac:spMkLst>
            <pc:docMk/>
            <pc:sldMk cId="0" sldId="266"/>
            <ac:spMk id="470" creationId="{B38DF459-4995-439B-B601-534B3FE67302}"/>
          </ac:spMkLst>
        </pc:spChg>
        <pc:spChg chg="add mod">
          <ac:chgData name="Kebba Jeng" userId="fe4cc296-ba7d-48a2-8799-89b58d218255" providerId="ADAL" clId="{388EFDEE-447E-42B4-98EF-30C01AB2E8CD}" dt="2022-03-28T19:00:53.058" v="3346" actId="164"/>
          <ac:spMkLst>
            <pc:docMk/>
            <pc:sldMk cId="0" sldId="266"/>
            <ac:spMk id="471" creationId="{654FDC3B-DDEF-4BB4-B06F-7B7F093802DC}"/>
          </ac:spMkLst>
        </pc:spChg>
        <pc:spChg chg="add mod">
          <ac:chgData name="Kebba Jeng" userId="fe4cc296-ba7d-48a2-8799-89b58d218255" providerId="ADAL" clId="{388EFDEE-447E-42B4-98EF-30C01AB2E8CD}" dt="2022-03-28T19:00:53.058" v="3346" actId="164"/>
          <ac:spMkLst>
            <pc:docMk/>
            <pc:sldMk cId="0" sldId="266"/>
            <ac:spMk id="472" creationId="{962E026E-82FE-47B6-A637-2C40E888B0B7}"/>
          </ac:spMkLst>
        </pc:spChg>
        <pc:spChg chg="add mod">
          <ac:chgData name="Kebba Jeng" userId="fe4cc296-ba7d-48a2-8799-89b58d218255" providerId="ADAL" clId="{388EFDEE-447E-42B4-98EF-30C01AB2E8CD}" dt="2022-03-28T19:00:53.058" v="3346" actId="164"/>
          <ac:spMkLst>
            <pc:docMk/>
            <pc:sldMk cId="0" sldId="266"/>
            <ac:spMk id="473" creationId="{CB07F1E7-EC8E-4C37-A9B1-E90947ED66B0}"/>
          </ac:spMkLst>
        </pc:spChg>
        <pc:spChg chg="add mod">
          <ac:chgData name="Kebba Jeng" userId="fe4cc296-ba7d-48a2-8799-89b58d218255" providerId="ADAL" clId="{388EFDEE-447E-42B4-98EF-30C01AB2E8CD}" dt="2022-03-28T19:00:53.058" v="3346" actId="164"/>
          <ac:spMkLst>
            <pc:docMk/>
            <pc:sldMk cId="0" sldId="266"/>
            <ac:spMk id="474" creationId="{CE05E380-16A3-4D84-B081-4B8FCF9256B9}"/>
          </ac:spMkLst>
        </pc:spChg>
        <pc:spChg chg="add mod">
          <ac:chgData name="Kebba Jeng" userId="fe4cc296-ba7d-48a2-8799-89b58d218255" providerId="ADAL" clId="{388EFDEE-447E-42B4-98EF-30C01AB2E8CD}" dt="2022-03-28T19:00:53.058" v="3346" actId="164"/>
          <ac:spMkLst>
            <pc:docMk/>
            <pc:sldMk cId="0" sldId="266"/>
            <ac:spMk id="475" creationId="{C5C4484F-91F4-4EBA-A67D-33F0C8D0D76B}"/>
          </ac:spMkLst>
        </pc:spChg>
        <pc:spChg chg="add mod">
          <ac:chgData name="Kebba Jeng" userId="fe4cc296-ba7d-48a2-8799-89b58d218255" providerId="ADAL" clId="{388EFDEE-447E-42B4-98EF-30C01AB2E8CD}" dt="2022-03-28T19:00:53.058" v="3346" actId="164"/>
          <ac:spMkLst>
            <pc:docMk/>
            <pc:sldMk cId="0" sldId="266"/>
            <ac:spMk id="476" creationId="{1AC386AA-F376-4FC4-840B-7D7B835FE4AE}"/>
          </ac:spMkLst>
        </pc:spChg>
        <pc:spChg chg="add mod">
          <ac:chgData name="Kebba Jeng" userId="fe4cc296-ba7d-48a2-8799-89b58d218255" providerId="ADAL" clId="{388EFDEE-447E-42B4-98EF-30C01AB2E8CD}" dt="2022-03-28T19:00:53.058" v="3346" actId="164"/>
          <ac:spMkLst>
            <pc:docMk/>
            <pc:sldMk cId="0" sldId="266"/>
            <ac:spMk id="477" creationId="{C1222B34-712E-49D4-BFC2-D62600E0C3B0}"/>
          </ac:spMkLst>
        </pc:spChg>
        <pc:spChg chg="add mod">
          <ac:chgData name="Kebba Jeng" userId="fe4cc296-ba7d-48a2-8799-89b58d218255" providerId="ADAL" clId="{388EFDEE-447E-42B4-98EF-30C01AB2E8CD}" dt="2022-03-28T19:00:53.058" v="3346" actId="164"/>
          <ac:spMkLst>
            <pc:docMk/>
            <pc:sldMk cId="0" sldId="266"/>
            <ac:spMk id="478" creationId="{0C309244-00F6-4AE3-ACE0-54DB3AC0DF9A}"/>
          </ac:spMkLst>
        </pc:spChg>
        <pc:spChg chg="add mod">
          <ac:chgData name="Kebba Jeng" userId="fe4cc296-ba7d-48a2-8799-89b58d218255" providerId="ADAL" clId="{388EFDEE-447E-42B4-98EF-30C01AB2E8CD}" dt="2022-03-28T19:00:53.058" v="3346" actId="164"/>
          <ac:spMkLst>
            <pc:docMk/>
            <pc:sldMk cId="0" sldId="266"/>
            <ac:spMk id="479" creationId="{A328927A-062E-4FF8-A9D2-830D6D2D6B12}"/>
          </ac:spMkLst>
        </pc:spChg>
        <pc:spChg chg="add mod">
          <ac:chgData name="Kebba Jeng" userId="fe4cc296-ba7d-48a2-8799-89b58d218255" providerId="ADAL" clId="{388EFDEE-447E-42B4-98EF-30C01AB2E8CD}" dt="2022-03-28T19:00:53.058" v="3346" actId="164"/>
          <ac:spMkLst>
            <pc:docMk/>
            <pc:sldMk cId="0" sldId="266"/>
            <ac:spMk id="480" creationId="{95668DD0-1668-4F44-8148-6D1F08C819A1}"/>
          </ac:spMkLst>
        </pc:spChg>
        <pc:spChg chg="add mod">
          <ac:chgData name="Kebba Jeng" userId="fe4cc296-ba7d-48a2-8799-89b58d218255" providerId="ADAL" clId="{388EFDEE-447E-42B4-98EF-30C01AB2E8CD}" dt="2022-03-28T19:00:53.058" v="3346" actId="164"/>
          <ac:spMkLst>
            <pc:docMk/>
            <pc:sldMk cId="0" sldId="266"/>
            <ac:spMk id="481" creationId="{96792C4A-C2B4-4382-816A-3E125FBC338C}"/>
          </ac:spMkLst>
        </pc:spChg>
        <pc:spChg chg="add mod">
          <ac:chgData name="Kebba Jeng" userId="fe4cc296-ba7d-48a2-8799-89b58d218255" providerId="ADAL" clId="{388EFDEE-447E-42B4-98EF-30C01AB2E8CD}" dt="2022-03-28T19:00:53.058" v="3346" actId="164"/>
          <ac:spMkLst>
            <pc:docMk/>
            <pc:sldMk cId="0" sldId="266"/>
            <ac:spMk id="482" creationId="{D84BC270-B3F9-4BA6-909E-68F8858A4B56}"/>
          </ac:spMkLst>
        </pc:spChg>
        <pc:spChg chg="add mod">
          <ac:chgData name="Kebba Jeng" userId="fe4cc296-ba7d-48a2-8799-89b58d218255" providerId="ADAL" clId="{388EFDEE-447E-42B4-98EF-30C01AB2E8CD}" dt="2022-03-28T19:00:53.058" v="3346" actId="164"/>
          <ac:spMkLst>
            <pc:docMk/>
            <pc:sldMk cId="0" sldId="266"/>
            <ac:spMk id="483" creationId="{ABBC847F-92DA-4028-842E-92D4B4D3F445}"/>
          </ac:spMkLst>
        </pc:spChg>
        <pc:spChg chg="add mod">
          <ac:chgData name="Kebba Jeng" userId="fe4cc296-ba7d-48a2-8799-89b58d218255" providerId="ADAL" clId="{388EFDEE-447E-42B4-98EF-30C01AB2E8CD}" dt="2022-03-28T19:00:53.058" v="3346" actId="164"/>
          <ac:spMkLst>
            <pc:docMk/>
            <pc:sldMk cId="0" sldId="266"/>
            <ac:spMk id="484" creationId="{A553E1BF-DB14-4347-9328-6F67CD54B4B3}"/>
          </ac:spMkLst>
        </pc:spChg>
        <pc:spChg chg="add mod">
          <ac:chgData name="Kebba Jeng" userId="fe4cc296-ba7d-48a2-8799-89b58d218255" providerId="ADAL" clId="{388EFDEE-447E-42B4-98EF-30C01AB2E8CD}" dt="2022-03-28T19:00:53.058" v="3346" actId="164"/>
          <ac:spMkLst>
            <pc:docMk/>
            <pc:sldMk cId="0" sldId="266"/>
            <ac:spMk id="485" creationId="{4507B2AA-3A1F-4CA8-BFBF-EABA55F0170D}"/>
          </ac:spMkLst>
        </pc:spChg>
        <pc:spChg chg="add mod">
          <ac:chgData name="Kebba Jeng" userId="fe4cc296-ba7d-48a2-8799-89b58d218255" providerId="ADAL" clId="{388EFDEE-447E-42B4-98EF-30C01AB2E8CD}" dt="2022-03-28T19:00:53.058" v="3346" actId="164"/>
          <ac:spMkLst>
            <pc:docMk/>
            <pc:sldMk cId="0" sldId="266"/>
            <ac:spMk id="486" creationId="{5D60EDA8-D039-4D27-A956-C13F2ACA0F3D}"/>
          </ac:spMkLst>
        </pc:spChg>
        <pc:spChg chg="add mod">
          <ac:chgData name="Kebba Jeng" userId="fe4cc296-ba7d-48a2-8799-89b58d218255" providerId="ADAL" clId="{388EFDEE-447E-42B4-98EF-30C01AB2E8CD}" dt="2022-03-28T19:00:53.058" v="3346" actId="164"/>
          <ac:spMkLst>
            <pc:docMk/>
            <pc:sldMk cId="0" sldId="266"/>
            <ac:spMk id="487" creationId="{F3A2B0DF-EB49-4237-861B-4F464E977DAE}"/>
          </ac:spMkLst>
        </pc:spChg>
        <pc:spChg chg="add mod">
          <ac:chgData name="Kebba Jeng" userId="fe4cc296-ba7d-48a2-8799-89b58d218255" providerId="ADAL" clId="{388EFDEE-447E-42B4-98EF-30C01AB2E8CD}" dt="2022-03-28T19:00:53.058" v="3346" actId="164"/>
          <ac:spMkLst>
            <pc:docMk/>
            <pc:sldMk cId="0" sldId="266"/>
            <ac:spMk id="488" creationId="{9BB7EE6A-9980-4380-BE20-281F6A536164}"/>
          </ac:spMkLst>
        </pc:spChg>
        <pc:spChg chg="add mod">
          <ac:chgData name="Kebba Jeng" userId="fe4cc296-ba7d-48a2-8799-89b58d218255" providerId="ADAL" clId="{388EFDEE-447E-42B4-98EF-30C01AB2E8CD}" dt="2022-03-28T19:00:53.058" v="3346" actId="164"/>
          <ac:spMkLst>
            <pc:docMk/>
            <pc:sldMk cId="0" sldId="266"/>
            <ac:spMk id="489" creationId="{5B9396AB-08A9-4BB5-A7FE-D9933377EB0E}"/>
          </ac:spMkLst>
        </pc:spChg>
        <pc:spChg chg="add mod">
          <ac:chgData name="Kebba Jeng" userId="fe4cc296-ba7d-48a2-8799-89b58d218255" providerId="ADAL" clId="{388EFDEE-447E-42B4-98EF-30C01AB2E8CD}" dt="2022-03-28T19:00:53.058" v="3346" actId="164"/>
          <ac:spMkLst>
            <pc:docMk/>
            <pc:sldMk cId="0" sldId="266"/>
            <ac:spMk id="490" creationId="{9E82A2C2-785E-4788-B4CA-D0CAE708A25D}"/>
          </ac:spMkLst>
        </pc:spChg>
        <pc:spChg chg="add mod">
          <ac:chgData name="Kebba Jeng" userId="fe4cc296-ba7d-48a2-8799-89b58d218255" providerId="ADAL" clId="{388EFDEE-447E-42B4-98EF-30C01AB2E8CD}" dt="2022-03-28T19:00:53.058" v="3346" actId="164"/>
          <ac:spMkLst>
            <pc:docMk/>
            <pc:sldMk cId="0" sldId="266"/>
            <ac:spMk id="491" creationId="{2C9CE241-A8E0-4113-9918-87622A25D49B}"/>
          </ac:spMkLst>
        </pc:spChg>
        <pc:spChg chg="add mod">
          <ac:chgData name="Kebba Jeng" userId="fe4cc296-ba7d-48a2-8799-89b58d218255" providerId="ADAL" clId="{388EFDEE-447E-42B4-98EF-30C01AB2E8CD}" dt="2022-03-28T19:00:53.058" v="3346" actId="164"/>
          <ac:spMkLst>
            <pc:docMk/>
            <pc:sldMk cId="0" sldId="266"/>
            <ac:spMk id="492" creationId="{C7C86A3A-C5AC-4E58-9A68-7F149AB090E7}"/>
          </ac:spMkLst>
        </pc:spChg>
        <pc:spChg chg="add mod">
          <ac:chgData name="Kebba Jeng" userId="fe4cc296-ba7d-48a2-8799-89b58d218255" providerId="ADAL" clId="{388EFDEE-447E-42B4-98EF-30C01AB2E8CD}" dt="2022-03-28T19:00:53.058" v="3346" actId="164"/>
          <ac:spMkLst>
            <pc:docMk/>
            <pc:sldMk cId="0" sldId="266"/>
            <ac:spMk id="493" creationId="{98F34A40-8ABA-430E-BA9F-71ACDFF22DE7}"/>
          </ac:spMkLst>
        </pc:spChg>
        <pc:spChg chg="add mod">
          <ac:chgData name="Kebba Jeng" userId="fe4cc296-ba7d-48a2-8799-89b58d218255" providerId="ADAL" clId="{388EFDEE-447E-42B4-98EF-30C01AB2E8CD}" dt="2022-03-28T19:00:53.058" v="3346" actId="164"/>
          <ac:spMkLst>
            <pc:docMk/>
            <pc:sldMk cId="0" sldId="266"/>
            <ac:spMk id="494" creationId="{BD603060-0B54-4C6C-99CB-5FB4FB2CD9B9}"/>
          </ac:spMkLst>
        </pc:spChg>
        <pc:spChg chg="add mod">
          <ac:chgData name="Kebba Jeng" userId="fe4cc296-ba7d-48a2-8799-89b58d218255" providerId="ADAL" clId="{388EFDEE-447E-42B4-98EF-30C01AB2E8CD}" dt="2022-03-28T19:00:53.058" v="3346" actId="164"/>
          <ac:spMkLst>
            <pc:docMk/>
            <pc:sldMk cId="0" sldId="266"/>
            <ac:spMk id="495" creationId="{37E72973-B3FC-48E4-9560-9995B4847215}"/>
          </ac:spMkLst>
        </pc:spChg>
        <pc:spChg chg="add mod">
          <ac:chgData name="Kebba Jeng" userId="fe4cc296-ba7d-48a2-8799-89b58d218255" providerId="ADAL" clId="{388EFDEE-447E-42B4-98EF-30C01AB2E8CD}" dt="2022-03-28T19:00:53.058" v="3346" actId="164"/>
          <ac:spMkLst>
            <pc:docMk/>
            <pc:sldMk cId="0" sldId="266"/>
            <ac:spMk id="496" creationId="{4786394B-D780-42F1-82BE-60C76F8D1B58}"/>
          </ac:spMkLst>
        </pc:spChg>
        <pc:spChg chg="add mod">
          <ac:chgData name="Kebba Jeng" userId="fe4cc296-ba7d-48a2-8799-89b58d218255" providerId="ADAL" clId="{388EFDEE-447E-42B4-98EF-30C01AB2E8CD}" dt="2022-03-28T19:00:53.058" v="3346" actId="164"/>
          <ac:spMkLst>
            <pc:docMk/>
            <pc:sldMk cId="0" sldId="266"/>
            <ac:spMk id="497" creationId="{61BDC9B4-DFC6-4958-ADBB-920EFB43CE70}"/>
          </ac:spMkLst>
        </pc:spChg>
        <pc:spChg chg="add mod">
          <ac:chgData name="Kebba Jeng" userId="fe4cc296-ba7d-48a2-8799-89b58d218255" providerId="ADAL" clId="{388EFDEE-447E-42B4-98EF-30C01AB2E8CD}" dt="2022-03-28T19:00:53.058" v="3346" actId="164"/>
          <ac:spMkLst>
            <pc:docMk/>
            <pc:sldMk cId="0" sldId="266"/>
            <ac:spMk id="498" creationId="{1A8BFB7D-E5B2-4CEC-91E5-E985A3A183C0}"/>
          </ac:spMkLst>
        </pc:spChg>
        <pc:spChg chg="add mod">
          <ac:chgData name="Kebba Jeng" userId="fe4cc296-ba7d-48a2-8799-89b58d218255" providerId="ADAL" clId="{388EFDEE-447E-42B4-98EF-30C01AB2E8CD}" dt="2022-03-28T19:00:53.058" v="3346" actId="164"/>
          <ac:spMkLst>
            <pc:docMk/>
            <pc:sldMk cId="0" sldId="266"/>
            <ac:spMk id="499" creationId="{6ADFC946-A54B-478D-902A-9065AF6C69F4}"/>
          </ac:spMkLst>
        </pc:spChg>
        <pc:spChg chg="add mod">
          <ac:chgData name="Kebba Jeng" userId="fe4cc296-ba7d-48a2-8799-89b58d218255" providerId="ADAL" clId="{388EFDEE-447E-42B4-98EF-30C01AB2E8CD}" dt="2022-03-28T19:00:53.058" v="3346" actId="164"/>
          <ac:spMkLst>
            <pc:docMk/>
            <pc:sldMk cId="0" sldId="266"/>
            <ac:spMk id="500" creationId="{A03CA6E2-BC6B-48FD-A161-4F51BA975AF3}"/>
          </ac:spMkLst>
        </pc:spChg>
        <pc:spChg chg="add mod">
          <ac:chgData name="Kebba Jeng" userId="fe4cc296-ba7d-48a2-8799-89b58d218255" providerId="ADAL" clId="{388EFDEE-447E-42B4-98EF-30C01AB2E8CD}" dt="2022-03-28T19:00:53.058" v="3346" actId="164"/>
          <ac:spMkLst>
            <pc:docMk/>
            <pc:sldMk cId="0" sldId="266"/>
            <ac:spMk id="501" creationId="{E0BE5005-FD8F-4441-94CD-E210D828F21C}"/>
          </ac:spMkLst>
        </pc:spChg>
        <pc:spChg chg="add mod">
          <ac:chgData name="Kebba Jeng" userId="fe4cc296-ba7d-48a2-8799-89b58d218255" providerId="ADAL" clId="{388EFDEE-447E-42B4-98EF-30C01AB2E8CD}" dt="2022-03-28T19:00:53.058" v="3346" actId="164"/>
          <ac:spMkLst>
            <pc:docMk/>
            <pc:sldMk cId="0" sldId="266"/>
            <ac:spMk id="502" creationId="{F780BD80-2D2E-4985-B168-D348C2C66C12}"/>
          </ac:spMkLst>
        </pc:spChg>
        <pc:spChg chg="add mod">
          <ac:chgData name="Kebba Jeng" userId="fe4cc296-ba7d-48a2-8799-89b58d218255" providerId="ADAL" clId="{388EFDEE-447E-42B4-98EF-30C01AB2E8CD}" dt="2022-03-28T19:00:53.058" v="3346" actId="164"/>
          <ac:spMkLst>
            <pc:docMk/>
            <pc:sldMk cId="0" sldId="266"/>
            <ac:spMk id="503" creationId="{83C11D4B-3728-4CD8-8BCA-E2FEB39A9AFA}"/>
          </ac:spMkLst>
        </pc:spChg>
        <pc:spChg chg="add mod">
          <ac:chgData name="Kebba Jeng" userId="fe4cc296-ba7d-48a2-8799-89b58d218255" providerId="ADAL" clId="{388EFDEE-447E-42B4-98EF-30C01AB2E8CD}" dt="2022-03-28T19:00:53.058" v="3346" actId="164"/>
          <ac:spMkLst>
            <pc:docMk/>
            <pc:sldMk cId="0" sldId="266"/>
            <ac:spMk id="504" creationId="{6E507B79-CFB1-4F48-B249-200ED9ECA6EE}"/>
          </ac:spMkLst>
        </pc:spChg>
        <pc:spChg chg="add mod">
          <ac:chgData name="Kebba Jeng" userId="fe4cc296-ba7d-48a2-8799-89b58d218255" providerId="ADAL" clId="{388EFDEE-447E-42B4-98EF-30C01AB2E8CD}" dt="2022-03-28T19:00:53.058" v="3346" actId="164"/>
          <ac:spMkLst>
            <pc:docMk/>
            <pc:sldMk cId="0" sldId="266"/>
            <ac:spMk id="505" creationId="{3D4C7864-BC1A-4112-AF02-08C0F1E5A99C}"/>
          </ac:spMkLst>
        </pc:spChg>
        <pc:spChg chg="add mod">
          <ac:chgData name="Kebba Jeng" userId="fe4cc296-ba7d-48a2-8799-89b58d218255" providerId="ADAL" clId="{388EFDEE-447E-42B4-98EF-30C01AB2E8CD}" dt="2022-03-28T19:00:53.058" v="3346" actId="164"/>
          <ac:spMkLst>
            <pc:docMk/>
            <pc:sldMk cId="0" sldId="266"/>
            <ac:spMk id="506" creationId="{7E89B32F-A952-4A3C-9B7E-E2ED3B153D76}"/>
          </ac:spMkLst>
        </pc:spChg>
        <pc:spChg chg="add mod">
          <ac:chgData name="Kebba Jeng" userId="fe4cc296-ba7d-48a2-8799-89b58d218255" providerId="ADAL" clId="{388EFDEE-447E-42B4-98EF-30C01AB2E8CD}" dt="2022-03-28T19:00:53.058" v="3346" actId="164"/>
          <ac:spMkLst>
            <pc:docMk/>
            <pc:sldMk cId="0" sldId="266"/>
            <ac:spMk id="507" creationId="{7685D7CC-D333-404B-9972-A8F3707D0188}"/>
          </ac:spMkLst>
        </pc:spChg>
        <pc:spChg chg="add mod">
          <ac:chgData name="Kebba Jeng" userId="fe4cc296-ba7d-48a2-8799-89b58d218255" providerId="ADAL" clId="{388EFDEE-447E-42B4-98EF-30C01AB2E8CD}" dt="2022-03-28T19:00:53.058" v="3346" actId="164"/>
          <ac:spMkLst>
            <pc:docMk/>
            <pc:sldMk cId="0" sldId="266"/>
            <ac:spMk id="508" creationId="{CC767476-59C8-4D0F-A984-5A3AAC72EFA9}"/>
          </ac:spMkLst>
        </pc:spChg>
        <pc:spChg chg="add mod">
          <ac:chgData name="Kebba Jeng" userId="fe4cc296-ba7d-48a2-8799-89b58d218255" providerId="ADAL" clId="{388EFDEE-447E-42B4-98EF-30C01AB2E8CD}" dt="2022-03-28T19:00:53.058" v="3346" actId="164"/>
          <ac:spMkLst>
            <pc:docMk/>
            <pc:sldMk cId="0" sldId="266"/>
            <ac:spMk id="509" creationId="{FE901154-FA42-40F2-BBB9-054FE5FA2FFF}"/>
          </ac:spMkLst>
        </pc:spChg>
        <pc:spChg chg="add mod">
          <ac:chgData name="Kebba Jeng" userId="fe4cc296-ba7d-48a2-8799-89b58d218255" providerId="ADAL" clId="{388EFDEE-447E-42B4-98EF-30C01AB2E8CD}" dt="2022-03-28T19:00:53.058" v="3346" actId="164"/>
          <ac:spMkLst>
            <pc:docMk/>
            <pc:sldMk cId="0" sldId="266"/>
            <ac:spMk id="510" creationId="{3DD88671-7143-49D3-A2CA-2FEDE57CFF23}"/>
          </ac:spMkLst>
        </pc:spChg>
        <pc:spChg chg="add mod">
          <ac:chgData name="Kebba Jeng" userId="fe4cc296-ba7d-48a2-8799-89b58d218255" providerId="ADAL" clId="{388EFDEE-447E-42B4-98EF-30C01AB2E8CD}" dt="2022-03-28T19:00:53.058" v="3346" actId="164"/>
          <ac:spMkLst>
            <pc:docMk/>
            <pc:sldMk cId="0" sldId="266"/>
            <ac:spMk id="511" creationId="{1A708188-4DB3-489A-910B-87829FFCD069}"/>
          </ac:spMkLst>
        </pc:spChg>
        <pc:spChg chg="add mod">
          <ac:chgData name="Kebba Jeng" userId="fe4cc296-ba7d-48a2-8799-89b58d218255" providerId="ADAL" clId="{388EFDEE-447E-42B4-98EF-30C01AB2E8CD}" dt="2022-03-28T19:00:53.058" v="3346" actId="164"/>
          <ac:spMkLst>
            <pc:docMk/>
            <pc:sldMk cId="0" sldId="266"/>
            <ac:spMk id="512" creationId="{27412807-1FFF-445D-AD09-1F1AB1F27BD3}"/>
          </ac:spMkLst>
        </pc:spChg>
        <pc:spChg chg="add mod">
          <ac:chgData name="Kebba Jeng" userId="fe4cc296-ba7d-48a2-8799-89b58d218255" providerId="ADAL" clId="{388EFDEE-447E-42B4-98EF-30C01AB2E8CD}" dt="2022-03-28T19:00:53.058" v="3346" actId="164"/>
          <ac:spMkLst>
            <pc:docMk/>
            <pc:sldMk cId="0" sldId="266"/>
            <ac:spMk id="513" creationId="{CDD001A6-58C3-48B6-85D5-34CB0E1856EF}"/>
          </ac:spMkLst>
        </pc:spChg>
        <pc:spChg chg="add mod">
          <ac:chgData name="Kebba Jeng" userId="fe4cc296-ba7d-48a2-8799-89b58d218255" providerId="ADAL" clId="{388EFDEE-447E-42B4-98EF-30C01AB2E8CD}" dt="2022-03-28T19:00:53.058" v="3346" actId="164"/>
          <ac:spMkLst>
            <pc:docMk/>
            <pc:sldMk cId="0" sldId="266"/>
            <ac:spMk id="514" creationId="{20554F5F-92BE-488D-AC34-B944898FAB9A}"/>
          </ac:spMkLst>
        </pc:spChg>
        <pc:spChg chg="add mod">
          <ac:chgData name="Kebba Jeng" userId="fe4cc296-ba7d-48a2-8799-89b58d218255" providerId="ADAL" clId="{388EFDEE-447E-42B4-98EF-30C01AB2E8CD}" dt="2022-03-28T19:00:53.058" v="3346" actId="164"/>
          <ac:spMkLst>
            <pc:docMk/>
            <pc:sldMk cId="0" sldId="266"/>
            <ac:spMk id="515" creationId="{2FD4F74E-F930-4628-9695-26EF6A40EC62}"/>
          </ac:spMkLst>
        </pc:spChg>
        <pc:spChg chg="add mod">
          <ac:chgData name="Kebba Jeng" userId="fe4cc296-ba7d-48a2-8799-89b58d218255" providerId="ADAL" clId="{388EFDEE-447E-42B4-98EF-30C01AB2E8CD}" dt="2022-03-28T19:00:53.058" v="3346" actId="164"/>
          <ac:spMkLst>
            <pc:docMk/>
            <pc:sldMk cId="0" sldId="266"/>
            <ac:spMk id="516" creationId="{150856F3-6B98-4F0A-8646-C9FD44DB7FB3}"/>
          </ac:spMkLst>
        </pc:spChg>
        <pc:spChg chg="add mod">
          <ac:chgData name="Kebba Jeng" userId="fe4cc296-ba7d-48a2-8799-89b58d218255" providerId="ADAL" clId="{388EFDEE-447E-42B4-98EF-30C01AB2E8CD}" dt="2022-03-28T19:00:53.058" v="3346" actId="164"/>
          <ac:spMkLst>
            <pc:docMk/>
            <pc:sldMk cId="0" sldId="266"/>
            <ac:spMk id="517" creationId="{09AB1C29-9780-40A2-AC6F-4B80A6522064}"/>
          </ac:spMkLst>
        </pc:spChg>
        <pc:spChg chg="add mod">
          <ac:chgData name="Kebba Jeng" userId="fe4cc296-ba7d-48a2-8799-89b58d218255" providerId="ADAL" clId="{388EFDEE-447E-42B4-98EF-30C01AB2E8CD}" dt="2022-03-28T19:00:53.058" v="3346" actId="164"/>
          <ac:spMkLst>
            <pc:docMk/>
            <pc:sldMk cId="0" sldId="266"/>
            <ac:spMk id="518" creationId="{8DEDB522-2DB2-48EB-853B-1EC01C838F4D}"/>
          </ac:spMkLst>
        </pc:spChg>
        <pc:spChg chg="add mod">
          <ac:chgData name="Kebba Jeng" userId="fe4cc296-ba7d-48a2-8799-89b58d218255" providerId="ADAL" clId="{388EFDEE-447E-42B4-98EF-30C01AB2E8CD}" dt="2022-03-28T19:00:53.058" v="3346" actId="164"/>
          <ac:spMkLst>
            <pc:docMk/>
            <pc:sldMk cId="0" sldId="266"/>
            <ac:spMk id="519" creationId="{741045B3-3155-4E15-9F99-365717FB2E67}"/>
          </ac:spMkLst>
        </pc:spChg>
        <pc:spChg chg="add mod">
          <ac:chgData name="Kebba Jeng" userId="fe4cc296-ba7d-48a2-8799-89b58d218255" providerId="ADAL" clId="{388EFDEE-447E-42B4-98EF-30C01AB2E8CD}" dt="2022-03-28T19:00:53.058" v="3346" actId="164"/>
          <ac:spMkLst>
            <pc:docMk/>
            <pc:sldMk cId="0" sldId="266"/>
            <ac:spMk id="520" creationId="{BA55BC20-6AB0-429C-A871-58666108DF9D}"/>
          </ac:spMkLst>
        </pc:spChg>
        <pc:spChg chg="add mod">
          <ac:chgData name="Kebba Jeng" userId="fe4cc296-ba7d-48a2-8799-89b58d218255" providerId="ADAL" clId="{388EFDEE-447E-42B4-98EF-30C01AB2E8CD}" dt="2022-03-28T19:00:53.058" v="3346" actId="164"/>
          <ac:spMkLst>
            <pc:docMk/>
            <pc:sldMk cId="0" sldId="266"/>
            <ac:spMk id="521" creationId="{F636A7F7-4C92-4AEB-ACBB-31FE868483EF}"/>
          </ac:spMkLst>
        </pc:spChg>
        <pc:spChg chg="add mod">
          <ac:chgData name="Kebba Jeng" userId="fe4cc296-ba7d-48a2-8799-89b58d218255" providerId="ADAL" clId="{388EFDEE-447E-42B4-98EF-30C01AB2E8CD}" dt="2022-03-28T19:00:53.058" v="3346" actId="164"/>
          <ac:spMkLst>
            <pc:docMk/>
            <pc:sldMk cId="0" sldId="266"/>
            <ac:spMk id="522" creationId="{C8052DBE-66FB-4760-A3A9-6C8BE21890E8}"/>
          </ac:spMkLst>
        </pc:spChg>
        <pc:spChg chg="add mod">
          <ac:chgData name="Kebba Jeng" userId="fe4cc296-ba7d-48a2-8799-89b58d218255" providerId="ADAL" clId="{388EFDEE-447E-42B4-98EF-30C01AB2E8CD}" dt="2022-03-28T19:00:53.058" v="3346" actId="164"/>
          <ac:spMkLst>
            <pc:docMk/>
            <pc:sldMk cId="0" sldId="266"/>
            <ac:spMk id="523" creationId="{01A6F33B-3C57-47F1-BEDE-B64DE8EF4FD9}"/>
          </ac:spMkLst>
        </pc:spChg>
        <pc:spChg chg="add mod">
          <ac:chgData name="Kebba Jeng" userId="fe4cc296-ba7d-48a2-8799-89b58d218255" providerId="ADAL" clId="{388EFDEE-447E-42B4-98EF-30C01AB2E8CD}" dt="2022-03-28T19:00:53.058" v="3346" actId="164"/>
          <ac:spMkLst>
            <pc:docMk/>
            <pc:sldMk cId="0" sldId="266"/>
            <ac:spMk id="524" creationId="{2EF2A2F2-A578-4AB4-B0CC-A474BF71BA7D}"/>
          </ac:spMkLst>
        </pc:spChg>
        <pc:spChg chg="add mod">
          <ac:chgData name="Kebba Jeng" userId="fe4cc296-ba7d-48a2-8799-89b58d218255" providerId="ADAL" clId="{388EFDEE-447E-42B4-98EF-30C01AB2E8CD}" dt="2022-03-28T19:00:53.058" v="3346" actId="164"/>
          <ac:spMkLst>
            <pc:docMk/>
            <pc:sldMk cId="0" sldId="266"/>
            <ac:spMk id="525" creationId="{F47ABEB0-016C-4C69-8785-15B6C235E7A3}"/>
          </ac:spMkLst>
        </pc:spChg>
        <pc:spChg chg="add mod">
          <ac:chgData name="Kebba Jeng" userId="fe4cc296-ba7d-48a2-8799-89b58d218255" providerId="ADAL" clId="{388EFDEE-447E-42B4-98EF-30C01AB2E8CD}" dt="2022-03-28T19:00:53.058" v="3346" actId="164"/>
          <ac:spMkLst>
            <pc:docMk/>
            <pc:sldMk cId="0" sldId="266"/>
            <ac:spMk id="526" creationId="{96AA8C32-F8B2-4CC5-9D04-644CA05D535F}"/>
          </ac:spMkLst>
        </pc:spChg>
        <pc:spChg chg="add mod">
          <ac:chgData name="Kebba Jeng" userId="fe4cc296-ba7d-48a2-8799-89b58d218255" providerId="ADAL" clId="{388EFDEE-447E-42B4-98EF-30C01AB2E8CD}" dt="2022-03-28T19:00:53.058" v="3346" actId="164"/>
          <ac:spMkLst>
            <pc:docMk/>
            <pc:sldMk cId="0" sldId="266"/>
            <ac:spMk id="527" creationId="{D99EE452-2AEF-453C-8A23-A4A2F809DC54}"/>
          </ac:spMkLst>
        </pc:spChg>
        <pc:spChg chg="add mod">
          <ac:chgData name="Kebba Jeng" userId="fe4cc296-ba7d-48a2-8799-89b58d218255" providerId="ADAL" clId="{388EFDEE-447E-42B4-98EF-30C01AB2E8CD}" dt="2022-03-28T19:00:53.058" v="3346" actId="164"/>
          <ac:spMkLst>
            <pc:docMk/>
            <pc:sldMk cId="0" sldId="266"/>
            <ac:spMk id="528" creationId="{276B8FB7-3978-457F-AC3D-A64A2FD57600}"/>
          </ac:spMkLst>
        </pc:spChg>
        <pc:spChg chg="add mod">
          <ac:chgData name="Kebba Jeng" userId="fe4cc296-ba7d-48a2-8799-89b58d218255" providerId="ADAL" clId="{388EFDEE-447E-42B4-98EF-30C01AB2E8CD}" dt="2022-03-28T19:00:53.058" v="3346" actId="164"/>
          <ac:spMkLst>
            <pc:docMk/>
            <pc:sldMk cId="0" sldId="266"/>
            <ac:spMk id="529" creationId="{38834475-08EA-418D-AAFC-4B5270B6FFCC}"/>
          </ac:spMkLst>
        </pc:spChg>
        <pc:spChg chg="add mod">
          <ac:chgData name="Kebba Jeng" userId="fe4cc296-ba7d-48a2-8799-89b58d218255" providerId="ADAL" clId="{388EFDEE-447E-42B4-98EF-30C01AB2E8CD}" dt="2022-03-28T19:00:53.058" v="3346" actId="164"/>
          <ac:spMkLst>
            <pc:docMk/>
            <pc:sldMk cId="0" sldId="266"/>
            <ac:spMk id="530" creationId="{85B64DF4-156C-40BC-99C0-A199E5D28265}"/>
          </ac:spMkLst>
        </pc:spChg>
        <pc:spChg chg="add mod">
          <ac:chgData name="Kebba Jeng" userId="fe4cc296-ba7d-48a2-8799-89b58d218255" providerId="ADAL" clId="{388EFDEE-447E-42B4-98EF-30C01AB2E8CD}" dt="2022-03-28T19:00:53.058" v="3346" actId="164"/>
          <ac:spMkLst>
            <pc:docMk/>
            <pc:sldMk cId="0" sldId="266"/>
            <ac:spMk id="531" creationId="{A1ABFD45-091B-40AD-869D-DBE9835044D8}"/>
          </ac:spMkLst>
        </pc:spChg>
        <pc:spChg chg="add mod">
          <ac:chgData name="Kebba Jeng" userId="fe4cc296-ba7d-48a2-8799-89b58d218255" providerId="ADAL" clId="{388EFDEE-447E-42B4-98EF-30C01AB2E8CD}" dt="2022-03-28T19:00:53.058" v="3346" actId="164"/>
          <ac:spMkLst>
            <pc:docMk/>
            <pc:sldMk cId="0" sldId="266"/>
            <ac:spMk id="532" creationId="{3AC999B3-A64F-4BEE-9335-E0C8DE61D141}"/>
          </ac:spMkLst>
        </pc:spChg>
        <pc:spChg chg="add mod">
          <ac:chgData name="Kebba Jeng" userId="fe4cc296-ba7d-48a2-8799-89b58d218255" providerId="ADAL" clId="{388EFDEE-447E-42B4-98EF-30C01AB2E8CD}" dt="2022-03-28T19:00:53.058" v="3346" actId="164"/>
          <ac:spMkLst>
            <pc:docMk/>
            <pc:sldMk cId="0" sldId="266"/>
            <ac:spMk id="533" creationId="{627AE0C0-7B06-4923-8E2C-270D616AE864}"/>
          </ac:spMkLst>
        </pc:spChg>
        <pc:spChg chg="add mod">
          <ac:chgData name="Kebba Jeng" userId="fe4cc296-ba7d-48a2-8799-89b58d218255" providerId="ADAL" clId="{388EFDEE-447E-42B4-98EF-30C01AB2E8CD}" dt="2022-03-28T19:00:53.058" v="3346" actId="164"/>
          <ac:spMkLst>
            <pc:docMk/>
            <pc:sldMk cId="0" sldId="266"/>
            <ac:spMk id="534" creationId="{F519866B-F652-4905-8FBC-0E52202ADCB5}"/>
          </ac:spMkLst>
        </pc:spChg>
        <pc:spChg chg="add mod">
          <ac:chgData name="Kebba Jeng" userId="fe4cc296-ba7d-48a2-8799-89b58d218255" providerId="ADAL" clId="{388EFDEE-447E-42B4-98EF-30C01AB2E8CD}" dt="2022-03-28T19:00:53.058" v="3346" actId="164"/>
          <ac:spMkLst>
            <pc:docMk/>
            <pc:sldMk cId="0" sldId="266"/>
            <ac:spMk id="535" creationId="{02865C84-7A89-4632-9403-378A34A34C6E}"/>
          </ac:spMkLst>
        </pc:spChg>
        <pc:spChg chg="add mod">
          <ac:chgData name="Kebba Jeng" userId="fe4cc296-ba7d-48a2-8799-89b58d218255" providerId="ADAL" clId="{388EFDEE-447E-42B4-98EF-30C01AB2E8CD}" dt="2022-03-28T19:00:53.058" v="3346" actId="164"/>
          <ac:spMkLst>
            <pc:docMk/>
            <pc:sldMk cId="0" sldId="266"/>
            <ac:spMk id="536" creationId="{B3C12101-23CF-4721-AB87-400CA2D99C4F}"/>
          </ac:spMkLst>
        </pc:spChg>
        <pc:spChg chg="add mod">
          <ac:chgData name="Kebba Jeng" userId="fe4cc296-ba7d-48a2-8799-89b58d218255" providerId="ADAL" clId="{388EFDEE-447E-42B4-98EF-30C01AB2E8CD}" dt="2022-03-28T19:00:53.058" v="3346" actId="164"/>
          <ac:spMkLst>
            <pc:docMk/>
            <pc:sldMk cId="0" sldId="266"/>
            <ac:spMk id="537" creationId="{CB5D62D1-9476-4AFA-A749-BFC056479D36}"/>
          </ac:spMkLst>
        </pc:spChg>
        <pc:spChg chg="add mod">
          <ac:chgData name="Kebba Jeng" userId="fe4cc296-ba7d-48a2-8799-89b58d218255" providerId="ADAL" clId="{388EFDEE-447E-42B4-98EF-30C01AB2E8CD}" dt="2022-03-28T19:00:53.058" v="3346" actId="164"/>
          <ac:spMkLst>
            <pc:docMk/>
            <pc:sldMk cId="0" sldId="266"/>
            <ac:spMk id="538" creationId="{6605FEE0-3203-456D-AB00-5C2188513987}"/>
          </ac:spMkLst>
        </pc:spChg>
        <pc:spChg chg="add mod">
          <ac:chgData name="Kebba Jeng" userId="fe4cc296-ba7d-48a2-8799-89b58d218255" providerId="ADAL" clId="{388EFDEE-447E-42B4-98EF-30C01AB2E8CD}" dt="2022-03-28T19:00:53.058" v="3346" actId="164"/>
          <ac:spMkLst>
            <pc:docMk/>
            <pc:sldMk cId="0" sldId="266"/>
            <ac:spMk id="539" creationId="{4F75951B-5D33-4759-9FDF-43B929F4D0C5}"/>
          </ac:spMkLst>
        </pc:spChg>
        <pc:spChg chg="add mod">
          <ac:chgData name="Kebba Jeng" userId="fe4cc296-ba7d-48a2-8799-89b58d218255" providerId="ADAL" clId="{388EFDEE-447E-42B4-98EF-30C01AB2E8CD}" dt="2022-03-28T19:00:53.058" v="3346" actId="164"/>
          <ac:spMkLst>
            <pc:docMk/>
            <pc:sldMk cId="0" sldId="266"/>
            <ac:spMk id="540" creationId="{98890DEE-FE32-40DD-ADB3-1281B56C0529}"/>
          </ac:spMkLst>
        </pc:spChg>
        <pc:spChg chg="add mod">
          <ac:chgData name="Kebba Jeng" userId="fe4cc296-ba7d-48a2-8799-89b58d218255" providerId="ADAL" clId="{388EFDEE-447E-42B4-98EF-30C01AB2E8CD}" dt="2022-03-28T19:00:53.058" v="3346" actId="164"/>
          <ac:spMkLst>
            <pc:docMk/>
            <pc:sldMk cId="0" sldId="266"/>
            <ac:spMk id="541" creationId="{826E6486-10AD-4E0E-B044-B3819A7DB6C9}"/>
          </ac:spMkLst>
        </pc:spChg>
        <pc:spChg chg="add mod">
          <ac:chgData name="Kebba Jeng" userId="fe4cc296-ba7d-48a2-8799-89b58d218255" providerId="ADAL" clId="{388EFDEE-447E-42B4-98EF-30C01AB2E8CD}" dt="2022-03-28T19:00:53.058" v="3346" actId="164"/>
          <ac:spMkLst>
            <pc:docMk/>
            <pc:sldMk cId="0" sldId="266"/>
            <ac:spMk id="542" creationId="{8C029E7F-1A12-47B7-B280-CB8F840671C0}"/>
          </ac:spMkLst>
        </pc:spChg>
        <pc:spChg chg="add mod">
          <ac:chgData name="Kebba Jeng" userId="fe4cc296-ba7d-48a2-8799-89b58d218255" providerId="ADAL" clId="{388EFDEE-447E-42B4-98EF-30C01AB2E8CD}" dt="2022-03-28T19:00:53.058" v="3346" actId="164"/>
          <ac:spMkLst>
            <pc:docMk/>
            <pc:sldMk cId="0" sldId="266"/>
            <ac:spMk id="543" creationId="{6EE17F8E-FB0A-47C1-A723-18C022B981FA}"/>
          </ac:spMkLst>
        </pc:spChg>
        <pc:spChg chg="add mod">
          <ac:chgData name="Kebba Jeng" userId="fe4cc296-ba7d-48a2-8799-89b58d218255" providerId="ADAL" clId="{388EFDEE-447E-42B4-98EF-30C01AB2E8CD}" dt="2022-03-28T19:00:53.058" v="3346" actId="164"/>
          <ac:spMkLst>
            <pc:docMk/>
            <pc:sldMk cId="0" sldId="266"/>
            <ac:spMk id="544" creationId="{E6FCFB97-4697-49A8-B83F-847D383C716E}"/>
          </ac:spMkLst>
        </pc:spChg>
        <pc:spChg chg="add mod">
          <ac:chgData name="Kebba Jeng" userId="fe4cc296-ba7d-48a2-8799-89b58d218255" providerId="ADAL" clId="{388EFDEE-447E-42B4-98EF-30C01AB2E8CD}" dt="2022-03-28T19:00:53.058" v="3346" actId="164"/>
          <ac:spMkLst>
            <pc:docMk/>
            <pc:sldMk cId="0" sldId="266"/>
            <ac:spMk id="545" creationId="{48E42028-2A91-4C7B-947D-2D770F1663D4}"/>
          </ac:spMkLst>
        </pc:spChg>
        <pc:spChg chg="add mod">
          <ac:chgData name="Kebba Jeng" userId="fe4cc296-ba7d-48a2-8799-89b58d218255" providerId="ADAL" clId="{388EFDEE-447E-42B4-98EF-30C01AB2E8CD}" dt="2022-03-28T19:00:53.058" v="3346" actId="164"/>
          <ac:spMkLst>
            <pc:docMk/>
            <pc:sldMk cId="0" sldId="266"/>
            <ac:spMk id="546" creationId="{4B318373-F77A-49F7-BEF7-A027898C559C}"/>
          </ac:spMkLst>
        </pc:spChg>
        <pc:spChg chg="add mod">
          <ac:chgData name="Kebba Jeng" userId="fe4cc296-ba7d-48a2-8799-89b58d218255" providerId="ADAL" clId="{388EFDEE-447E-42B4-98EF-30C01AB2E8CD}" dt="2022-03-28T19:00:53.058" v="3346" actId="164"/>
          <ac:spMkLst>
            <pc:docMk/>
            <pc:sldMk cId="0" sldId="266"/>
            <ac:spMk id="547" creationId="{D8B9338B-E94F-450B-8558-D0072118121F}"/>
          </ac:spMkLst>
        </pc:spChg>
        <pc:spChg chg="add mod">
          <ac:chgData name="Kebba Jeng" userId="fe4cc296-ba7d-48a2-8799-89b58d218255" providerId="ADAL" clId="{388EFDEE-447E-42B4-98EF-30C01AB2E8CD}" dt="2022-03-28T19:00:53.058" v="3346" actId="164"/>
          <ac:spMkLst>
            <pc:docMk/>
            <pc:sldMk cId="0" sldId="266"/>
            <ac:spMk id="548" creationId="{C4CA5407-D068-4A6B-908F-77D3B79D8756}"/>
          </ac:spMkLst>
        </pc:spChg>
        <pc:spChg chg="add mod">
          <ac:chgData name="Kebba Jeng" userId="fe4cc296-ba7d-48a2-8799-89b58d218255" providerId="ADAL" clId="{388EFDEE-447E-42B4-98EF-30C01AB2E8CD}" dt="2022-03-28T19:00:53.058" v="3346" actId="164"/>
          <ac:spMkLst>
            <pc:docMk/>
            <pc:sldMk cId="0" sldId="266"/>
            <ac:spMk id="549" creationId="{3C59489C-DBBE-4EAD-B990-13A8C8C9B92C}"/>
          </ac:spMkLst>
        </pc:spChg>
        <pc:spChg chg="add mod">
          <ac:chgData name="Kebba Jeng" userId="fe4cc296-ba7d-48a2-8799-89b58d218255" providerId="ADAL" clId="{388EFDEE-447E-42B4-98EF-30C01AB2E8CD}" dt="2022-03-28T19:00:53.058" v="3346" actId="164"/>
          <ac:spMkLst>
            <pc:docMk/>
            <pc:sldMk cId="0" sldId="266"/>
            <ac:spMk id="550" creationId="{C0FAA015-754B-4380-9AE1-6515823D1DA2}"/>
          </ac:spMkLst>
        </pc:spChg>
        <pc:spChg chg="add mod">
          <ac:chgData name="Kebba Jeng" userId="fe4cc296-ba7d-48a2-8799-89b58d218255" providerId="ADAL" clId="{388EFDEE-447E-42B4-98EF-30C01AB2E8CD}" dt="2022-03-28T19:00:53.058" v="3346" actId="164"/>
          <ac:spMkLst>
            <pc:docMk/>
            <pc:sldMk cId="0" sldId="266"/>
            <ac:spMk id="551" creationId="{BCD1DF1A-D7F5-4979-B5EC-A2430603E065}"/>
          </ac:spMkLst>
        </pc:spChg>
        <pc:spChg chg="add mod">
          <ac:chgData name="Kebba Jeng" userId="fe4cc296-ba7d-48a2-8799-89b58d218255" providerId="ADAL" clId="{388EFDEE-447E-42B4-98EF-30C01AB2E8CD}" dt="2022-03-28T19:00:53.058" v="3346" actId="164"/>
          <ac:spMkLst>
            <pc:docMk/>
            <pc:sldMk cId="0" sldId="266"/>
            <ac:spMk id="552" creationId="{B0F22D59-2292-48C5-959A-ACCEBB81FA8F}"/>
          </ac:spMkLst>
        </pc:spChg>
        <pc:spChg chg="add mod">
          <ac:chgData name="Kebba Jeng" userId="fe4cc296-ba7d-48a2-8799-89b58d218255" providerId="ADAL" clId="{388EFDEE-447E-42B4-98EF-30C01AB2E8CD}" dt="2022-03-28T19:00:53.058" v="3346" actId="164"/>
          <ac:spMkLst>
            <pc:docMk/>
            <pc:sldMk cId="0" sldId="266"/>
            <ac:spMk id="553" creationId="{21CBB0BB-A2AA-41DE-8802-BF31F38E4CA7}"/>
          </ac:spMkLst>
        </pc:spChg>
        <pc:spChg chg="add mod">
          <ac:chgData name="Kebba Jeng" userId="fe4cc296-ba7d-48a2-8799-89b58d218255" providerId="ADAL" clId="{388EFDEE-447E-42B4-98EF-30C01AB2E8CD}" dt="2022-03-28T19:00:53.058" v="3346" actId="164"/>
          <ac:spMkLst>
            <pc:docMk/>
            <pc:sldMk cId="0" sldId="266"/>
            <ac:spMk id="554" creationId="{4D5226AB-E2CF-43C9-A4FF-6973EACC0344}"/>
          </ac:spMkLst>
        </pc:spChg>
        <pc:spChg chg="add mod">
          <ac:chgData name="Kebba Jeng" userId="fe4cc296-ba7d-48a2-8799-89b58d218255" providerId="ADAL" clId="{388EFDEE-447E-42B4-98EF-30C01AB2E8CD}" dt="2022-03-28T19:00:53.058" v="3346" actId="164"/>
          <ac:spMkLst>
            <pc:docMk/>
            <pc:sldMk cId="0" sldId="266"/>
            <ac:spMk id="555" creationId="{DAD645D6-F18E-4907-A654-6C0F041E7581}"/>
          </ac:spMkLst>
        </pc:spChg>
        <pc:spChg chg="add mod">
          <ac:chgData name="Kebba Jeng" userId="fe4cc296-ba7d-48a2-8799-89b58d218255" providerId="ADAL" clId="{388EFDEE-447E-42B4-98EF-30C01AB2E8CD}" dt="2022-03-28T19:00:53.058" v="3346" actId="164"/>
          <ac:spMkLst>
            <pc:docMk/>
            <pc:sldMk cId="0" sldId="266"/>
            <ac:spMk id="556" creationId="{389E9476-FBF8-4E11-AB7B-3187A516F2C6}"/>
          </ac:spMkLst>
        </pc:spChg>
        <pc:spChg chg="add mod">
          <ac:chgData name="Kebba Jeng" userId="fe4cc296-ba7d-48a2-8799-89b58d218255" providerId="ADAL" clId="{388EFDEE-447E-42B4-98EF-30C01AB2E8CD}" dt="2022-03-28T19:00:53.058" v="3346" actId="164"/>
          <ac:spMkLst>
            <pc:docMk/>
            <pc:sldMk cId="0" sldId="266"/>
            <ac:spMk id="557" creationId="{A870DDE3-937E-423D-B1BA-0CF55A98C31D}"/>
          </ac:spMkLst>
        </pc:spChg>
        <pc:spChg chg="add mod">
          <ac:chgData name="Kebba Jeng" userId="fe4cc296-ba7d-48a2-8799-89b58d218255" providerId="ADAL" clId="{388EFDEE-447E-42B4-98EF-30C01AB2E8CD}" dt="2022-03-28T19:00:53.058" v="3346" actId="164"/>
          <ac:spMkLst>
            <pc:docMk/>
            <pc:sldMk cId="0" sldId="266"/>
            <ac:spMk id="558" creationId="{A6FFC204-8A6C-462D-B3E8-7F38FF7D6FFC}"/>
          </ac:spMkLst>
        </pc:spChg>
        <pc:spChg chg="add mod">
          <ac:chgData name="Kebba Jeng" userId="fe4cc296-ba7d-48a2-8799-89b58d218255" providerId="ADAL" clId="{388EFDEE-447E-42B4-98EF-30C01AB2E8CD}" dt="2022-03-28T19:00:53.058" v="3346" actId="164"/>
          <ac:spMkLst>
            <pc:docMk/>
            <pc:sldMk cId="0" sldId="266"/>
            <ac:spMk id="559" creationId="{A8E62BF3-39A2-42D4-9F11-3878B86E936A}"/>
          </ac:spMkLst>
        </pc:spChg>
        <pc:spChg chg="add mod">
          <ac:chgData name="Kebba Jeng" userId="fe4cc296-ba7d-48a2-8799-89b58d218255" providerId="ADAL" clId="{388EFDEE-447E-42B4-98EF-30C01AB2E8CD}" dt="2022-03-28T19:00:53.058" v="3346" actId="164"/>
          <ac:spMkLst>
            <pc:docMk/>
            <pc:sldMk cId="0" sldId="266"/>
            <ac:spMk id="560" creationId="{561BF891-5A2C-40E3-9165-2717014ADB53}"/>
          </ac:spMkLst>
        </pc:spChg>
        <pc:spChg chg="add mod">
          <ac:chgData name="Kebba Jeng" userId="fe4cc296-ba7d-48a2-8799-89b58d218255" providerId="ADAL" clId="{388EFDEE-447E-42B4-98EF-30C01AB2E8CD}" dt="2022-03-28T19:00:53.058" v="3346" actId="164"/>
          <ac:spMkLst>
            <pc:docMk/>
            <pc:sldMk cId="0" sldId="266"/>
            <ac:spMk id="561" creationId="{9C020190-7A6A-4C1A-8C51-7808E664F692}"/>
          </ac:spMkLst>
        </pc:spChg>
        <pc:spChg chg="add mod">
          <ac:chgData name="Kebba Jeng" userId="fe4cc296-ba7d-48a2-8799-89b58d218255" providerId="ADAL" clId="{388EFDEE-447E-42B4-98EF-30C01AB2E8CD}" dt="2022-03-28T19:00:53.058" v="3346" actId="164"/>
          <ac:spMkLst>
            <pc:docMk/>
            <pc:sldMk cId="0" sldId="266"/>
            <ac:spMk id="562" creationId="{34788925-7536-4776-A818-66A83F9F9924}"/>
          </ac:spMkLst>
        </pc:spChg>
        <pc:spChg chg="add mod">
          <ac:chgData name="Kebba Jeng" userId="fe4cc296-ba7d-48a2-8799-89b58d218255" providerId="ADAL" clId="{388EFDEE-447E-42B4-98EF-30C01AB2E8CD}" dt="2022-03-28T19:00:53.058" v="3346" actId="164"/>
          <ac:spMkLst>
            <pc:docMk/>
            <pc:sldMk cId="0" sldId="266"/>
            <ac:spMk id="563" creationId="{1AEA285D-CBC6-4E5D-A898-160150195050}"/>
          </ac:spMkLst>
        </pc:spChg>
        <pc:spChg chg="add mod">
          <ac:chgData name="Kebba Jeng" userId="fe4cc296-ba7d-48a2-8799-89b58d218255" providerId="ADAL" clId="{388EFDEE-447E-42B4-98EF-30C01AB2E8CD}" dt="2022-03-28T19:00:53.058" v="3346" actId="164"/>
          <ac:spMkLst>
            <pc:docMk/>
            <pc:sldMk cId="0" sldId="266"/>
            <ac:spMk id="564" creationId="{B045C413-7081-4C76-B84B-C2DD23F09847}"/>
          </ac:spMkLst>
        </pc:spChg>
        <pc:spChg chg="add mod">
          <ac:chgData name="Kebba Jeng" userId="fe4cc296-ba7d-48a2-8799-89b58d218255" providerId="ADAL" clId="{388EFDEE-447E-42B4-98EF-30C01AB2E8CD}" dt="2022-03-28T19:00:53.058" v="3346" actId="164"/>
          <ac:spMkLst>
            <pc:docMk/>
            <pc:sldMk cId="0" sldId="266"/>
            <ac:spMk id="565" creationId="{20D62A5D-67E1-45E1-A2D8-2C8F51A12C39}"/>
          </ac:spMkLst>
        </pc:spChg>
        <pc:spChg chg="add mod">
          <ac:chgData name="Kebba Jeng" userId="fe4cc296-ba7d-48a2-8799-89b58d218255" providerId="ADAL" clId="{388EFDEE-447E-42B4-98EF-30C01AB2E8CD}" dt="2022-03-28T19:00:53.058" v="3346" actId="164"/>
          <ac:spMkLst>
            <pc:docMk/>
            <pc:sldMk cId="0" sldId="266"/>
            <ac:spMk id="566" creationId="{4D972A39-9E52-4970-9B31-448F4173D929}"/>
          </ac:spMkLst>
        </pc:spChg>
        <pc:spChg chg="add mod">
          <ac:chgData name="Kebba Jeng" userId="fe4cc296-ba7d-48a2-8799-89b58d218255" providerId="ADAL" clId="{388EFDEE-447E-42B4-98EF-30C01AB2E8CD}" dt="2022-03-28T19:00:53.058" v="3346" actId="164"/>
          <ac:spMkLst>
            <pc:docMk/>
            <pc:sldMk cId="0" sldId="266"/>
            <ac:spMk id="567" creationId="{6A6A839A-D25D-4CC9-9E27-3FF2B6B4AEB9}"/>
          </ac:spMkLst>
        </pc:spChg>
        <pc:spChg chg="add mod">
          <ac:chgData name="Kebba Jeng" userId="fe4cc296-ba7d-48a2-8799-89b58d218255" providerId="ADAL" clId="{388EFDEE-447E-42B4-98EF-30C01AB2E8CD}" dt="2022-03-28T19:00:53.058" v="3346" actId="164"/>
          <ac:spMkLst>
            <pc:docMk/>
            <pc:sldMk cId="0" sldId="266"/>
            <ac:spMk id="568" creationId="{6541A6B1-7348-4883-BB93-D1EDE2D030A6}"/>
          </ac:spMkLst>
        </pc:spChg>
        <pc:spChg chg="add mod">
          <ac:chgData name="Kebba Jeng" userId="fe4cc296-ba7d-48a2-8799-89b58d218255" providerId="ADAL" clId="{388EFDEE-447E-42B4-98EF-30C01AB2E8CD}" dt="2022-03-28T19:00:53.058" v="3346" actId="164"/>
          <ac:spMkLst>
            <pc:docMk/>
            <pc:sldMk cId="0" sldId="266"/>
            <ac:spMk id="569" creationId="{355814C4-8E44-42F9-A739-275566BC5129}"/>
          </ac:spMkLst>
        </pc:spChg>
        <pc:spChg chg="add mod">
          <ac:chgData name="Kebba Jeng" userId="fe4cc296-ba7d-48a2-8799-89b58d218255" providerId="ADAL" clId="{388EFDEE-447E-42B4-98EF-30C01AB2E8CD}" dt="2022-03-28T19:00:53.058" v="3346" actId="164"/>
          <ac:spMkLst>
            <pc:docMk/>
            <pc:sldMk cId="0" sldId="266"/>
            <ac:spMk id="570" creationId="{A4751C6C-C68A-4B8F-854E-6C349800D312}"/>
          </ac:spMkLst>
        </pc:spChg>
        <pc:spChg chg="add mod">
          <ac:chgData name="Kebba Jeng" userId="fe4cc296-ba7d-48a2-8799-89b58d218255" providerId="ADAL" clId="{388EFDEE-447E-42B4-98EF-30C01AB2E8CD}" dt="2022-03-28T19:00:53.058" v="3346" actId="164"/>
          <ac:spMkLst>
            <pc:docMk/>
            <pc:sldMk cId="0" sldId="266"/>
            <ac:spMk id="571" creationId="{4AAF2922-F5E2-4882-8A42-B216B01AFA2F}"/>
          </ac:spMkLst>
        </pc:spChg>
        <pc:spChg chg="add mod">
          <ac:chgData name="Kebba Jeng" userId="fe4cc296-ba7d-48a2-8799-89b58d218255" providerId="ADAL" clId="{388EFDEE-447E-42B4-98EF-30C01AB2E8CD}" dt="2022-03-28T19:00:53.058" v="3346" actId="164"/>
          <ac:spMkLst>
            <pc:docMk/>
            <pc:sldMk cId="0" sldId="266"/>
            <ac:spMk id="572" creationId="{B535DDFD-E8A4-4F93-A9C4-AE0C5564D575}"/>
          </ac:spMkLst>
        </pc:spChg>
        <pc:spChg chg="add mod">
          <ac:chgData name="Kebba Jeng" userId="fe4cc296-ba7d-48a2-8799-89b58d218255" providerId="ADAL" clId="{388EFDEE-447E-42B4-98EF-30C01AB2E8CD}" dt="2022-03-28T19:00:53.058" v="3346" actId="164"/>
          <ac:spMkLst>
            <pc:docMk/>
            <pc:sldMk cId="0" sldId="266"/>
            <ac:spMk id="573" creationId="{0CE0E99C-B292-42F5-AD9A-A89B4723F017}"/>
          </ac:spMkLst>
        </pc:spChg>
        <pc:spChg chg="add mod">
          <ac:chgData name="Kebba Jeng" userId="fe4cc296-ba7d-48a2-8799-89b58d218255" providerId="ADAL" clId="{388EFDEE-447E-42B4-98EF-30C01AB2E8CD}" dt="2022-03-28T19:00:53.058" v="3346" actId="164"/>
          <ac:spMkLst>
            <pc:docMk/>
            <pc:sldMk cId="0" sldId="266"/>
            <ac:spMk id="574" creationId="{2CB69F3A-CFB9-42EC-85B0-C68B7BB35EFE}"/>
          </ac:spMkLst>
        </pc:spChg>
        <pc:spChg chg="add mod">
          <ac:chgData name="Kebba Jeng" userId="fe4cc296-ba7d-48a2-8799-89b58d218255" providerId="ADAL" clId="{388EFDEE-447E-42B4-98EF-30C01AB2E8CD}" dt="2022-03-28T19:00:53.058" v="3346" actId="164"/>
          <ac:spMkLst>
            <pc:docMk/>
            <pc:sldMk cId="0" sldId="266"/>
            <ac:spMk id="575" creationId="{D229EE5B-25D4-4502-8E85-093C3AA02397}"/>
          </ac:spMkLst>
        </pc:spChg>
        <pc:spChg chg="add mod">
          <ac:chgData name="Kebba Jeng" userId="fe4cc296-ba7d-48a2-8799-89b58d218255" providerId="ADAL" clId="{388EFDEE-447E-42B4-98EF-30C01AB2E8CD}" dt="2022-03-28T19:00:53.058" v="3346" actId="164"/>
          <ac:spMkLst>
            <pc:docMk/>
            <pc:sldMk cId="0" sldId="266"/>
            <ac:spMk id="576" creationId="{DE38B71D-FB3B-4ECF-9DC3-8B60FFF74151}"/>
          </ac:spMkLst>
        </pc:spChg>
        <pc:spChg chg="add mod">
          <ac:chgData name="Kebba Jeng" userId="fe4cc296-ba7d-48a2-8799-89b58d218255" providerId="ADAL" clId="{388EFDEE-447E-42B4-98EF-30C01AB2E8CD}" dt="2022-03-28T19:00:53.058" v="3346" actId="164"/>
          <ac:spMkLst>
            <pc:docMk/>
            <pc:sldMk cId="0" sldId="266"/>
            <ac:spMk id="577" creationId="{010ABACF-A9E2-41D6-945C-8B01C1A25A25}"/>
          </ac:spMkLst>
        </pc:spChg>
        <pc:spChg chg="add mod">
          <ac:chgData name="Kebba Jeng" userId="fe4cc296-ba7d-48a2-8799-89b58d218255" providerId="ADAL" clId="{388EFDEE-447E-42B4-98EF-30C01AB2E8CD}" dt="2022-03-28T19:00:53.058" v="3346" actId="164"/>
          <ac:spMkLst>
            <pc:docMk/>
            <pc:sldMk cId="0" sldId="266"/>
            <ac:spMk id="578" creationId="{125327D2-DE29-4E9A-BE4C-4E2AF0536C14}"/>
          </ac:spMkLst>
        </pc:spChg>
        <pc:spChg chg="add mod">
          <ac:chgData name="Kebba Jeng" userId="fe4cc296-ba7d-48a2-8799-89b58d218255" providerId="ADAL" clId="{388EFDEE-447E-42B4-98EF-30C01AB2E8CD}" dt="2022-03-28T19:00:53.058" v="3346" actId="164"/>
          <ac:spMkLst>
            <pc:docMk/>
            <pc:sldMk cId="0" sldId="266"/>
            <ac:spMk id="579" creationId="{1B96140A-B044-4854-A889-A9DB4230B003}"/>
          </ac:spMkLst>
        </pc:spChg>
        <pc:spChg chg="add mod">
          <ac:chgData name="Kebba Jeng" userId="fe4cc296-ba7d-48a2-8799-89b58d218255" providerId="ADAL" clId="{388EFDEE-447E-42B4-98EF-30C01AB2E8CD}" dt="2022-03-28T19:00:53.058" v="3346" actId="164"/>
          <ac:spMkLst>
            <pc:docMk/>
            <pc:sldMk cId="0" sldId="266"/>
            <ac:spMk id="580" creationId="{C4D40DB1-1AA6-4381-B209-F75312A66FC8}"/>
          </ac:spMkLst>
        </pc:spChg>
        <pc:spChg chg="add mod">
          <ac:chgData name="Kebba Jeng" userId="fe4cc296-ba7d-48a2-8799-89b58d218255" providerId="ADAL" clId="{388EFDEE-447E-42B4-98EF-30C01AB2E8CD}" dt="2022-03-28T19:00:53.058" v="3346" actId="164"/>
          <ac:spMkLst>
            <pc:docMk/>
            <pc:sldMk cId="0" sldId="266"/>
            <ac:spMk id="581" creationId="{7BDDF00B-CA59-4985-A2C3-3E4E2682FBFE}"/>
          </ac:spMkLst>
        </pc:spChg>
        <pc:spChg chg="add mod">
          <ac:chgData name="Kebba Jeng" userId="fe4cc296-ba7d-48a2-8799-89b58d218255" providerId="ADAL" clId="{388EFDEE-447E-42B4-98EF-30C01AB2E8CD}" dt="2022-03-28T19:00:53.058" v="3346" actId="164"/>
          <ac:spMkLst>
            <pc:docMk/>
            <pc:sldMk cId="0" sldId="266"/>
            <ac:spMk id="582" creationId="{CD72A260-C62B-401E-872E-CD716A9ACF5A}"/>
          </ac:spMkLst>
        </pc:spChg>
        <pc:spChg chg="add mod">
          <ac:chgData name="Kebba Jeng" userId="fe4cc296-ba7d-48a2-8799-89b58d218255" providerId="ADAL" clId="{388EFDEE-447E-42B4-98EF-30C01AB2E8CD}" dt="2022-03-28T19:00:53.058" v="3346" actId="164"/>
          <ac:spMkLst>
            <pc:docMk/>
            <pc:sldMk cId="0" sldId="266"/>
            <ac:spMk id="583" creationId="{C2E726C8-42C3-4647-B84A-AD97EA31634B}"/>
          </ac:spMkLst>
        </pc:spChg>
        <pc:spChg chg="add mod">
          <ac:chgData name="Kebba Jeng" userId="fe4cc296-ba7d-48a2-8799-89b58d218255" providerId="ADAL" clId="{388EFDEE-447E-42B4-98EF-30C01AB2E8CD}" dt="2022-03-28T19:00:53.058" v="3346" actId="164"/>
          <ac:spMkLst>
            <pc:docMk/>
            <pc:sldMk cId="0" sldId="266"/>
            <ac:spMk id="584" creationId="{236DA1F7-2F9E-4C8A-8E29-714503BCEE53}"/>
          </ac:spMkLst>
        </pc:spChg>
        <pc:spChg chg="add mod">
          <ac:chgData name="Kebba Jeng" userId="fe4cc296-ba7d-48a2-8799-89b58d218255" providerId="ADAL" clId="{388EFDEE-447E-42B4-98EF-30C01AB2E8CD}" dt="2022-03-28T19:00:53.058" v="3346" actId="164"/>
          <ac:spMkLst>
            <pc:docMk/>
            <pc:sldMk cId="0" sldId="266"/>
            <ac:spMk id="585" creationId="{BCF32601-BD93-4725-888A-FBFD79BB8965}"/>
          </ac:spMkLst>
        </pc:spChg>
        <pc:spChg chg="add mod">
          <ac:chgData name="Kebba Jeng" userId="fe4cc296-ba7d-48a2-8799-89b58d218255" providerId="ADAL" clId="{388EFDEE-447E-42B4-98EF-30C01AB2E8CD}" dt="2022-03-28T19:00:53.058" v="3346" actId="164"/>
          <ac:spMkLst>
            <pc:docMk/>
            <pc:sldMk cId="0" sldId="266"/>
            <ac:spMk id="586" creationId="{27CF9C86-5783-4AED-8370-5BE36FD632DE}"/>
          </ac:spMkLst>
        </pc:spChg>
        <pc:spChg chg="add mod">
          <ac:chgData name="Kebba Jeng" userId="fe4cc296-ba7d-48a2-8799-89b58d218255" providerId="ADAL" clId="{388EFDEE-447E-42B4-98EF-30C01AB2E8CD}" dt="2022-03-28T19:00:53.058" v="3346" actId="164"/>
          <ac:spMkLst>
            <pc:docMk/>
            <pc:sldMk cId="0" sldId="266"/>
            <ac:spMk id="587" creationId="{4ADFD249-CAB0-4FF0-A03D-D9216774A7DF}"/>
          </ac:spMkLst>
        </pc:spChg>
        <pc:spChg chg="add mod">
          <ac:chgData name="Kebba Jeng" userId="fe4cc296-ba7d-48a2-8799-89b58d218255" providerId="ADAL" clId="{388EFDEE-447E-42B4-98EF-30C01AB2E8CD}" dt="2022-03-28T19:00:53.058" v="3346" actId="164"/>
          <ac:spMkLst>
            <pc:docMk/>
            <pc:sldMk cId="0" sldId="266"/>
            <ac:spMk id="588" creationId="{5962DA45-320A-4C34-A4BA-0B5D4C6C7789}"/>
          </ac:spMkLst>
        </pc:spChg>
        <pc:spChg chg="add mod">
          <ac:chgData name="Kebba Jeng" userId="fe4cc296-ba7d-48a2-8799-89b58d218255" providerId="ADAL" clId="{388EFDEE-447E-42B4-98EF-30C01AB2E8CD}" dt="2022-03-28T19:00:53.058" v="3346" actId="164"/>
          <ac:spMkLst>
            <pc:docMk/>
            <pc:sldMk cId="0" sldId="266"/>
            <ac:spMk id="589" creationId="{5653E66D-8AFA-4D87-9076-CB804265F187}"/>
          </ac:spMkLst>
        </pc:spChg>
        <pc:spChg chg="add mod">
          <ac:chgData name="Kebba Jeng" userId="fe4cc296-ba7d-48a2-8799-89b58d218255" providerId="ADAL" clId="{388EFDEE-447E-42B4-98EF-30C01AB2E8CD}" dt="2022-03-28T19:00:53.058" v="3346" actId="164"/>
          <ac:spMkLst>
            <pc:docMk/>
            <pc:sldMk cId="0" sldId="266"/>
            <ac:spMk id="590" creationId="{21852B2B-F62C-4240-B6F4-4CF68455D24F}"/>
          </ac:spMkLst>
        </pc:spChg>
        <pc:spChg chg="add mod">
          <ac:chgData name="Kebba Jeng" userId="fe4cc296-ba7d-48a2-8799-89b58d218255" providerId="ADAL" clId="{388EFDEE-447E-42B4-98EF-30C01AB2E8CD}" dt="2022-03-28T19:00:53.058" v="3346" actId="164"/>
          <ac:spMkLst>
            <pc:docMk/>
            <pc:sldMk cId="0" sldId="266"/>
            <ac:spMk id="591" creationId="{63EC905B-CEA7-4E80-AE19-AA8EA76CF852}"/>
          </ac:spMkLst>
        </pc:spChg>
        <pc:spChg chg="add mod">
          <ac:chgData name="Kebba Jeng" userId="fe4cc296-ba7d-48a2-8799-89b58d218255" providerId="ADAL" clId="{388EFDEE-447E-42B4-98EF-30C01AB2E8CD}" dt="2022-03-28T19:00:53.058" v="3346" actId="164"/>
          <ac:spMkLst>
            <pc:docMk/>
            <pc:sldMk cId="0" sldId="266"/>
            <ac:spMk id="592" creationId="{7E3C08EE-62CD-49A2-B1D0-E5DCFDCCCE5C}"/>
          </ac:spMkLst>
        </pc:spChg>
        <pc:spChg chg="add mod">
          <ac:chgData name="Kebba Jeng" userId="fe4cc296-ba7d-48a2-8799-89b58d218255" providerId="ADAL" clId="{388EFDEE-447E-42B4-98EF-30C01AB2E8CD}" dt="2022-03-28T19:00:53.058" v="3346" actId="164"/>
          <ac:spMkLst>
            <pc:docMk/>
            <pc:sldMk cId="0" sldId="266"/>
            <ac:spMk id="593" creationId="{845DBB31-539F-4B52-A60E-BFEEFA3FE3C9}"/>
          </ac:spMkLst>
        </pc:spChg>
        <pc:spChg chg="add mod">
          <ac:chgData name="Kebba Jeng" userId="fe4cc296-ba7d-48a2-8799-89b58d218255" providerId="ADAL" clId="{388EFDEE-447E-42B4-98EF-30C01AB2E8CD}" dt="2022-03-28T19:00:53.058" v="3346" actId="164"/>
          <ac:spMkLst>
            <pc:docMk/>
            <pc:sldMk cId="0" sldId="266"/>
            <ac:spMk id="594" creationId="{99777E14-0D06-4A85-86F7-6A93E7957977}"/>
          </ac:spMkLst>
        </pc:spChg>
        <pc:spChg chg="add del mod">
          <ac:chgData name="Kebba Jeng" userId="fe4cc296-ba7d-48a2-8799-89b58d218255" providerId="ADAL" clId="{388EFDEE-447E-42B4-98EF-30C01AB2E8CD}" dt="2022-03-28T20:18:14.851" v="4809" actId="478"/>
          <ac:spMkLst>
            <pc:docMk/>
            <pc:sldMk cId="0" sldId="266"/>
            <ac:spMk id="605" creationId="{EF7E7C7E-B7F6-47AE-A35E-3AEFB768C1C9}"/>
          </ac:spMkLst>
        </pc:spChg>
        <pc:spChg chg="add del mod">
          <ac:chgData name="Kebba Jeng" userId="fe4cc296-ba7d-48a2-8799-89b58d218255" providerId="ADAL" clId="{388EFDEE-447E-42B4-98EF-30C01AB2E8CD}" dt="2022-03-28T20:18:19.539" v="4810" actId="478"/>
          <ac:spMkLst>
            <pc:docMk/>
            <pc:sldMk cId="0" sldId="266"/>
            <ac:spMk id="615" creationId="{5C824649-3B5A-4C22-8676-33F36932919A}"/>
          </ac:spMkLst>
        </pc:spChg>
        <pc:spChg chg="add del mod">
          <ac:chgData name="Kebba Jeng" userId="fe4cc296-ba7d-48a2-8799-89b58d218255" providerId="ADAL" clId="{388EFDEE-447E-42B4-98EF-30C01AB2E8CD}" dt="2022-03-28T20:18:34.906" v="4814" actId="478"/>
          <ac:spMkLst>
            <pc:docMk/>
            <pc:sldMk cId="0" sldId="266"/>
            <ac:spMk id="617" creationId="{571CE5F7-0B22-4B03-9727-982C5D8CEA07}"/>
          </ac:spMkLst>
        </pc:spChg>
        <pc:spChg chg="del mod">
          <ac:chgData name="Kebba Jeng" userId="fe4cc296-ba7d-48a2-8799-89b58d218255" providerId="ADAL" clId="{388EFDEE-447E-42B4-98EF-30C01AB2E8CD}" dt="2022-03-28T18:48:48.019" v="3061" actId="478"/>
          <ac:spMkLst>
            <pc:docMk/>
            <pc:sldMk cId="0" sldId="266"/>
            <ac:spMk id="1719" creationId="{00000000-0000-0000-0000-000000000000}"/>
          </ac:spMkLst>
        </pc:spChg>
        <pc:spChg chg="mod">
          <ac:chgData name="Kebba Jeng" userId="fe4cc296-ba7d-48a2-8799-89b58d218255" providerId="ADAL" clId="{388EFDEE-447E-42B4-98EF-30C01AB2E8CD}" dt="2022-03-28T20:14:51.683" v="4685" actId="20577"/>
          <ac:spMkLst>
            <pc:docMk/>
            <pc:sldMk cId="0" sldId="266"/>
            <ac:spMk id="1720" creationId="{00000000-0000-0000-0000-000000000000}"/>
          </ac:spMkLst>
        </pc:spChg>
        <pc:spChg chg="del">
          <ac:chgData name="Kebba Jeng" userId="fe4cc296-ba7d-48a2-8799-89b58d218255" providerId="ADAL" clId="{388EFDEE-447E-42B4-98EF-30C01AB2E8CD}" dt="2022-03-28T18:48:15.041" v="3058" actId="478"/>
          <ac:spMkLst>
            <pc:docMk/>
            <pc:sldMk cId="0" sldId="266"/>
            <ac:spMk id="1721" creationId="{00000000-0000-0000-0000-000000000000}"/>
          </ac:spMkLst>
        </pc:spChg>
        <pc:spChg chg="del">
          <ac:chgData name="Kebba Jeng" userId="fe4cc296-ba7d-48a2-8799-89b58d218255" providerId="ADAL" clId="{388EFDEE-447E-42B4-98EF-30C01AB2E8CD}" dt="2022-03-28T18:48:06.407" v="3053" actId="21"/>
          <ac:spMkLst>
            <pc:docMk/>
            <pc:sldMk cId="0" sldId="266"/>
            <ac:spMk id="1722" creationId="{00000000-0000-0000-0000-000000000000}"/>
          </ac:spMkLst>
        </pc:spChg>
        <pc:spChg chg="del">
          <ac:chgData name="Kebba Jeng" userId="fe4cc296-ba7d-48a2-8799-89b58d218255" providerId="ADAL" clId="{388EFDEE-447E-42B4-98EF-30C01AB2E8CD}" dt="2022-03-28T18:48:06.407" v="3053" actId="21"/>
          <ac:spMkLst>
            <pc:docMk/>
            <pc:sldMk cId="0" sldId="266"/>
            <ac:spMk id="1723" creationId="{00000000-0000-0000-0000-000000000000}"/>
          </ac:spMkLst>
        </pc:spChg>
        <pc:spChg chg="del">
          <ac:chgData name="Kebba Jeng" userId="fe4cc296-ba7d-48a2-8799-89b58d218255" providerId="ADAL" clId="{388EFDEE-447E-42B4-98EF-30C01AB2E8CD}" dt="2022-03-28T18:48:06.407" v="3053" actId="21"/>
          <ac:spMkLst>
            <pc:docMk/>
            <pc:sldMk cId="0" sldId="266"/>
            <ac:spMk id="1724" creationId="{00000000-0000-0000-0000-000000000000}"/>
          </ac:spMkLst>
        </pc:spChg>
        <pc:spChg chg="del">
          <ac:chgData name="Kebba Jeng" userId="fe4cc296-ba7d-48a2-8799-89b58d218255" providerId="ADAL" clId="{388EFDEE-447E-42B4-98EF-30C01AB2E8CD}" dt="2022-03-28T18:48:06.407" v="3053" actId="21"/>
          <ac:spMkLst>
            <pc:docMk/>
            <pc:sldMk cId="0" sldId="266"/>
            <ac:spMk id="1725" creationId="{00000000-0000-0000-0000-000000000000}"/>
          </ac:spMkLst>
        </pc:spChg>
        <pc:spChg chg="del">
          <ac:chgData name="Kebba Jeng" userId="fe4cc296-ba7d-48a2-8799-89b58d218255" providerId="ADAL" clId="{388EFDEE-447E-42B4-98EF-30C01AB2E8CD}" dt="2022-03-28T18:48:06.407" v="3053" actId="21"/>
          <ac:spMkLst>
            <pc:docMk/>
            <pc:sldMk cId="0" sldId="266"/>
            <ac:spMk id="1726" creationId="{00000000-0000-0000-0000-000000000000}"/>
          </ac:spMkLst>
        </pc:spChg>
        <pc:spChg chg="del">
          <ac:chgData name="Kebba Jeng" userId="fe4cc296-ba7d-48a2-8799-89b58d218255" providerId="ADAL" clId="{388EFDEE-447E-42B4-98EF-30C01AB2E8CD}" dt="2022-03-28T18:48:06.407" v="3053" actId="21"/>
          <ac:spMkLst>
            <pc:docMk/>
            <pc:sldMk cId="0" sldId="266"/>
            <ac:spMk id="1727" creationId="{00000000-0000-0000-0000-000000000000}"/>
          </ac:spMkLst>
        </pc:spChg>
        <pc:spChg chg="del">
          <ac:chgData name="Kebba Jeng" userId="fe4cc296-ba7d-48a2-8799-89b58d218255" providerId="ADAL" clId="{388EFDEE-447E-42B4-98EF-30C01AB2E8CD}" dt="2022-03-28T18:48:06.407" v="3053" actId="21"/>
          <ac:spMkLst>
            <pc:docMk/>
            <pc:sldMk cId="0" sldId="266"/>
            <ac:spMk id="1728" creationId="{00000000-0000-0000-0000-000000000000}"/>
          </ac:spMkLst>
        </pc:spChg>
        <pc:spChg chg="del">
          <ac:chgData name="Kebba Jeng" userId="fe4cc296-ba7d-48a2-8799-89b58d218255" providerId="ADAL" clId="{388EFDEE-447E-42B4-98EF-30C01AB2E8CD}" dt="2022-03-28T18:48:06.407" v="3053" actId="21"/>
          <ac:spMkLst>
            <pc:docMk/>
            <pc:sldMk cId="0" sldId="266"/>
            <ac:spMk id="1729" creationId="{00000000-0000-0000-0000-000000000000}"/>
          </ac:spMkLst>
        </pc:spChg>
        <pc:spChg chg="del">
          <ac:chgData name="Kebba Jeng" userId="fe4cc296-ba7d-48a2-8799-89b58d218255" providerId="ADAL" clId="{388EFDEE-447E-42B4-98EF-30C01AB2E8CD}" dt="2022-03-28T18:48:06.407" v="3053" actId="21"/>
          <ac:spMkLst>
            <pc:docMk/>
            <pc:sldMk cId="0" sldId="266"/>
            <ac:spMk id="1730" creationId="{00000000-0000-0000-0000-000000000000}"/>
          </ac:spMkLst>
        </pc:spChg>
        <pc:spChg chg="del">
          <ac:chgData name="Kebba Jeng" userId="fe4cc296-ba7d-48a2-8799-89b58d218255" providerId="ADAL" clId="{388EFDEE-447E-42B4-98EF-30C01AB2E8CD}" dt="2022-03-28T18:48:06.407" v="3053" actId="21"/>
          <ac:spMkLst>
            <pc:docMk/>
            <pc:sldMk cId="0" sldId="266"/>
            <ac:spMk id="1731" creationId="{00000000-0000-0000-0000-000000000000}"/>
          </ac:spMkLst>
        </pc:spChg>
        <pc:spChg chg="del">
          <ac:chgData name="Kebba Jeng" userId="fe4cc296-ba7d-48a2-8799-89b58d218255" providerId="ADAL" clId="{388EFDEE-447E-42B4-98EF-30C01AB2E8CD}" dt="2022-03-28T18:48:06.407" v="3053" actId="21"/>
          <ac:spMkLst>
            <pc:docMk/>
            <pc:sldMk cId="0" sldId="266"/>
            <ac:spMk id="1732" creationId="{00000000-0000-0000-0000-000000000000}"/>
          </ac:spMkLst>
        </pc:spChg>
        <pc:spChg chg="del">
          <ac:chgData name="Kebba Jeng" userId="fe4cc296-ba7d-48a2-8799-89b58d218255" providerId="ADAL" clId="{388EFDEE-447E-42B4-98EF-30C01AB2E8CD}" dt="2022-03-28T18:48:06.407" v="3053" actId="21"/>
          <ac:spMkLst>
            <pc:docMk/>
            <pc:sldMk cId="0" sldId="266"/>
            <ac:spMk id="1733" creationId="{00000000-0000-0000-0000-000000000000}"/>
          </ac:spMkLst>
        </pc:spChg>
        <pc:spChg chg="del">
          <ac:chgData name="Kebba Jeng" userId="fe4cc296-ba7d-48a2-8799-89b58d218255" providerId="ADAL" clId="{388EFDEE-447E-42B4-98EF-30C01AB2E8CD}" dt="2022-03-28T18:48:06.407" v="3053" actId="21"/>
          <ac:spMkLst>
            <pc:docMk/>
            <pc:sldMk cId="0" sldId="266"/>
            <ac:spMk id="1734" creationId="{00000000-0000-0000-0000-000000000000}"/>
          </ac:spMkLst>
        </pc:spChg>
        <pc:spChg chg="del">
          <ac:chgData name="Kebba Jeng" userId="fe4cc296-ba7d-48a2-8799-89b58d218255" providerId="ADAL" clId="{388EFDEE-447E-42B4-98EF-30C01AB2E8CD}" dt="2022-03-28T18:48:06.407" v="3053" actId="21"/>
          <ac:spMkLst>
            <pc:docMk/>
            <pc:sldMk cId="0" sldId="266"/>
            <ac:spMk id="1735" creationId="{00000000-0000-0000-0000-000000000000}"/>
          </ac:spMkLst>
        </pc:spChg>
        <pc:spChg chg="del">
          <ac:chgData name="Kebba Jeng" userId="fe4cc296-ba7d-48a2-8799-89b58d218255" providerId="ADAL" clId="{388EFDEE-447E-42B4-98EF-30C01AB2E8CD}" dt="2022-03-28T18:48:06.407" v="3053" actId="21"/>
          <ac:spMkLst>
            <pc:docMk/>
            <pc:sldMk cId="0" sldId="266"/>
            <ac:spMk id="1736" creationId="{00000000-0000-0000-0000-000000000000}"/>
          </ac:spMkLst>
        </pc:spChg>
        <pc:spChg chg="del">
          <ac:chgData name="Kebba Jeng" userId="fe4cc296-ba7d-48a2-8799-89b58d218255" providerId="ADAL" clId="{388EFDEE-447E-42B4-98EF-30C01AB2E8CD}" dt="2022-03-28T18:48:06.407" v="3053" actId="21"/>
          <ac:spMkLst>
            <pc:docMk/>
            <pc:sldMk cId="0" sldId="266"/>
            <ac:spMk id="1737" creationId="{00000000-0000-0000-0000-000000000000}"/>
          </ac:spMkLst>
        </pc:spChg>
        <pc:spChg chg="del">
          <ac:chgData name="Kebba Jeng" userId="fe4cc296-ba7d-48a2-8799-89b58d218255" providerId="ADAL" clId="{388EFDEE-447E-42B4-98EF-30C01AB2E8CD}" dt="2022-03-28T18:48:06.407" v="3053" actId="21"/>
          <ac:spMkLst>
            <pc:docMk/>
            <pc:sldMk cId="0" sldId="266"/>
            <ac:spMk id="1738" creationId="{00000000-0000-0000-0000-000000000000}"/>
          </ac:spMkLst>
        </pc:spChg>
        <pc:spChg chg="del">
          <ac:chgData name="Kebba Jeng" userId="fe4cc296-ba7d-48a2-8799-89b58d218255" providerId="ADAL" clId="{388EFDEE-447E-42B4-98EF-30C01AB2E8CD}" dt="2022-03-28T18:48:06.407" v="3053" actId="21"/>
          <ac:spMkLst>
            <pc:docMk/>
            <pc:sldMk cId="0" sldId="266"/>
            <ac:spMk id="1739" creationId="{00000000-0000-0000-0000-000000000000}"/>
          </ac:spMkLst>
        </pc:spChg>
        <pc:spChg chg="del">
          <ac:chgData name="Kebba Jeng" userId="fe4cc296-ba7d-48a2-8799-89b58d218255" providerId="ADAL" clId="{388EFDEE-447E-42B4-98EF-30C01AB2E8CD}" dt="2022-03-28T18:48:06.407" v="3053" actId="21"/>
          <ac:spMkLst>
            <pc:docMk/>
            <pc:sldMk cId="0" sldId="266"/>
            <ac:spMk id="1740" creationId="{00000000-0000-0000-0000-000000000000}"/>
          </ac:spMkLst>
        </pc:spChg>
        <pc:spChg chg="del">
          <ac:chgData name="Kebba Jeng" userId="fe4cc296-ba7d-48a2-8799-89b58d218255" providerId="ADAL" clId="{388EFDEE-447E-42B4-98EF-30C01AB2E8CD}" dt="2022-03-28T18:48:06.407" v="3053" actId="21"/>
          <ac:spMkLst>
            <pc:docMk/>
            <pc:sldMk cId="0" sldId="266"/>
            <ac:spMk id="1741" creationId="{00000000-0000-0000-0000-000000000000}"/>
          </ac:spMkLst>
        </pc:spChg>
        <pc:spChg chg="del">
          <ac:chgData name="Kebba Jeng" userId="fe4cc296-ba7d-48a2-8799-89b58d218255" providerId="ADAL" clId="{388EFDEE-447E-42B4-98EF-30C01AB2E8CD}" dt="2022-03-28T18:48:06.407" v="3053" actId="21"/>
          <ac:spMkLst>
            <pc:docMk/>
            <pc:sldMk cId="0" sldId="266"/>
            <ac:spMk id="1742" creationId="{00000000-0000-0000-0000-000000000000}"/>
          </ac:spMkLst>
        </pc:spChg>
        <pc:spChg chg="del">
          <ac:chgData name="Kebba Jeng" userId="fe4cc296-ba7d-48a2-8799-89b58d218255" providerId="ADAL" clId="{388EFDEE-447E-42B4-98EF-30C01AB2E8CD}" dt="2022-03-28T18:48:06.407" v="3053" actId="21"/>
          <ac:spMkLst>
            <pc:docMk/>
            <pc:sldMk cId="0" sldId="266"/>
            <ac:spMk id="1743" creationId="{00000000-0000-0000-0000-000000000000}"/>
          </ac:spMkLst>
        </pc:spChg>
        <pc:spChg chg="del">
          <ac:chgData name="Kebba Jeng" userId="fe4cc296-ba7d-48a2-8799-89b58d218255" providerId="ADAL" clId="{388EFDEE-447E-42B4-98EF-30C01AB2E8CD}" dt="2022-03-28T18:48:06.407" v="3053" actId="21"/>
          <ac:spMkLst>
            <pc:docMk/>
            <pc:sldMk cId="0" sldId="266"/>
            <ac:spMk id="1744" creationId="{00000000-0000-0000-0000-000000000000}"/>
          </ac:spMkLst>
        </pc:spChg>
        <pc:spChg chg="del">
          <ac:chgData name="Kebba Jeng" userId="fe4cc296-ba7d-48a2-8799-89b58d218255" providerId="ADAL" clId="{388EFDEE-447E-42B4-98EF-30C01AB2E8CD}" dt="2022-03-28T18:48:06.407" v="3053" actId="21"/>
          <ac:spMkLst>
            <pc:docMk/>
            <pc:sldMk cId="0" sldId="266"/>
            <ac:spMk id="1745" creationId="{00000000-0000-0000-0000-000000000000}"/>
          </ac:spMkLst>
        </pc:spChg>
        <pc:spChg chg="del">
          <ac:chgData name="Kebba Jeng" userId="fe4cc296-ba7d-48a2-8799-89b58d218255" providerId="ADAL" clId="{388EFDEE-447E-42B4-98EF-30C01AB2E8CD}" dt="2022-03-28T18:48:06.407" v="3053" actId="21"/>
          <ac:spMkLst>
            <pc:docMk/>
            <pc:sldMk cId="0" sldId="266"/>
            <ac:spMk id="1746" creationId="{00000000-0000-0000-0000-000000000000}"/>
          </ac:spMkLst>
        </pc:spChg>
        <pc:spChg chg="del">
          <ac:chgData name="Kebba Jeng" userId="fe4cc296-ba7d-48a2-8799-89b58d218255" providerId="ADAL" clId="{388EFDEE-447E-42B4-98EF-30C01AB2E8CD}" dt="2022-03-28T18:48:06.407" v="3053" actId="21"/>
          <ac:spMkLst>
            <pc:docMk/>
            <pc:sldMk cId="0" sldId="266"/>
            <ac:spMk id="1747" creationId="{00000000-0000-0000-0000-000000000000}"/>
          </ac:spMkLst>
        </pc:spChg>
        <pc:spChg chg="del">
          <ac:chgData name="Kebba Jeng" userId="fe4cc296-ba7d-48a2-8799-89b58d218255" providerId="ADAL" clId="{388EFDEE-447E-42B4-98EF-30C01AB2E8CD}" dt="2022-03-28T18:48:06.407" v="3053" actId="21"/>
          <ac:spMkLst>
            <pc:docMk/>
            <pc:sldMk cId="0" sldId="266"/>
            <ac:spMk id="1748"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749"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750" creationId="{00000000-0000-0000-0000-000000000000}"/>
          </ac:spMkLst>
        </pc:spChg>
        <pc:spChg chg="del">
          <ac:chgData name="Kebba Jeng" userId="fe4cc296-ba7d-48a2-8799-89b58d218255" providerId="ADAL" clId="{388EFDEE-447E-42B4-98EF-30C01AB2E8CD}" dt="2022-03-28T18:48:06.407" v="3053" actId="21"/>
          <ac:spMkLst>
            <pc:docMk/>
            <pc:sldMk cId="0" sldId="266"/>
            <ac:spMk id="1751" creationId="{00000000-0000-0000-0000-000000000000}"/>
          </ac:spMkLst>
        </pc:spChg>
        <pc:spChg chg="del">
          <ac:chgData name="Kebba Jeng" userId="fe4cc296-ba7d-48a2-8799-89b58d218255" providerId="ADAL" clId="{388EFDEE-447E-42B4-98EF-30C01AB2E8CD}" dt="2022-03-28T18:48:06.407" v="3053" actId="21"/>
          <ac:spMkLst>
            <pc:docMk/>
            <pc:sldMk cId="0" sldId="266"/>
            <ac:spMk id="1752" creationId="{00000000-0000-0000-0000-000000000000}"/>
          </ac:spMkLst>
        </pc:spChg>
        <pc:spChg chg="del">
          <ac:chgData name="Kebba Jeng" userId="fe4cc296-ba7d-48a2-8799-89b58d218255" providerId="ADAL" clId="{388EFDEE-447E-42B4-98EF-30C01AB2E8CD}" dt="2022-03-28T18:48:06.407" v="3053" actId="21"/>
          <ac:spMkLst>
            <pc:docMk/>
            <pc:sldMk cId="0" sldId="266"/>
            <ac:spMk id="1753"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754"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755" creationId="{00000000-0000-0000-0000-000000000000}"/>
          </ac:spMkLst>
        </pc:spChg>
        <pc:spChg chg="del">
          <ac:chgData name="Kebba Jeng" userId="fe4cc296-ba7d-48a2-8799-89b58d218255" providerId="ADAL" clId="{388EFDEE-447E-42B4-98EF-30C01AB2E8CD}" dt="2022-03-28T18:48:06.407" v="3053" actId="21"/>
          <ac:spMkLst>
            <pc:docMk/>
            <pc:sldMk cId="0" sldId="266"/>
            <ac:spMk id="1756"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757"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758" creationId="{00000000-0000-0000-0000-000000000000}"/>
          </ac:spMkLst>
        </pc:spChg>
        <pc:spChg chg="del">
          <ac:chgData name="Kebba Jeng" userId="fe4cc296-ba7d-48a2-8799-89b58d218255" providerId="ADAL" clId="{388EFDEE-447E-42B4-98EF-30C01AB2E8CD}" dt="2022-03-28T18:48:06.407" v="3053" actId="21"/>
          <ac:spMkLst>
            <pc:docMk/>
            <pc:sldMk cId="0" sldId="266"/>
            <ac:spMk id="1759" creationId="{00000000-0000-0000-0000-000000000000}"/>
          </ac:spMkLst>
        </pc:spChg>
        <pc:spChg chg="del">
          <ac:chgData name="Kebba Jeng" userId="fe4cc296-ba7d-48a2-8799-89b58d218255" providerId="ADAL" clId="{388EFDEE-447E-42B4-98EF-30C01AB2E8CD}" dt="2022-03-28T18:48:06.407" v="3053" actId="21"/>
          <ac:spMkLst>
            <pc:docMk/>
            <pc:sldMk cId="0" sldId="266"/>
            <ac:spMk id="1760" creationId="{00000000-0000-0000-0000-000000000000}"/>
          </ac:spMkLst>
        </pc:spChg>
        <pc:spChg chg="del">
          <ac:chgData name="Kebba Jeng" userId="fe4cc296-ba7d-48a2-8799-89b58d218255" providerId="ADAL" clId="{388EFDEE-447E-42B4-98EF-30C01AB2E8CD}" dt="2022-03-28T18:48:06.407" v="3053" actId="21"/>
          <ac:spMkLst>
            <pc:docMk/>
            <pc:sldMk cId="0" sldId="266"/>
            <ac:spMk id="1761" creationId="{00000000-0000-0000-0000-000000000000}"/>
          </ac:spMkLst>
        </pc:spChg>
        <pc:spChg chg="del">
          <ac:chgData name="Kebba Jeng" userId="fe4cc296-ba7d-48a2-8799-89b58d218255" providerId="ADAL" clId="{388EFDEE-447E-42B4-98EF-30C01AB2E8CD}" dt="2022-03-28T18:48:06.407" v="3053" actId="21"/>
          <ac:spMkLst>
            <pc:docMk/>
            <pc:sldMk cId="0" sldId="266"/>
            <ac:spMk id="1762" creationId="{00000000-0000-0000-0000-000000000000}"/>
          </ac:spMkLst>
        </pc:spChg>
        <pc:spChg chg="del">
          <ac:chgData name="Kebba Jeng" userId="fe4cc296-ba7d-48a2-8799-89b58d218255" providerId="ADAL" clId="{388EFDEE-447E-42B4-98EF-30C01AB2E8CD}" dt="2022-03-28T18:48:06.407" v="3053" actId="21"/>
          <ac:spMkLst>
            <pc:docMk/>
            <pc:sldMk cId="0" sldId="266"/>
            <ac:spMk id="1763"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764"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765"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766" creationId="{00000000-0000-0000-0000-000000000000}"/>
          </ac:spMkLst>
        </pc:spChg>
        <pc:spChg chg="del">
          <ac:chgData name="Kebba Jeng" userId="fe4cc296-ba7d-48a2-8799-89b58d218255" providerId="ADAL" clId="{388EFDEE-447E-42B4-98EF-30C01AB2E8CD}" dt="2022-03-28T18:48:06.407" v="3053" actId="21"/>
          <ac:spMkLst>
            <pc:docMk/>
            <pc:sldMk cId="0" sldId="266"/>
            <ac:spMk id="1767" creationId="{00000000-0000-0000-0000-000000000000}"/>
          </ac:spMkLst>
        </pc:spChg>
        <pc:spChg chg="del">
          <ac:chgData name="Kebba Jeng" userId="fe4cc296-ba7d-48a2-8799-89b58d218255" providerId="ADAL" clId="{388EFDEE-447E-42B4-98EF-30C01AB2E8CD}" dt="2022-03-28T18:48:06.407" v="3053" actId="21"/>
          <ac:spMkLst>
            <pc:docMk/>
            <pc:sldMk cId="0" sldId="266"/>
            <ac:spMk id="1768" creationId="{00000000-0000-0000-0000-000000000000}"/>
          </ac:spMkLst>
        </pc:spChg>
        <pc:spChg chg="del">
          <ac:chgData name="Kebba Jeng" userId="fe4cc296-ba7d-48a2-8799-89b58d218255" providerId="ADAL" clId="{388EFDEE-447E-42B4-98EF-30C01AB2E8CD}" dt="2022-03-28T18:48:06.407" v="3053" actId="21"/>
          <ac:spMkLst>
            <pc:docMk/>
            <pc:sldMk cId="0" sldId="266"/>
            <ac:spMk id="1769" creationId="{00000000-0000-0000-0000-000000000000}"/>
          </ac:spMkLst>
        </pc:spChg>
        <pc:spChg chg="del">
          <ac:chgData name="Kebba Jeng" userId="fe4cc296-ba7d-48a2-8799-89b58d218255" providerId="ADAL" clId="{388EFDEE-447E-42B4-98EF-30C01AB2E8CD}" dt="2022-03-28T18:48:06.407" v="3053" actId="21"/>
          <ac:spMkLst>
            <pc:docMk/>
            <pc:sldMk cId="0" sldId="266"/>
            <ac:spMk id="1770" creationId="{00000000-0000-0000-0000-000000000000}"/>
          </ac:spMkLst>
        </pc:spChg>
        <pc:spChg chg="del">
          <ac:chgData name="Kebba Jeng" userId="fe4cc296-ba7d-48a2-8799-89b58d218255" providerId="ADAL" clId="{388EFDEE-447E-42B4-98EF-30C01AB2E8CD}" dt="2022-03-28T18:48:06.407" v="3053" actId="21"/>
          <ac:spMkLst>
            <pc:docMk/>
            <pc:sldMk cId="0" sldId="266"/>
            <ac:spMk id="1771" creationId="{00000000-0000-0000-0000-000000000000}"/>
          </ac:spMkLst>
        </pc:spChg>
        <pc:spChg chg="del">
          <ac:chgData name="Kebba Jeng" userId="fe4cc296-ba7d-48a2-8799-89b58d218255" providerId="ADAL" clId="{388EFDEE-447E-42B4-98EF-30C01AB2E8CD}" dt="2022-03-28T18:48:06.407" v="3053" actId="21"/>
          <ac:spMkLst>
            <pc:docMk/>
            <pc:sldMk cId="0" sldId="266"/>
            <ac:spMk id="1772"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773"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774" creationId="{00000000-0000-0000-0000-000000000000}"/>
          </ac:spMkLst>
        </pc:spChg>
        <pc:spChg chg="del">
          <ac:chgData name="Kebba Jeng" userId="fe4cc296-ba7d-48a2-8799-89b58d218255" providerId="ADAL" clId="{388EFDEE-447E-42B4-98EF-30C01AB2E8CD}" dt="2022-03-28T18:48:06.407" v="3053" actId="21"/>
          <ac:spMkLst>
            <pc:docMk/>
            <pc:sldMk cId="0" sldId="266"/>
            <ac:spMk id="1775" creationId="{00000000-0000-0000-0000-000000000000}"/>
          </ac:spMkLst>
        </pc:spChg>
        <pc:spChg chg="del">
          <ac:chgData name="Kebba Jeng" userId="fe4cc296-ba7d-48a2-8799-89b58d218255" providerId="ADAL" clId="{388EFDEE-447E-42B4-98EF-30C01AB2E8CD}" dt="2022-03-28T18:48:06.407" v="3053" actId="21"/>
          <ac:spMkLst>
            <pc:docMk/>
            <pc:sldMk cId="0" sldId="266"/>
            <ac:spMk id="1776" creationId="{00000000-0000-0000-0000-000000000000}"/>
          </ac:spMkLst>
        </pc:spChg>
        <pc:spChg chg="del">
          <ac:chgData name="Kebba Jeng" userId="fe4cc296-ba7d-48a2-8799-89b58d218255" providerId="ADAL" clId="{388EFDEE-447E-42B4-98EF-30C01AB2E8CD}" dt="2022-03-28T18:48:06.407" v="3053" actId="21"/>
          <ac:spMkLst>
            <pc:docMk/>
            <pc:sldMk cId="0" sldId="266"/>
            <ac:spMk id="1777" creationId="{00000000-0000-0000-0000-000000000000}"/>
          </ac:spMkLst>
        </pc:spChg>
        <pc:spChg chg="del">
          <ac:chgData name="Kebba Jeng" userId="fe4cc296-ba7d-48a2-8799-89b58d218255" providerId="ADAL" clId="{388EFDEE-447E-42B4-98EF-30C01AB2E8CD}" dt="2022-03-28T18:48:06.407" v="3053" actId="21"/>
          <ac:spMkLst>
            <pc:docMk/>
            <pc:sldMk cId="0" sldId="266"/>
            <ac:spMk id="1778"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779"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780"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781"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782"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783"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784"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785"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786" creationId="{00000000-0000-0000-0000-000000000000}"/>
          </ac:spMkLst>
        </pc:spChg>
        <pc:spChg chg="del">
          <ac:chgData name="Kebba Jeng" userId="fe4cc296-ba7d-48a2-8799-89b58d218255" providerId="ADAL" clId="{388EFDEE-447E-42B4-98EF-30C01AB2E8CD}" dt="2022-03-28T18:48:06.407" v="3053" actId="21"/>
          <ac:spMkLst>
            <pc:docMk/>
            <pc:sldMk cId="0" sldId="266"/>
            <ac:spMk id="1787" creationId="{00000000-0000-0000-0000-000000000000}"/>
          </ac:spMkLst>
        </pc:spChg>
        <pc:spChg chg="del">
          <ac:chgData name="Kebba Jeng" userId="fe4cc296-ba7d-48a2-8799-89b58d218255" providerId="ADAL" clId="{388EFDEE-447E-42B4-98EF-30C01AB2E8CD}" dt="2022-03-28T18:48:06.407" v="3053" actId="21"/>
          <ac:spMkLst>
            <pc:docMk/>
            <pc:sldMk cId="0" sldId="266"/>
            <ac:spMk id="1788" creationId="{00000000-0000-0000-0000-000000000000}"/>
          </ac:spMkLst>
        </pc:spChg>
        <pc:spChg chg="del">
          <ac:chgData name="Kebba Jeng" userId="fe4cc296-ba7d-48a2-8799-89b58d218255" providerId="ADAL" clId="{388EFDEE-447E-42B4-98EF-30C01AB2E8CD}" dt="2022-03-28T18:48:06.407" v="3053" actId="21"/>
          <ac:spMkLst>
            <pc:docMk/>
            <pc:sldMk cId="0" sldId="266"/>
            <ac:spMk id="1789" creationId="{00000000-0000-0000-0000-000000000000}"/>
          </ac:spMkLst>
        </pc:spChg>
        <pc:spChg chg="del">
          <ac:chgData name="Kebba Jeng" userId="fe4cc296-ba7d-48a2-8799-89b58d218255" providerId="ADAL" clId="{388EFDEE-447E-42B4-98EF-30C01AB2E8CD}" dt="2022-03-28T18:48:06.407" v="3053" actId="21"/>
          <ac:spMkLst>
            <pc:docMk/>
            <pc:sldMk cId="0" sldId="266"/>
            <ac:spMk id="1790" creationId="{00000000-0000-0000-0000-000000000000}"/>
          </ac:spMkLst>
        </pc:spChg>
        <pc:spChg chg="del">
          <ac:chgData name="Kebba Jeng" userId="fe4cc296-ba7d-48a2-8799-89b58d218255" providerId="ADAL" clId="{388EFDEE-447E-42B4-98EF-30C01AB2E8CD}" dt="2022-03-28T18:48:06.407" v="3053" actId="21"/>
          <ac:spMkLst>
            <pc:docMk/>
            <pc:sldMk cId="0" sldId="266"/>
            <ac:spMk id="1791" creationId="{00000000-0000-0000-0000-000000000000}"/>
          </ac:spMkLst>
        </pc:spChg>
        <pc:spChg chg="del">
          <ac:chgData name="Kebba Jeng" userId="fe4cc296-ba7d-48a2-8799-89b58d218255" providerId="ADAL" clId="{388EFDEE-447E-42B4-98EF-30C01AB2E8CD}" dt="2022-03-28T18:48:06.407" v="3053" actId="21"/>
          <ac:spMkLst>
            <pc:docMk/>
            <pc:sldMk cId="0" sldId="266"/>
            <ac:spMk id="1792" creationId="{00000000-0000-0000-0000-000000000000}"/>
          </ac:spMkLst>
        </pc:spChg>
        <pc:spChg chg="del">
          <ac:chgData name="Kebba Jeng" userId="fe4cc296-ba7d-48a2-8799-89b58d218255" providerId="ADAL" clId="{388EFDEE-447E-42B4-98EF-30C01AB2E8CD}" dt="2022-03-28T18:48:06.407" v="3053" actId="21"/>
          <ac:spMkLst>
            <pc:docMk/>
            <pc:sldMk cId="0" sldId="266"/>
            <ac:spMk id="1793" creationId="{00000000-0000-0000-0000-000000000000}"/>
          </ac:spMkLst>
        </pc:spChg>
        <pc:spChg chg="del">
          <ac:chgData name="Kebba Jeng" userId="fe4cc296-ba7d-48a2-8799-89b58d218255" providerId="ADAL" clId="{388EFDEE-447E-42B4-98EF-30C01AB2E8CD}" dt="2022-03-28T18:48:06.407" v="3053" actId="21"/>
          <ac:spMkLst>
            <pc:docMk/>
            <pc:sldMk cId="0" sldId="266"/>
            <ac:spMk id="1794" creationId="{00000000-0000-0000-0000-000000000000}"/>
          </ac:spMkLst>
        </pc:spChg>
        <pc:spChg chg="del">
          <ac:chgData name="Kebba Jeng" userId="fe4cc296-ba7d-48a2-8799-89b58d218255" providerId="ADAL" clId="{388EFDEE-447E-42B4-98EF-30C01AB2E8CD}" dt="2022-03-28T18:48:06.407" v="3053" actId="21"/>
          <ac:spMkLst>
            <pc:docMk/>
            <pc:sldMk cId="0" sldId="266"/>
            <ac:spMk id="1795" creationId="{00000000-0000-0000-0000-000000000000}"/>
          </ac:spMkLst>
        </pc:spChg>
        <pc:spChg chg="del">
          <ac:chgData name="Kebba Jeng" userId="fe4cc296-ba7d-48a2-8799-89b58d218255" providerId="ADAL" clId="{388EFDEE-447E-42B4-98EF-30C01AB2E8CD}" dt="2022-03-28T18:48:06.407" v="3053" actId="21"/>
          <ac:spMkLst>
            <pc:docMk/>
            <pc:sldMk cId="0" sldId="266"/>
            <ac:spMk id="1796" creationId="{00000000-0000-0000-0000-000000000000}"/>
          </ac:spMkLst>
        </pc:spChg>
        <pc:spChg chg="del">
          <ac:chgData name="Kebba Jeng" userId="fe4cc296-ba7d-48a2-8799-89b58d218255" providerId="ADAL" clId="{388EFDEE-447E-42B4-98EF-30C01AB2E8CD}" dt="2022-03-28T18:48:06.407" v="3053" actId="21"/>
          <ac:spMkLst>
            <pc:docMk/>
            <pc:sldMk cId="0" sldId="266"/>
            <ac:spMk id="1797" creationId="{00000000-0000-0000-0000-000000000000}"/>
          </ac:spMkLst>
        </pc:spChg>
        <pc:spChg chg="del">
          <ac:chgData name="Kebba Jeng" userId="fe4cc296-ba7d-48a2-8799-89b58d218255" providerId="ADAL" clId="{388EFDEE-447E-42B4-98EF-30C01AB2E8CD}" dt="2022-03-28T18:48:06.407" v="3053" actId="21"/>
          <ac:spMkLst>
            <pc:docMk/>
            <pc:sldMk cId="0" sldId="266"/>
            <ac:spMk id="1798" creationId="{00000000-0000-0000-0000-000000000000}"/>
          </ac:spMkLst>
        </pc:spChg>
        <pc:spChg chg="del">
          <ac:chgData name="Kebba Jeng" userId="fe4cc296-ba7d-48a2-8799-89b58d218255" providerId="ADAL" clId="{388EFDEE-447E-42B4-98EF-30C01AB2E8CD}" dt="2022-03-28T18:48:06.407" v="3053" actId="21"/>
          <ac:spMkLst>
            <pc:docMk/>
            <pc:sldMk cId="0" sldId="266"/>
            <ac:spMk id="1799" creationId="{00000000-0000-0000-0000-000000000000}"/>
          </ac:spMkLst>
        </pc:spChg>
        <pc:spChg chg="del">
          <ac:chgData name="Kebba Jeng" userId="fe4cc296-ba7d-48a2-8799-89b58d218255" providerId="ADAL" clId="{388EFDEE-447E-42B4-98EF-30C01AB2E8CD}" dt="2022-03-28T18:48:06.407" v="3053" actId="21"/>
          <ac:spMkLst>
            <pc:docMk/>
            <pc:sldMk cId="0" sldId="266"/>
            <ac:spMk id="1800" creationId="{00000000-0000-0000-0000-000000000000}"/>
          </ac:spMkLst>
        </pc:spChg>
        <pc:spChg chg="del">
          <ac:chgData name="Kebba Jeng" userId="fe4cc296-ba7d-48a2-8799-89b58d218255" providerId="ADAL" clId="{388EFDEE-447E-42B4-98EF-30C01AB2E8CD}" dt="2022-03-28T18:48:06.407" v="3053" actId="21"/>
          <ac:spMkLst>
            <pc:docMk/>
            <pc:sldMk cId="0" sldId="266"/>
            <ac:spMk id="1801" creationId="{00000000-0000-0000-0000-000000000000}"/>
          </ac:spMkLst>
        </pc:spChg>
        <pc:spChg chg="del">
          <ac:chgData name="Kebba Jeng" userId="fe4cc296-ba7d-48a2-8799-89b58d218255" providerId="ADAL" clId="{388EFDEE-447E-42B4-98EF-30C01AB2E8CD}" dt="2022-03-28T18:48:06.407" v="3053" actId="21"/>
          <ac:spMkLst>
            <pc:docMk/>
            <pc:sldMk cId="0" sldId="266"/>
            <ac:spMk id="1802" creationId="{00000000-0000-0000-0000-000000000000}"/>
          </ac:spMkLst>
        </pc:spChg>
        <pc:spChg chg="del">
          <ac:chgData name="Kebba Jeng" userId="fe4cc296-ba7d-48a2-8799-89b58d218255" providerId="ADAL" clId="{388EFDEE-447E-42B4-98EF-30C01AB2E8CD}" dt="2022-03-28T18:48:06.407" v="3053" actId="21"/>
          <ac:spMkLst>
            <pc:docMk/>
            <pc:sldMk cId="0" sldId="266"/>
            <ac:spMk id="1803"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804" creationId="{00000000-0000-0000-0000-000000000000}"/>
          </ac:spMkLst>
        </pc:spChg>
        <pc:spChg chg="del">
          <ac:chgData name="Kebba Jeng" userId="fe4cc296-ba7d-48a2-8799-89b58d218255" providerId="ADAL" clId="{388EFDEE-447E-42B4-98EF-30C01AB2E8CD}" dt="2022-03-28T18:48:06.407" v="3053" actId="21"/>
          <ac:spMkLst>
            <pc:docMk/>
            <pc:sldMk cId="0" sldId="266"/>
            <ac:spMk id="1805" creationId="{00000000-0000-0000-0000-000000000000}"/>
          </ac:spMkLst>
        </pc:spChg>
        <pc:spChg chg="del">
          <ac:chgData name="Kebba Jeng" userId="fe4cc296-ba7d-48a2-8799-89b58d218255" providerId="ADAL" clId="{388EFDEE-447E-42B4-98EF-30C01AB2E8CD}" dt="2022-03-28T18:48:06.407" v="3053" actId="21"/>
          <ac:spMkLst>
            <pc:docMk/>
            <pc:sldMk cId="0" sldId="266"/>
            <ac:spMk id="1806" creationId="{00000000-0000-0000-0000-000000000000}"/>
          </ac:spMkLst>
        </pc:spChg>
        <pc:spChg chg="del">
          <ac:chgData name="Kebba Jeng" userId="fe4cc296-ba7d-48a2-8799-89b58d218255" providerId="ADAL" clId="{388EFDEE-447E-42B4-98EF-30C01AB2E8CD}" dt="2022-03-28T18:48:06.407" v="3053" actId="21"/>
          <ac:spMkLst>
            <pc:docMk/>
            <pc:sldMk cId="0" sldId="266"/>
            <ac:spMk id="1807" creationId="{00000000-0000-0000-0000-000000000000}"/>
          </ac:spMkLst>
        </pc:spChg>
        <pc:spChg chg="del">
          <ac:chgData name="Kebba Jeng" userId="fe4cc296-ba7d-48a2-8799-89b58d218255" providerId="ADAL" clId="{388EFDEE-447E-42B4-98EF-30C01AB2E8CD}" dt="2022-03-28T18:48:06.407" v="3053" actId="21"/>
          <ac:spMkLst>
            <pc:docMk/>
            <pc:sldMk cId="0" sldId="266"/>
            <ac:spMk id="1808" creationId="{00000000-0000-0000-0000-000000000000}"/>
          </ac:spMkLst>
        </pc:spChg>
        <pc:spChg chg="del">
          <ac:chgData name="Kebba Jeng" userId="fe4cc296-ba7d-48a2-8799-89b58d218255" providerId="ADAL" clId="{388EFDEE-447E-42B4-98EF-30C01AB2E8CD}" dt="2022-03-28T18:48:06.407" v="3053" actId="21"/>
          <ac:spMkLst>
            <pc:docMk/>
            <pc:sldMk cId="0" sldId="266"/>
            <ac:spMk id="1809" creationId="{00000000-0000-0000-0000-000000000000}"/>
          </ac:spMkLst>
        </pc:spChg>
        <pc:spChg chg="del">
          <ac:chgData name="Kebba Jeng" userId="fe4cc296-ba7d-48a2-8799-89b58d218255" providerId="ADAL" clId="{388EFDEE-447E-42B4-98EF-30C01AB2E8CD}" dt="2022-03-28T18:48:06.407" v="3053" actId="21"/>
          <ac:spMkLst>
            <pc:docMk/>
            <pc:sldMk cId="0" sldId="266"/>
            <ac:spMk id="1810" creationId="{00000000-0000-0000-0000-000000000000}"/>
          </ac:spMkLst>
        </pc:spChg>
        <pc:spChg chg="del">
          <ac:chgData name="Kebba Jeng" userId="fe4cc296-ba7d-48a2-8799-89b58d218255" providerId="ADAL" clId="{388EFDEE-447E-42B4-98EF-30C01AB2E8CD}" dt="2022-03-28T18:48:06.407" v="3053" actId="21"/>
          <ac:spMkLst>
            <pc:docMk/>
            <pc:sldMk cId="0" sldId="266"/>
            <ac:spMk id="1811"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812"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813" creationId="{00000000-0000-0000-0000-000000000000}"/>
          </ac:spMkLst>
        </pc:spChg>
        <pc:spChg chg="del">
          <ac:chgData name="Kebba Jeng" userId="fe4cc296-ba7d-48a2-8799-89b58d218255" providerId="ADAL" clId="{388EFDEE-447E-42B4-98EF-30C01AB2E8CD}" dt="2022-03-28T18:48:06.407" v="3053" actId="21"/>
          <ac:spMkLst>
            <pc:docMk/>
            <pc:sldMk cId="0" sldId="266"/>
            <ac:spMk id="1814" creationId="{00000000-0000-0000-0000-000000000000}"/>
          </ac:spMkLst>
        </pc:spChg>
        <pc:spChg chg="del">
          <ac:chgData name="Kebba Jeng" userId="fe4cc296-ba7d-48a2-8799-89b58d218255" providerId="ADAL" clId="{388EFDEE-447E-42B4-98EF-30C01AB2E8CD}" dt="2022-03-28T18:48:06.407" v="3053" actId="21"/>
          <ac:spMkLst>
            <pc:docMk/>
            <pc:sldMk cId="0" sldId="266"/>
            <ac:spMk id="1815" creationId="{00000000-0000-0000-0000-000000000000}"/>
          </ac:spMkLst>
        </pc:spChg>
        <pc:spChg chg="del">
          <ac:chgData name="Kebba Jeng" userId="fe4cc296-ba7d-48a2-8799-89b58d218255" providerId="ADAL" clId="{388EFDEE-447E-42B4-98EF-30C01AB2E8CD}" dt="2022-03-28T18:48:06.407" v="3053" actId="21"/>
          <ac:spMkLst>
            <pc:docMk/>
            <pc:sldMk cId="0" sldId="266"/>
            <ac:spMk id="1816" creationId="{00000000-0000-0000-0000-000000000000}"/>
          </ac:spMkLst>
        </pc:spChg>
        <pc:spChg chg="del">
          <ac:chgData name="Kebba Jeng" userId="fe4cc296-ba7d-48a2-8799-89b58d218255" providerId="ADAL" clId="{388EFDEE-447E-42B4-98EF-30C01AB2E8CD}" dt="2022-03-28T18:48:06.407" v="3053" actId="21"/>
          <ac:spMkLst>
            <pc:docMk/>
            <pc:sldMk cId="0" sldId="266"/>
            <ac:spMk id="1817" creationId="{00000000-0000-0000-0000-000000000000}"/>
          </ac:spMkLst>
        </pc:spChg>
        <pc:spChg chg="del">
          <ac:chgData name="Kebba Jeng" userId="fe4cc296-ba7d-48a2-8799-89b58d218255" providerId="ADAL" clId="{388EFDEE-447E-42B4-98EF-30C01AB2E8CD}" dt="2022-03-28T18:48:06.407" v="3053" actId="21"/>
          <ac:spMkLst>
            <pc:docMk/>
            <pc:sldMk cId="0" sldId="266"/>
            <ac:spMk id="1818" creationId="{00000000-0000-0000-0000-000000000000}"/>
          </ac:spMkLst>
        </pc:spChg>
        <pc:spChg chg="del">
          <ac:chgData name="Kebba Jeng" userId="fe4cc296-ba7d-48a2-8799-89b58d218255" providerId="ADAL" clId="{388EFDEE-447E-42B4-98EF-30C01AB2E8CD}" dt="2022-03-28T18:48:06.407" v="3053" actId="21"/>
          <ac:spMkLst>
            <pc:docMk/>
            <pc:sldMk cId="0" sldId="266"/>
            <ac:spMk id="1819" creationId="{00000000-0000-0000-0000-000000000000}"/>
          </ac:spMkLst>
        </pc:spChg>
        <pc:spChg chg="del">
          <ac:chgData name="Kebba Jeng" userId="fe4cc296-ba7d-48a2-8799-89b58d218255" providerId="ADAL" clId="{388EFDEE-447E-42B4-98EF-30C01AB2E8CD}" dt="2022-03-28T18:48:06.407" v="3053" actId="21"/>
          <ac:spMkLst>
            <pc:docMk/>
            <pc:sldMk cId="0" sldId="266"/>
            <ac:spMk id="1820" creationId="{00000000-0000-0000-0000-000000000000}"/>
          </ac:spMkLst>
        </pc:spChg>
        <pc:spChg chg="del">
          <ac:chgData name="Kebba Jeng" userId="fe4cc296-ba7d-48a2-8799-89b58d218255" providerId="ADAL" clId="{388EFDEE-447E-42B4-98EF-30C01AB2E8CD}" dt="2022-03-28T18:48:06.407" v="3053" actId="21"/>
          <ac:spMkLst>
            <pc:docMk/>
            <pc:sldMk cId="0" sldId="266"/>
            <ac:spMk id="1821" creationId="{00000000-0000-0000-0000-000000000000}"/>
          </ac:spMkLst>
        </pc:spChg>
        <pc:spChg chg="del">
          <ac:chgData name="Kebba Jeng" userId="fe4cc296-ba7d-48a2-8799-89b58d218255" providerId="ADAL" clId="{388EFDEE-447E-42B4-98EF-30C01AB2E8CD}" dt="2022-03-28T18:48:06.407" v="3053" actId="21"/>
          <ac:spMkLst>
            <pc:docMk/>
            <pc:sldMk cId="0" sldId="266"/>
            <ac:spMk id="1822" creationId="{00000000-0000-0000-0000-000000000000}"/>
          </ac:spMkLst>
        </pc:spChg>
        <pc:spChg chg="del">
          <ac:chgData name="Kebba Jeng" userId="fe4cc296-ba7d-48a2-8799-89b58d218255" providerId="ADAL" clId="{388EFDEE-447E-42B4-98EF-30C01AB2E8CD}" dt="2022-03-28T18:48:06.407" v="3053" actId="21"/>
          <ac:spMkLst>
            <pc:docMk/>
            <pc:sldMk cId="0" sldId="266"/>
            <ac:spMk id="1823" creationId="{00000000-0000-0000-0000-000000000000}"/>
          </ac:spMkLst>
        </pc:spChg>
        <pc:spChg chg="del">
          <ac:chgData name="Kebba Jeng" userId="fe4cc296-ba7d-48a2-8799-89b58d218255" providerId="ADAL" clId="{388EFDEE-447E-42B4-98EF-30C01AB2E8CD}" dt="2022-03-28T18:48:06.407" v="3053" actId="21"/>
          <ac:spMkLst>
            <pc:docMk/>
            <pc:sldMk cId="0" sldId="266"/>
            <ac:spMk id="1824" creationId="{00000000-0000-0000-0000-000000000000}"/>
          </ac:spMkLst>
        </pc:spChg>
        <pc:spChg chg="del">
          <ac:chgData name="Kebba Jeng" userId="fe4cc296-ba7d-48a2-8799-89b58d218255" providerId="ADAL" clId="{388EFDEE-447E-42B4-98EF-30C01AB2E8CD}" dt="2022-03-28T18:48:06.407" v="3053" actId="21"/>
          <ac:spMkLst>
            <pc:docMk/>
            <pc:sldMk cId="0" sldId="266"/>
            <ac:spMk id="1825" creationId="{00000000-0000-0000-0000-000000000000}"/>
          </ac:spMkLst>
        </pc:spChg>
        <pc:spChg chg="del">
          <ac:chgData name="Kebba Jeng" userId="fe4cc296-ba7d-48a2-8799-89b58d218255" providerId="ADAL" clId="{388EFDEE-447E-42B4-98EF-30C01AB2E8CD}" dt="2022-03-28T18:48:06.407" v="3053" actId="21"/>
          <ac:spMkLst>
            <pc:docMk/>
            <pc:sldMk cId="0" sldId="266"/>
            <ac:spMk id="1826"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827" creationId="{00000000-0000-0000-0000-000000000000}"/>
          </ac:spMkLst>
        </pc:spChg>
        <pc:spChg chg="del">
          <ac:chgData name="Kebba Jeng" userId="fe4cc296-ba7d-48a2-8799-89b58d218255" providerId="ADAL" clId="{388EFDEE-447E-42B4-98EF-30C01AB2E8CD}" dt="2022-03-28T18:48:06.407" v="3053" actId="21"/>
          <ac:spMkLst>
            <pc:docMk/>
            <pc:sldMk cId="0" sldId="266"/>
            <ac:spMk id="1828" creationId="{00000000-0000-0000-0000-000000000000}"/>
          </ac:spMkLst>
        </pc:spChg>
        <pc:spChg chg="del">
          <ac:chgData name="Kebba Jeng" userId="fe4cc296-ba7d-48a2-8799-89b58d218255" providerId="ADAL" clId="{388EFDEE-447E-42B4-98EF-30C01AB2E8CD}" dt="2022-03-28T18:48:06.407" v="3053" actId="21"/>
          <ac:spMkLst>
            <pc:docMk/>
            <pc:sldMk cId="0" sldId="266"/>
            <ac:spMk id="1829" creationId="{00000000-0000-0000-0000-000000000000}"/>
          </ac:spMkLst>
        </pc:spChg>
        <pc:spChg chg="del">
          <ac:chgData name="Kebba Jeng" userId="fe4cc296-ba7d-48a2-8799-89b58d218255" providerId="ADAL" clId="{388EFDEE-447E-42B4-98EF-30C01AB2E8CD}" dt="2022-03-28T18:48:06.407" v="3053" actId="21"/>
          <ac:spMkLst>
            <pc:docMk/>
            <pc:sldMk cId="0" sldId="266"/>
            <ac:spMk id="1830" creationId="{00000000-0000-0000-0000-000000000000}"/>
          </ac:spMkLst>
        </pc:spChg>
        <pc:spChg chg="del">
          <ac:chgData name="Kebba Jeng" userId="fe4cc296-ba7d-48a2-8799-89b58d218255" providerId="ADAL" clId="{388EFDEE-447E-42B4-98EF-30C01AB2E8CD}" dt="2022-03-28T18:48:06.407" v="3053" actId="21"/>
          <ac:spMkLst>
            <pc:docMk/>
            <pc:sldMk cId="0" sldId="266"/>
            <ac:spMk id="1831" creationId="{00000000-0000-0000-0000-000000000000}"/>
          </ac:spMkLst>
        </pc:spChg>
        <pc:spChg chg="del">
          <ac:chgData name="Kebba Jeng" userId="fe4cc296-ba7d-48a2-8799-89b58d218255" providerId="ADAL" clId="{388EFDEE-447E-42B4-98EF-30C01AB2E8CD}" dt="2022-03-28T18:48:06.407" v="3053" actId="21"/>
          <ac:spMkLst>
            <pc:docMk/>
            <pc:sldMk cId="0" sldId="266"/>
            <ac:spMk id="1832" creationId="{00000000-0000-0000-0000-000000000000}"/>
          </ac:spMkLst>
        </pc:spChg>
        <pc:spChg chg="del">
          <ac:chgData name="Kebba Jeng" userId="fe4cc296-ba7d-48a2-8799-89b58d218255" providerId="ADAL" clId="{388EFDEE-447E-42B4-98EF-30C01AB2E8CD}" dt="2022-03-28T18:48:06.407" v="3053" actId="21"/>
          <ac:spMkLst>
            <pc:docMk/>
            <pc:sldMk cId="0" sldId="266"/>
            <ac:spMk id="1833"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834"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835" creationId="{00000000-0000-0000-0000-000000000000}"/>
          </ac:spMkLst>
        </pc:spChg>
        <pc:spChg chg="del">
          <ac:chgData name="Kebba Jeng" userId="fe4cc296-ba7d-48a2-8799-89b58d218255" providerId="ADAL" clId="{388EFDEE-447E-42B4-98EF-30C01AB2E8CD}" dt="2022-03-28T18:48:06.407" v="3053" actId="21"/>
          <ac:spMkLst>
            <pc:docMk/>
            <pc:sldMk cId="0" sldId="266"/>
            <ac:spMk id="1836" creationId="{00000000-0000-0000-0000-000000000000}"/>
          </ac:spMkLst>
        </pc:spChg>
        <pc:spChg chg="del">
          <ac:chgData name="Kebba Jeng" userId="fe4cc296-ba7d-48a2-8799-89b58d218255" providerId="ADAL" clId="{388EFDEE-447E-42B4-98EF-30C01AB2E8CD}" dt="2022-03-28T18:48:06.407" v="3053" actId="21"/>
          <ac:spMkLst>
            <pc:docMk/>
            <pc:sldMk cId="0" sldId="266"/>
            <ac:spMk id="1837" creationId="{00000000-0000-0000-0000-000000000000}"/>
          </ac:spMkLst>
        </pc:spChg>
        <pc:spChg chg="del">
          <ac:chgData name="Kebba Jeng" userId="fe4cc296-ba7d-48a2-8799-89b58d218255" providerId="ADAL" clId="{388EFDEE-447E-42B4-98EF-30C01AB2E8CD}" dt="2022-03-28T18:48:06.407" v="3053" actId="21"/>
          <ac:spMkLst>
            <pc:docMk/>
            <pc:sldMk cId="0" sldId="266"/>
            <ac:spMk id="1838" creationId="{00000000-0000-0000-0000-000000000000}"/>
          </ac:spMkLst>
        </pc:spChg>
        <pc:spChg chg="del">
          <ac:chgData name="Kebba Jeng" userId="fe4cc296-ba7d-48a2-8799-89b58d218255" providerId="ADAL" clId="{388EFDEE-447E-42B4-98EF-30C01AB2E8CD}" dt="2022-03-28T18:48:06.407" v="3053" actId="21"/>
          <ac:spMkLst>
            <pc:docMk/>
            <pc:sldMk cId="0" sldId="266"/>
            <ac:spMk id="1839" creationId="{00000000-0000-0000-0000-000000000000}"/>
          </ac:spMkLst>
        </pc:spChg>
        <pc:spChg chg="del">
          <ac:chgData name="Kebba Jeng" userId="fe4cc296-ba7d-48a2-8799-89b58d218255" providerId="ADAL" clId="{388EFDEE-447E-42B4-98EF-30C01AB2E8CD}" dt="2022-03-28T18:48:06.407" v="3053" actId="21"/>
          <ac:spMkLst>
            <pc:docMk/>
            <pc:sldMk cId="0" sldId="266"/>
            <ac:spMk id="1840" creationId="{00000000-0000-0000-0000-000000000000}"/>
          </ac:spMkLst>
        </pc:spChg>
        <pc:spChg chg="del">
          <ac:chgData name="Kebba Jeng" userId="fe4cc296-ba7d-48a2-8799-89b58d218255" providerId="ADAL" clId="{388EFDEE-447E-42B4-98EF-30C01AB2E8CD}" dt="2022-03-28T18:48:06.407" v="3053" actId="21"/>
          <ac:spMkLst>
            <pc:docMk/>
            <pc:sldMk cId="0" sldId="266"/>
            <ac:spMk id="1841" creationId="{00000000-0000-0000-0000-000000000000}"/>
          </ac:spMkLst>
        </pc:spChg>
        <pc:spChg chg="del">
          <ac:chgData name="Kebba Jeng" userId="fe4cc296-ba7d-48a2-8799-89b58d218255" providerId="ADAL" clId="{388EFDEE-447E-42B4-98EF-30C01AB2E8CD}" dt="2022-03-28T18:48:06.407" v="3053" actId="21"/>
          <ac:spMkLst>
            <pc:docMk/>
            <pc:sldMk cId="0" sldId="266"/>
            <ac:spMk id="1842"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843"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844"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845"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846"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847"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848"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849"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850"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851" creationId="{00000000-0000-0000-0000-000000000000}"/>
          </ac:spMkLst>
        </pc:spChg>
        <pc:spChg chg="del">
          <ac:chgData name="Kebba Jeng" userId="fe4cc296-ba7d-48a2-8799-89b58d218255" providerId="ADAL" clId="{388EFDEE-447E-42B4-98EF-30C01AB2E8CD}" dt="2022-03-28T18:48:06.407" v="3053" actId="21"/>
          <ac:spMkLst>
            <pc:docMk/>
            <pc:sldMk cId="0" sldId="266"/>
            <ac:spMk id="1852" creationId="{00000000-0000-0000-0000-000000000000}"/>
          </ac:spMkLst>
        </pc:spChg>
        <pc:spChg chg="del">
          <ac:chgData name="Kebba Jeng" userId="fe4cc296-ba7d-48a2-8799-89b58d218255" providerId="ADAL" clId="{388EFDEE-447E-42B4-98EF-30C01AB2E8CD}" dt="2022-03-28T18:48:06.407" v="3053" actId="21"/>
          <ac:spMkLst>
            <pc:docMk/>
            <pc:sldMk cId="0" sldId="266"/>
            <ac:spMk id="1853" creationId="{00000000-0000-0000-0000-000000000000}"/>
          </ac:spMkLst>
        </pc:spChg>
        <pc:spChg chg="del">
          <ac:chgData name="Kebba Jeng" userId="fe4cc296-ba7d-48a2-8799-89b58d218255" providerId="ADAL" clId="{388EFDEE-447E-42B4-98EF-30C01AB2E8CD}" dt="2022-03-28T18:48:06.407" v="3053" actId="21"/>
          <ac:spMkLst>
            <pc:docMk/>
            <pc:sldMk cId="0" sldId="266"/>
            <ac:spMk id="1854" creationId="{00000000-0000-0000-0000-000000000000}"/>
          </ac:spMkLst>
        </pc:spChg>
        <pc:spChg chg="del">
          <ac:chgData name="Kebba Jeng" userId="fe4cc296-ba7d-48a2-8799-89b58d218255" providerId="ADAL" clId="{388EFDEE-447E-42B4-98EF-30C01AB2E8CD}" dt="2022-03-28T18:48:06.407" v="3053" actId="21"/>
          <ac:spMkLst>
            <pc:docMk/>
            <pc:sldMk cId="0" sldId="266"/>
            <ac:spMk id="1855" creationId="{00000000-0000-0000-0000-000000000000}"/>
          </ac:spMkLst>
        </pc:spChg>
        <pc:spChg chg="del">
          <ac:chgData name="Kebba Jeng" userId="fe4cc296-ba7d-48a2-8799-89b58d218255" providerId="ADAL" clId="{388EFDEE-447E-42B4-98EF-30C01AB2E8CD}" dt="2022-03-28T18:48:06.407" v="3053" actId="21"/>
          <ac:spMkLst>
            <pc:docMk/>
            <pc:sldMk cId="0" sldId="266"/>
            <ac:spMk id="1856" creationId="{00000000-0000-0000-0000-000000000000}"/>
          </ac:spMkLst>
        </pc:spChg>
        <pc:spChg chg="del">
          <ac:chgData name="Kebba Jeng" userId="fe4cc296-ba7d-48a2-8799-89b58d218255" providerId="ADAL" clId="{388EFDEE-447E-42B4-98EF-30C01AB2E8CD}" dt="2022-03-28T18:48:06.407" v="3053" actId="21"/>
          <ac:spMkLst>
            <pc:docMk/>
            <pc:sldMk cId="0" sldId="266"/>
            <ac:spMk id="1857" creationId="{00000000-0000-0000-0000-000000000000}"/>
          </ac:spMkLst>
        </pc:spChg>
        <pc:spChg chg="del">
          <ac:chgData name="Kebba Jeng" userId="fe4cc296-ba7d-48a2-8799-89b58d218255" providerId="ADAL" clId="{388EFDEE-447E-42B4-98EF-30C01AB2E8CD}" dt="2022-03-28T18:48:06.407" v="3053" actId="21"/>
          <ac:spMkLst>
            <pc:docMk/>
            <pc:sldMk cId="0" sldId="266"/>
            <ac:spMk id="1858" creationId="{00000000-0000-0000-0000-000000000000}"/>
          </ac:spMkLst>
        </pc:spChg>
        <pc:spChg chg="del">
          <ac:chgData name="Kebba Jeng" userId="fe4cc296-ba7d-48a2-8799-89b58d218255" providerId="ADAL" clId="{388EFDEE-447E-42B4-98EF-30C01AB2E8CD}" dt="2022-03-28T18:48:06.407" v="3053" actId="21"/>
          <ac:spMkLst>
            <pc:docMk/>
            <pc:sldMk cId="0" sldId="266"/>
            <ac:spMk id="1859" creationId="{00000000-0000-0000-0000-000000000000}"/>
          </ac:spMkLst>
        </pc:spChg>
        <pc:spChg chg="del">
          <ac:chgData name="Kebba Jeng" userId="fe4cc296-ba7d-48a2-8799-89b58d218255" providerId="ADAL" clId="{388EFDEE-447E-42B4-98EF-30C01AB2E8CD}" dt="2022-03-28T18:48:06.407" v="3053" actId="21"/>
          <ac:spMkLst>
            <pc:docMk/>
            <pc:sldMk cId="0" sldId="266"/>
            <ac:spMk id="1860" creationId="{00000000-0000-0000-0000-000000000000}"/>
          </ac:spMkLst>
        </pc:spChg>
        <pc:spChg chg="del">
          <ac:chgData name="Kebba Jeng" userId="fe4cc296-ba7d-48a2-8799-89b58d218255" providerId="ADAL" clId="{388EFDEE-447E-42B4-98EF-30C01AB2E8CD}" dt="2022-03-28T18:48:06.407" v="3053" actId="21"/>
          <ac:spMkLst>
            <pc:docMk/>
            <pc:sldMk cId="0" sldId="266"/>
            <ac:spMk id="1861" creationId="{00000000-0000-0000-0000-000000000000}"/>
          </ac:spMkLst>
        </pc:spChg>
        <pc:spChg chg="del">
          <ac:chgData name="Kebba Jeng" userId="fe4cc296-ba7d-48a2-8799-89b58d218255" providerId="ADAL" clId="{388EFDEE-447E-42B4-98EF-30C01AB2E8CD}" dt="2022-03-28T18:48:06.407" v="3053" actId="21"/>
          <ac:spMkLst>
            <pc:docMk/>
            <pc:sldMk cId="0" sldId="266"/>
            <ac:spMk id="1862" creationId="{00000000-0000-0000-0000-000000000000}"/>
          </ac:spMkLst>
        </pc:spChg>
        <pc:spChg chg="del">
          <ac:chgData name="Kebba Jeng" userId="fe4cc296-ba7d-48a2-8799-89b58d218255" providerId="ADAL" clId="{388EFDEE-447E-42B4-98EF-30C01AB2E8CD}" dt="2022-03-28T18:48:06.407" v="3053" actId="21"/>
          <ac:spMkLst>
            <pc:docMk/>
            <pc:sldMk cId="0" sldId="266"/>
            <ac:spMk id="1863" creationId="{00000000-0000-0000-0000-000000000000}"/>
          </ac:spMkLst>
        </pc:spChg>
        <pc:spChg chg="del">
          <ac:chgData name="Kebba Jeng" userId="fe4cc296-ba7d-48a2-8799-89b58d218255" providerId="ADAL" clId="{388EFDEE-447E-42B4-98EF-30C01AB2E8CD}" dt="2022-03-28T18:48:06.407" v="3053" actId="21"/>
          <ac:spMkLst>
            <pc:docMk/>
            <pc:sldMk cId="0" sldId="266"/>
            <ac:spMk id="1864" creationId="{00000000-0000-0000-0000-000000000000}"/>
          </ac:spMkLst>
        </pc:spChg>
        <pc:spChg chg="del">
          <ac:chgData name="Kebba Jeng" userId="fe4cc296-ba7d-48a2-8799-89b58d218255" providerId="ADAL" clId="{388EFDEE-447E-42B4-98EF-30C01AB2E8CD}" dt="2022-03-28T18:48:06.407" v="3053" actId="21"/>
          <ac:spMkLst>
            <pc:docMk/>
            <pc:sldMk cId="0" sldId="266"/>
            <ac:spMk id="1865" creationId="{00000000-0000-0000-0000-000000000000}"/>
          </ac:spMkLst>
        </pc:spChg>
        <pc:spChg chg="del">
          <ac:chgData name="Kebba Jeng" userId="fe4cc296-ba7d-48a2-8799-89b58d218255" providerId="ADAL" clId="{388EFDEE-447E-42B4-98EF-30C01AB2E8CD}" dt="2022-03-28T18:48:06.407" v="3053" actId="21"/>
          <ac:spMkLst>
            <pc:docMk/>
            <pc:sldMk cId="0" sldId="266"/>
            <ac:spMk id="1866" creationId="{00000000-0000-0000-0000-000000000000}"/>
          </ac:spMkLst>
        </pc:spChg>
        <pc:spChg chg="del">
          <ac:chgData name="Kebba Jeng" userId="fe4cc296-ba7d-48a2-8799-89b58d218255" providerId="ADAL" clId="{388EFDEE-447E-42B4-98EF-30C01AB2E8CD}" dt="2022-03-28T18:48:06.407" v="3053" actId="21"/>
          <ac:spMkLst>
            <pc:docMk/>
            <pc:sldMk cId="0" sldId="266"/>
            <ac:spMk id="1867" creationId="{00000000-0000-0000-0000-000000000000}"/>
          </ac:spMkLst>
        </pc:spChg>
        <pc:spChg chg="del">
          <ac:chgData name="Kebba Jeng" userId="fe4cc296-ba7d-48a2-8799-89b58d218255" providerId="ADAL" clId="{388EFDEE-447E-42B4-98EF-30C01AB2E8CD}" dt="2022-03-28T18:48:06.407" v="3053" actId="21"/>
          <ac:spMkLst>
            <pc:docMk/>
            <pc:sldMk cId="0" sldId="266"/>
            <ac:spMk id="1868" creationId="{00000000-0000-0000-0000-000000000000}"/>
          </ac:spMkLst>
        </pc:spChg>
        <pc:spChg chg="del">
          <ac:chgData name="Kebba Jeng" userId="fe4cc296-ba7d-48a2-8799-89b58d218255" providerId="ADAL" clId="{388EFDEE-447E-42B4-98EF-30C01AB2E8CD}" dt="2022-03-28T18:48:06.407" v="3053" actId="21"/>
          <ac:spMkLst>
            <pc:docMk/>
            <pc:sldMk cId="0" sldId="266"/>
            <ac:spMk id="1869" creationId="{00000000-0000-0000-0000-000000000000}"/>
          </ac:spMkLst>
        </pc:spChg>
        <pc:spChg chg="del">
          <ac:chgData name="Kebba Jeng" userId="fe4cc296-ba7d-48a2-8799-89b58d218255" providerId="ADAL" clId="{388EFDEE-447E-42B4-98EF-30C01AB2E8CD}" dt="2022-03-28T18:48:06.407" v="3053" actId="21"/>
          <ac:spMkLst>
            <pc:docMk/>
            <pc:sldMk cId="0" sldId="266"/>
            <ac:spMk id="1870" creationId="{00000000-0000-0000-0000-000000000000}"/>
          </ac:spMkLst>
        </pc:spChg>
        <pc:spChg chg="del">
          <ac:chgData name="Kebba Jeng" userId="fe4cc296-ba7d-48a2-8799-89b58d218255" providerId="ADAL" clId="{388EFDEE-447E-42B4-98EF-30C01AB2E8CD}" dt="2022-03-28T18:48:06.407" v="3053" actId="21"/>
          <ac:spMkLst>
            <pc:docMk/>
            <pc:sldMk cId="0" sldId="266"/>
            <ac:spMk id="1871" creationId="{00000000-0000-0000-0000-000000000000}"/>
          </ac:spMkLst>
        </pc:spChg>
        <pc:spChg chg="del">
          <ac:chgData name="Kebba Jeng" userId="fe4cc296-ba7d-48a2-8799-89b58d218255" providerId="ADAL" clId="{388EFDEE-447E-42B4-98EF-30C01AB2E8CD}" dt="2022-03-28T18:48:06.407" v="3053" actId="21"/>
          <ac:spMkLst>
            <pc:docMk/>
            <pc:sldMk cId="0" sldId="266"/>
            <ac:spMk id="1872" creationId="{00000000-0000-0000-0000-000000000000}"/>
          </ac:spMkLst>
        </pc:spChg>
        <pc:spChg chg="del">
          <ac:chgData name="Kebba Jeng" userId="fe4cc296-ba7d-48a2-8799-89b58d218255" providerId="ADAL" clId="{388EFDEE-447E-42B4-98EF-30C01AB2E8CD}" dt="2022-03-28T18:48:06.407" v="3053" actId="21"/>
          <ac:spMkLst>
            <pc:docMk/>
            <pc:sldMk cId="0" sldId="266"/>
            <ac:spMk id="1873" creationId="{00000000-0000-0000-0000-000000000000}"/>
          </ac:spMkLst>
        </pc:spChg>
        <pc:spChg chg="del">
          <ac:chgData name="Kebba Jeng" userId="fe4cc296-ba7d-48a2-8799-89b58d218255" providerId="ADAL" clId="{388EFDEE-447E-42B4-98EF-30C01AB2E8CD}" dt="2022-03-28T18:48:06.407" v="3053" actId="21"/>
          <ac:spMkLst>
            <pc:docMk/>
            <pc:sldMk cId="0" sldId="266"/>
            <ac:spMk id="1874" creationId="{00000000-0000-0000-0000-000000000000}"/>
          </ac:spMkLst>
        </pc:spChg>
        <pc:spChg chg="del">
          <ac:chgData name="Kebba Jeng" userId="fe4cc296-ba7d-48a2-8799-89b58d218255" providerId="ADAL" clId="{388EFDEE-447E-42B4-98EF-30C01AB2E8CD}" dt="2022-03-28T18:48:06.407" v="3053" actId="21"/>
          <ac:spMkLst>
            <pc:docMk/>
            <pc:sldMk cId="0" sldId="266"/>
            <ac:spMk id="1875" creationId="{00000000-0000-0000-0000-000000000000}"/>
          </ac:spMkLst>
        </pc:spChg>
        <pc:spChg chg="del">
          <ac:chgData name="Kebba Jeng" userId="fe4cc296-ba7d-48a2-8799-89b58d218255" providerId="ADAL" clId="{388EFDEE-447E-42B4-98EF-30C01AB2E8CD}" dt="2022-03-28T18:48:06.407" v="3053" actId="21"/>
          <ac:spMkLst>
            <pc:docMk/>
            <pc:sldMk cId="0" sldId="266"/>
            <ac:spMk id="1876" creationId="{00000000-0000-0000-0000-000000000000}"/>
          </ac:spMkLst>
        </pc:spChg>
        <pc:spChg chg="del">
          <ac:chgData name="Kebba Jeng" userId="fe4cc296-ba7d-48a2-8799-89b58d218255" providerId="ADAL" clId="{388EFDEE-447E-42B4-98EF-30C01AB2E8CD}" dt="2022-03-28T18:48:06.407" v="3053" actId="21"/>
          <ac:spMkLst>
            <pc:docMk/>
            <pc:sldMk cId="0" sldId="266"/>
            <ac:spMk id="1877" creationId="{00000000-0000-0000-0000-000000000000}"/>
          </ac:spMkLst>
        </pc:spChg>
        <pc:spChg chg="del">
          <ac:chgData name="Kebba Jeng" userId="fe4cc296-ba7d-48a2-8799-89b58d218255" providerId="ADAL" clId="{388EFDEE-447E-42B4-98EF-30C01AB2E8CD}" dt="2022-03-28T18:48:06.407" v="3053" actId="21"/>
          <ac:spMkLst>
            <pc:docMk/>
            <pc:sldMk cId="0" sldId="266"/>
            <ac:spMk id="1878" creationId="{00000000-0000-0000-0000-000000000000}"/>
          </ac:spMkLst>
        </pc:spChg>
        <pc:spChg chg="del">
          <ac:chgData name="Kebba Jeng" userId="fe4cc296-ba7d-48a2-8799-89b58d218255" providerId="ADAL" clId="{388EFDEE-447E-42B4-98EF-30C01AB2E8CD}" dt="2022-03-28T18:48:06.407" v="3053" actId="21"/>
          <ac:spMkLst>
            <pc:docMk/>
            <pc:sldMk cId="0" sldId="266"/>
            <ac:spMk id="1879" creationId="{00000000-0000-0000-0000-000000000000}"/>
          </ac:spMkLst>
        </pc:spChg>
        <pc:spChg chg="del">
          <ac:chgData name="Kebba Jeng" userId="fe4cc296-ba7d-48a2-8799-89b58d218255" providerId="ADAL" clId="{388EFDEE-447E-42B4-98EF-30C01AB2E8CD}" dt="2022-03-28T18:48:06.407" v="3053" actId="21"/>
          <ac:spMkLst>
            <pc:docMk/>
            <pc:sldMk cId="0" sldId="266"/>
            <ac:spMk id="1880" creationId="{00000000-0000-0000-0000-000000000000}"/>
          </ac:spMkLst>
        </pc:spChg>
        <pc:spChg chg="del">
          <ac:chgData name="Kebba Jeng" userId="fe4cc296-ba7d-48a2-8799-89b58d218255" providerId="ADAL" clId="{388EFDEE-447E-42B4-98EF-30C01AB2E8CD}" dt="2022-03-28T18:48:06.407" v="3053" actId="21"/>
          <ac:spMkLst>
            <pc:docMk/>
            <pc:sldMk cId="0" sldId="266"/>
            <ac:spMk id="1881" creationId="{00000000-0000-0000-0000-000000000000}"/>
          </ac:spMkLst>
        </pc:spChg>
        <pc:spChg chg="del">
          <ac:chgData name="Kebba Jeng" userId="fe4cc296-ba7d-48a2-8799-89b58d218255" providerId="ADAL" clId="{388EFDEE-447E-42B4-98EF-30C01AB2E8CD}" dt="2022-03-28T18:48:06.407" v="3053" actId="21"/>
          <ac:spMkLst>
            <pc:docMk/>
            <pc:sldMk cId="0" sldId="266"/>
            <ac:spMk id="1882" creationId="{00000000-0000-0000-0000-000000000000}"/>
          </ac:spMkLst>
        </pc:spChg>
        <pc:spChg chg="del">
          <ac:chgData name="Kebba Jeng" userId="fe4cc296-ba7d-48a2-8799-89b58d218255" providerId="ADAL" clId="{388EFDEE-447E-42B4-98EF-30C01AB2E8CD}" dt="2022-03-28T18:48:06.407" v="3053" actId="21"/>
          <ac:spMkLst>
            <pc:docMk/>
            <pc:sldMk cId="0" sldId="266"/>
            <ac:spMk id="1883" creationId="{00000000-0000-0000-0000-000000000000}"/>
          </ac:spMkLst>
        </pc:spChg>
        <pc:spChg chg="del">
          <ac:chgData name="Kebba Jeng" userId="fe4cc296-ba7d-48a2-8799-89b58d218255" providerId="ADAL" clId="{388EFDEE-447E-42B4-98EF-30C01AB2E8CD}" dt="2022-03-28T18:48:06.407" v="3053" actId="21"/>
          <ac:spMkLst>
            <pc:docMk/>
            <pc:sldMk cId="0" sldId="266"/>
            <ac:spMk id="1884" creationId="{00000000-0000-0000-0000-000000000000}"/>
          </ac:spMkLst>
        </pc:spChg>
        <pc:spChg chg="del">
          <ac:chgData name="Kebba Jeng" userId="fe4cc296-ba7d-48a2-8799-89b58d218255" providerId="ADAL" clId="{388EFDEE-447E-42B4-98EF-30C01AB2E8CD}" dt="2022-03-28T18:48:06.407" v="3053" actId="21"/>
          <ac:spMkLst>
            <pc:docMk/>
            <pc:sldMk cId="0" sldId="266"/>
            <ac:spMk id="1885" creationId="{00000000-0000-0000-0000-000000000000}"/>
          </ac:spMkLst>
        </pc:spChg>
        <pc:spChg chg="del">
          <ac:chgData name="Kebba Jeng" userId="fe4cc296-ba7d-48a2-8799-89b58d218255" providerId="ADAL" clId="{388EFDEE-447E-42B4-98EF-30C01AB2E8CD}" dt="2022-03-28T18:48:06.407" v="3053" actId="21"/>
          <ac:spMkLst>
            <pc:docMk/>
            <pc:sldMk cId="0" sldId="266"/>
            <ac:spMk id="1886" creationId="{00000000-0000-0000-0000-000000000000}"/>
          </ac:spMkLst>
        </pc:spChg>
        <pc:spChg chg="del">
          <ac:chgData name="Kebba Jeng" userId="fe4cc296-ba7d-48a2-8799-89b58d218255" providerId="ADAL" clId="{388EFDEE-447E-42B4-98EF-30C01AB2E8CD}" dt="2022-03-28T18:48:06.407" v="3053" actId="21"/>
          <ac:spMkLst>
            <pc:docMk/>
            <pc:sldMk cId="0" sldId="266"/>
            <ac:spMk id="1887" creationId="{00000000-0000-0000-0000-000000000000}"/>
          </ac:spMkLst>
        </pc:spChg>
        <pc:spChg chg="del">
          <ac:chgData name="Kebba Jeng" userId="fe4cc296-ba7d-48a2-8799-89b58d218255" providerId="ADAL" clId="{388EFDEE-447E-42B4-98EF-30C01AB2E8CD}" dt="2022-03-28T18:48:06.407" v="3053" actId="21"/>
          <ac:spMkLst>
            <pc:docMk/>
            <pc:sldMk cId="0" sldId="266"/>
            <ac:spMk id="1888" creationId="{00000000-0000-0000-0000-000000000000}"/>
          </ac:spMkLst>
        </pc:spChg>
        <pc:spChg chg="del">
          <ac:chgData name="Kebba Jeng" userId="fe4cc296-ba7d-48a2-8799-89b58d218255" providerId="ADAL" clId="{388EFDEE-447E-42B4-98EF-30C01AB2E8CD}" dt="2022-03-28T18:48:06.407" v="3053" actId="21"/>
          <ac:spMkLst>
            <pc:docMk/>
            <pc:sldMk cId="0" sldId="266"/>
            <ac:spMk id="1889" creationId="{00000000-0000-0000-0000-000000000000}"/>
          </ac:spMkLst>
        </pc:spChg>
        <pc:spChg chg="del">
          <ac:chgData name="Kebba Jeng" userId="fe4cc296-ba7d-48a2-8799-89b58d218255" providerId="ADAL" clId="{388EFDEE-447E-42B4-98EF-30C01AB2E8CD}" dt="2022-03-28T18:48:06.407" v="3053" actId="21"/>
          <ac:spMkLst>
            <pc:docMk/>
            <pc:sldMk cId="0" sldId="266"/>
            <ac:spMk id="1890" creationId="{00000000-0000-0000-0000-000000000000}"/>
          </ac:spMkLst>
        </pc:spChg>
        <pc:spChg chg="del">
          <ac:chgData name="Kebba Jeng" userId="fe4cc296-ba7d-48a2-8799-89b58d218255" providerId="ADAL" clId="{388EFDEE-447E-42B4-98EF-30C01AB2E8CD}" dt="2022-03-28T18:48:06.407" v="3053" actId="21"/>
          <ac:spMkLst>
            <pc:docMk/>
            <pc:sldMk cId="0" sldId="266"/>
            <ac:spMk id="1891"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892"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893" creationId="{00000000-0000-0000-0000-000000000000}"/>
          </ac:spMkLst>
        </pc:spChg>
        <pc:spChg chg="del">
          <ac:chgData name="Kebba Jeng" userId="fe4cc296-ba7d-48a2-8799-89b58d218255" providerId="ADAL" clId="{388EFDEE-447E-42B4-98EF-30C01AB2E8CD}" dt="2022-03-28T18:48:06.407" v="3053" actId="21"/>
          <ac:spMkLst>
            <pc:docMk/>
            <pc:sldMk cId="0" sldId="266"/>
            <ac:spMk id="1894" creationId="{00000000-0000-0000-0000-000000000000}"/>
          </ac:spMkLst>
        </pc:spChg>
        <pc:spChg chg="del">
          <ac:chgData name="Kebba Jeng" userId="fe4cc296-ba7d-48a2-8799-89b58d218255" providerId="ADAL" clId="{388EFDEE-447E-42B4-98EF-30C01AB2E8CD}" dt="2022-03-28T18:48:06.407" v="3053" actId="21"/>
          <ac:spMkLst>
            <pc:docMk/>
            <pc:sldMk cId="0" sldId="266"/>
            <ac:spMk id="1895" creationId="{00000000-0000-0000-0000-000000000000}"/>
          </ac:spMkLst>
        </pc:spChg>
        <pc:spChg chg="del">
          <ac:chgData name="Kebba Jeng" userId="fe4cc296-ba7d-48a2-8799-89b58d218255" providerId="ADAL" clId="{388EFDEE-447E-42B4-98EF-30C01AB2E8CD}" dt="2022-03-28T18:48:06.407" v="3053" actId="21"/>
          <ac:spMkLst>
            <pc:docMk/>
            <pc:sldMk cId="0" sldId="266"/>
            <ac:spMk id="1896" creationId="{00000000-0000-0000-0000-000000000000}"/>
          </ac:spMkLst>
        </pc:spChg>
        <pc:spChg chg="del">
          <ac:chgData name="Kebba Jeng" userId="fe4cc296-ba7d-48a2-8799-89b58d218255" providerId="ADAL" clId="{388EFDEE-447E-42B4-98EF-30C01AB2E8CD}" dt="2022-03-28T18:48:06.407" v="3053" actId="21"/>
          <ac:spMkLst>
            <pc:docMk/>
            <pc:sldMk cId="0" sldId="266"/>
            <ac:spMk id="1897" creationId="{00000000-0000-0000-0000-000000000000}"/>
          </ac:spMkLst>
        </pc:spChg>
        <pc:spChg chg="del">
          <ac:chgData name="Kebba Jeng" userId="fe4cc296-ba7d-48a2-8799-89b58d218255" providerId="ADAL" clId="{388EFDEE-447E-42B4-98EF-30C01AB2E8CD}" dt="2022-03-28T18:48:06.407" v="3053" actId="21"/>
          <ac:spMkLst>
            <pc:docMk/>
            <pc:sldMk cId="0" sldId="266"/>
            <ac:spMk id="1898"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899"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900" creationId="{00000000-0000-0000-0000-000000000000}"/>
          </ac:spMkLst>
        </pc:spChg>
        <pc:spChg chg="del">
          <ac:chgData name="Kebba Jeng" userId="fe4cc296-ba7d-48a2-8799-89b58d218255" providerId="ADAL" clId="{388EFDEE-447E-42B4-98EF-30C01AB2E8CD}" dt="2022-03-28T18:48:06.407" v="3053" actId="21"/>
          <ac:spMkLst>
            <pc:docMk/>
            <pc:sldMk cId="0" sldId="266"/>
            <ac:spMk id="1901" creationId="{00000000-0000-0000-0000-000000000000}"/>
          </ac:spMkLst>
        </pc:spChg>
        <pc:spChg chg="del">
          <ac:chgData name="Kebba Jeng" userId="fe4cc296-ba7d-48a2-8799-89b58d218255" providerId="ADAL" clId="{388EFDEE-447E-42B4-98EF-30C01AB2E8CD}" dt="2022-03-28T18:48:06.407" v="3053" actId="21"/>
          <ac:spMkLst>
            <pc:docMk/>
            <pc:sldMk cId="0" sldId="266"/>
            <ac:spMk id="1902" creationId="{00000000-0000-0000-0000-000000000000}"/>
          </ac:spMkLst>
        </pc:spChg>
        <pc:spChg chg="del">
          <ac:chgData name="Kebba Jeng" userId="fe4cc296-ba7d-48a2-8799-89b58d218255" providerId="ADAL" clId="{388EFDEE-447E-42B4-98EF-30C01AB2E8CD}" dt="2022-03-28T18:48:06.407" v="3053" actId="21"/>
          <ac:spMkLst>
            <pc:docMk/>
            <pc:sldMk cId="0" sldId="266"/>
            <ac:spMk id="1903" creationId="{00000000-0000-0000-0000-000000000000}"/>
          </ac:spMkLst>
        </pc:spChg>
        <pc:spChg chg="del">
          <ac:chgData name="Kebba Jeng" userId="fe4cc296-ba7d-48a2-8799-89b58d218255" providerId="ADAL" clId="{388EFDEE-447E-42B4-98EF-30C01AB2E8CD}" dt="2022-03-28T18:48:06.407" v="3053" actId="21"/>
          <ac:spMkLst>
            <pc:docMk/>
            <pc:sldMk cId="0" sldId="266"/>
            <ac:spMk id="1904" creationId="{00000000-0000-0000-0000-000000000000}"/>
          </ac:spMkLst>
        </pc:spChg>
        <pc:spChg chg="del">
          <ac:chgData name="Kebba Jeng" userId="fe4cc296-ba7d-48a2-8799-89b58d218255" providerId="ADAL" clId="{388EFDEE-447E-42B4-98EF-30C01AB2E8CD}" dt="2022-03-28T18:48:06.407" v="3053" actId="21"/>
          <ac:spMkLst>
            <pc:docMk/>
            <pc:sldMk cId="0" sldId="266"/>
            <ac:spMk id="1905" creationId="{00000000-0000-0000-0000-000000000000}"/>
          </ac:spMkLst>
        </pc:spChg>
        <pc:spChg chg="del">
          <ac:chgData name="Kebba Jeng" userId="fe4cc296-ba7d-48a2-8799-89b58d218255" providerId="ADAL" clId="{388EFDEE-447E-42B4-98EF-30C01AB2E8CD}" dt="2022-03-28T18:48:06.407" v="3053" actId="21"/>
          <ac:spMkLst>
            <pc:docMk/>
            <pc:sldMk cId="0" sldId="266"/>
            <ac:spMk id="1906" creationId="{00000000-0000-0000-0000-000000000000}"/>
          </ac:spMkLst>
        </pc:spChg>
        <pc:spChg chg="del">
          <ac:chgData name="Kebba Jeng" userId="fe4cc296-ba7d-48a2-8799-89b58d218255" providerId="ADAL" clId="{388EFDEE-447E-42B4-98EF-30C01AB2E8CD}" dt="2022-03-28T18:48:06.407" v="3053" actId="21"/>
          <ac:spMkLst>
            <pc:docMk/>
            <pc:sldMk cId="0" sldId="266"/>
            <ac:spMk id="1907"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908"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909"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910"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911"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912"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913"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914"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915" creationId="{00000000-0000-0000-0000-000000000000}"/>
          </ac:spMkLst>
        </pc:spChg>
        <pc:spChg chg="del mod">
          <ac:chgData name="Kebba Jeng" userId="fe4cc296-ba7d-48a2-8799-89b58d218255" providerId="ADAL" clId="{388EFDEE-447E-42B4-98EF-30C01AB2E8CD}" dt="2022-03-28T18:48:06.407" v="3053" actId="21"/>
          <ac:spMkLst>
            <pc:docMk/>
            <pc:sldMk cId="0" sldId="266"/>
            <ac:spMk id="1916" creationId="{00000000-0000-0000-0000-000000000000}"/>
          </ac:spMkLst>
        </pc:spChg>
        <pc:grpChg chg="add mod">
          <ac:chgData name="Kebba Jeng" userId="fe4cc296-ba7d-48a2-8799-89b58d218255" providerId="ADAL" clId="{388EFDEE-447E-42B4-98EF-30C01AB2E8CD}" dt="2022-03-28T19:00:45.579" v="3345" actId="164"/>
          <ac:grpSpMkLst>
            <pc:docMk/>
            <pc:sldMk cId="0" sldId="266"/>
            <ac:grpSpMk id="3" creationId="{8602FC6D-1430-4078-B125-43D3C7147100}"/>
          </ac:grpSpMkLst>
        </pc:grpChg>
        <pc:grpChg chg="add del mod">
          <ac:chgData name="Kebba Jeng" userId="fe4cc296-ba7d-48a2-8799-89b58d218255" providerId="ADAL" clId="{388EFDEE-447E-42B4-98EF-30C01AB2E8CD}" dt="2022-03-28T20:18:14.851" v="4809" actId="478"/>
          <ac:grpSpMkLst>
            <pc:docMk/>
            <pc:sldMk cId="0" sldId="266"/>
            <ac:grpSpMk id="4" creationId="{C8ACB63B-07E7-47BA-8423-424E87B323BF}"/>
          </ac:grpSpMkLst>
        </pc:grpChg>
        <pc:grpChg chg="add del mod">
          <ac:chgData name="Kebba Jeng" userId="fe4cc296-ba7d-48a2-8799-89b58d218255" providerId="ADAL" clId="{388EFDEE-447E-42B4-98EF-30C01AB2E8CD}" dt="2022-03-28T20:18:14.851" v="4809" actId="478"/>
          <ac:grpSpMkLst>
            <pc:docMk/>
            <pc:sldMk cId="0" sldId="266"/>
            <ac:grpSpMk id="10" creationId="{A3FE7D58-806F-4463-8845-F1165A5EDA36}"/>
          </ac:grpSpMkLst>
        </pc:grpChg>
        <pc:picChg chg="add del mod">
          <ac:chgData name="Kebba Jeng" userId="fe4cc296-ba7d-48a2-8799-89b58d218255" providerId="ADAL" clId="{388EFDEE-447E-42B4-98EF-30C01AB2E8CD}" dt="2022-03-28T20:06:36.220" v="4368" actId="478"/>
          <ac:picMkLst>
            <pc:docMk/>
            <pc:sldMk cId="0" sldId="266"/>
            <ac:picMk id="2" creationId="{FC8E625C-FCC4-46F4-A8AB-5A02EFCBEF1C}"/>
          </ac:picMkLst>
        </pc:picChg>
        <pc:picChg chg="add mod">
          <ac:chgData name="Kebba Jeng" userId="fe4cc296-ba7d-48a2-8799-89b58d218255" providerId="ADAL" clId="{388EFDEE-447E-42B4-98EF-30C01AB2E8CD}" dt="2022-03-28T20:19:03.662" v="4818" actId="1076"/>
          <ac:picMkLst>
            <pc:docMk/>
            <pc:sldMk cId="0" sldId="266"/>
            <ac:picMk id="22" creationId="{400BC747-FD88-464F-83C2-9E2E9D48AF55}"/>
          </ac:picMkLst>
        </pc:picChg>
        <pc:picChg chg="del">
          <ac:chgData name="Kebba Jeng" userId="fe4cc296-ba7d-48a2-8799-89b58d218255" providerId="ADAL" clId="{388EFDEE-447E-42B4-98EF-30C01AB2E8CD}" dt="2022-03-28T18:48:15.041" v="3058" actId="478"/>
          <ac:picMkLst>
            <pc:docMk/>
            <pc:sldMk cId="0" sldId="266"/>
            <ac:picMk id="1718" creationId="{00000000-0000-0000-0000-000000000000}"/>
          </ac:picMkLst>
        </pc:picChg>
        <pc:cxnChg chg="add mod">
          <ac:chgData name="Kebba Jeng" userId="fe4cc296-ba7d-48a2-8799-89b58d218255" providerId="ADAL" clId="{388EFDEE-447E-42B4-98EF-30C01AB2E8CD}" dt="2022-03-28T19:02:23.923" v="3368" actId="164"/>
          <ac:cxnSpMkLst>
            <pc:docMk/>
            <pc:sldMk cId="0" sldId="266"/>
            <ac:cxnSpMk id="7" creationId="{DB4FFB2B-C149-4DA8-B4A8-50996897C8BE}"/>
          </ac:cxnSpMkLst>
        </pc:cxnChg>
        <pc:cxnChg chg="add del mod">
          <ac:chgData name="Kebba Jeng" userId="fe4cc296-ba7d-48a2-8799-89b58d218255" providerId="ADAL" clId="{388EFDEE-447E-42B4-98EF-30C01AB2E8CD}" dt="2022-03-28T20:18:14.851" v="4809" actId="478"/>
          <ac:cxnSpMkLst>
            <pc:docMk/>
            <pc:sldMk cId="0" sldId="266"/>
            <ac:cxnSpMk id="13" creationId="{E6027CB2-523A-4BFC-8F82-D374900C9717}"/>
          </ac:cxnSpMkLst>
        </pc:cxnChg>
        <pc:cxnChg chg="add mod">
          <ac:chgData name="Kebba Jeng" userId="fe4cc296-ba7d-48a2-8799-89b58d218255" providerId="ADAL" clId="{388EFDEE-447E-42B4-98EF-30C01AB2E8CD}" dt="2022-03-28T19:02:35.571" v="3370" actId="14100"/>
          <ac:cxnSpMkLst>
            <pc:docMk/>
            <pc:sldMk cId="0" sldId="266"/>
            <ac:cxnSpMk id="600" creationId="{F9FB71E0-5605-4ED3-9150-1C7480169C2B}"/>
          </ac:cxnSpMkLst>
        </pc:cxnChg>
        <pc:cxnChg chg="add del mod">
          <ac:chgData name="Kebba Jeng" userId="fe4cc296-ba7d-48a2-8799-89b58d218255" providerId="ADAL" clId="{388EFDEE-447E-42B4-98EF-30C01AB2E8CD}" dt="2022-03-28T20:18:14.851" v="4809" actId="478"/>
          <ac:cxnSpMkLst>
            <pc:docMk/>
            <pc:sldMk cId="0" sldId="266"/>
            <ac:cxnSpMk id="612" creationId="{75C0D5B9-81A9-4418-9992-948D02974F10}"/>
          </ac:cxnSpMkLst>
        </pc:cxnChg>
      </pc:sldChg>
      <pc:sldChg chg="addSp delSp modSp mod ord modShow">
        <pc:chgData name="Kebba Jeng" userId="fe4cc296-ba7d-48a2-8799-89b58d218255" providerId="ADAL" clId="{388EFDEE-447E-42B4-98EF-30C01AB2E8CD}" dt="2022-03-28T19:23:06.941" v="3958" actId="729"/>
        <pc:sldMkLst>
          <pc:docMk/>
          <pc:sldMk cId="0" sldId="267"/>
        </pc:sldMkLst>
        <pc:spChg chg="add mod">
          <ac:chgData name="Kebba Jeng" userId="fe4cc296-ba7d-48a2-8799-89b58d218255" providerId="ADAL" clId="{388EFDEE-447E-42B4-98EF-30C01AB2E8CD}" dt="2022-03-28T06:38:23.440" v="54" actId="207"/>
          <ac:spMkLst>
            <pc:docMk/>
            <pc:sldMk cId="0" sldId="267"/>
            <ac:spMk id="18" creationId="{1D796DE5-D281-4D45-85C4-7991C195C370}"/>
          </ac:spMkLst>
        </pc:spChg>
        <pc:spChg chg="del">
          <ac:chgData name="Kebba Jeng" userId="fe4cc296-ba7d-48a2-8799-89b58d218255" providerId="ADAL" clId="{388EFDEE-447E-42B4-98EF-30C01AB2E8CD}" dt="2022-03-28T06:36:49.631" v="31" actId="478"/>
          <ac:spMkLst>
            <pc:docMk/>
            <pc:sldMk cId="0" sldId="267"/>
            <ac:spMk id="1932" creationId="{00000000-0000-0000-0000-000000000000}"/>
          </ac:spMkLst>
        </pc:spChg>
      </pc:sldChg>
      <pc:sldChg chg="addSp modSp">
        <pc:chgData name="Kebba Jeng" userId="fe4cc296-ba7d-48a2-8799-89b58d218255" providerId="ADAL" clId="{388EFDEE-447E-42B4-98EF-30C01AB2E8CD}" dt="2022-03-28T06:38:16.049" v="51"/>
        <pc:sldMkLst>
          <pc:docMk/>
          <pc:sldMk cId="0" sldId="268"/>
        </pc:sldMkLst>
        <pc:spChg chg="add mod">
          <ac:chgData name="Kebba Jeng" userId="fe4cc296-ba7d-48a2-8799-89b58d218255" providerId="ADAL" clId="{388EFDEE-447E-42B4-98EF-30C01AB2E8CD}" dt="2022-03-28T06:38:16.049" v="51"/>
          <ac:spMkLst>
            <pc:docMk/>
            <pc:sldMk cId="0" sldId="268"/>
            <ac:spMk id="4" creationId="{A46323EE-06FA-4E43-8E71-3EB7AB6C244D}"/>
          </ac:spMkLst>
        </pc:spChg>
      </pc:sldChg>
      <pc:sldChg chg="del">
        <pc:chgData name="Kebba Jeng" userId="fe4cc296-ba7d-48a2-8799-89b58d218255" providerId="ADAL" clId="{388EFDEE-447E-42B4-98EF-30C01AB2E8CD}" dt="2022-03-28T06:34:33.381" v="9" actId="47"/>
        <pc:sldMkLst>
          <pc:docMk/>
          <pc:sldMk cId="0" sldId="269"/>
        </pc:sldMkLst>
      </pc:sldChg>
      <pc:sldChg chg="addSp modSp mod ord">
        <pc:chgData name="Kebba Jeng" userId="fe4cc296-ba7d-48a2-8799-89b58d218255" providerId="ADAL" clId="{388EFDEE-447E-42B4-98EF-30C01AB2E8CD}" dt="2022-03-28T19:11:07.063" v="3625"/>
        <pc:sldMkLst>
          <pc:docMk/>
          <pc:sldMk cId="2429919112" sldId="270"/>
        </pc:sldMkLst>
        <pc:spChg chg="add mod">
          <ac:chgData name="Kebba Jeng" userId="fe4cc296-ba7d-48a2-8799-89b58d218255" providerId="ADAL" clId="{388EFDEE-447E-42B4-98EF-30C01AB2E8CD}" dt="2022-03-28T06:37:28.090" v="39" actId="207"/>
          <ac:spMkLst>
            <pc:docMk/>
            <pc:sldMk cId="2429919112" sldId="270"/>
            <ac:spMk id="4" creationId="{C07068C8-72DD-461D-A5D3-B78A2682029C}"/>
          </ac:spMkLst>
        </pc:spChg>
      </pc:sldChg>
      <pc:sldChg chg="addSp modSp del">
        <pc:chgData name="Kebba Jeng" userId="fe4cc296-ba7d-48a2-8799-89b58d218255" providerId="ADAL" clId="{388EFDEE-447E-42B4-98EF-30C01AB2E8CD}" dt="2022-03-28T19:23:17.112" v="3959" actId="47"/>
        <pc:sldMkLst>
          <pc:docMk/>
          <pc:sldMk cId="288900221" sldId="271"/>
        </pc:sldMkLst>
        <pc:spChg chg="add mod">
          <ac:chgData name="Kebba Jeng" userId="fe4cc296-ba7d-48a2-8799-89b58d218255" providerId="ADAL" clId="{388EFDEE-447E-42B4-98EF-30C01AB2E8CD}" dt="2022-03-28T06:38:05.067" v="48"/>
          <ac:spMkLst>
            <pc:docMk/>
            <pc:sldMk cId="288900221" sldId="271"/>
            <ac:spMk id="5" creationId="{2CD7EFE9-F653-4197-9532-1C30CB768460}"/>
          </ac:spMkLst>
        </pc:spChg>
      </pc:sldChg>
      <pc:sldChg chg="addSp modSp add mod">
        <pc:chgData name="Kebba Jeng" userId="fe4cc296-ba7d-48a2-8799-89b58d218255" providerId="ADAL" clId="{388EFDEE-447E-42B4-98EF-30C01AB2E8CD}" dt="2022-03-28T06:38:17.329" v="52"/>
        <pc:sldMkLst>
          <pc:docMk/>
          <pc:sldMk cId="971097228" sldId="272"/>
        </pc:sldMkLst>
        <pc:spChg chg="add mod">
          <ac:chgData name="Kebba Jeng" userId="fe4cc296-ba7d-48a2-8799-89b58d218255" providerId="ADAL" clId="{388EFDEE-447E-42B4-98EF-30C01AB2E8CD}" dt="2022-03-28T06:38:17.329" v="52"/>
          <ac:spMkLst>
            <pc:docMk/>
            <pc:sldMk cId="971097228" sldId="272"/>
            <ac:spMk id="4" creationId="{7F680085-8CF8-4BC9-BED2-F838F6B9F41F}"/>
          </ac:spMkLst>
        </pc:spChg>
        <pc:spChg chg="mod">
          <ac:chgData name="Kebba Jeng" userId="fe4cc296-ba7d-48a2-8799-89b58d218255" providerId="ADAL" clId="{388EFDEE-447E-42B4-98EF-30C01AB2E8CD}" dt="2022-03-28T06:34:26.888" v="8" actId="20577"/>
          <ac:spMkLst>
            <pc:docMk/>
            <pc:sldMk cId="971097228" sldId="272"/>
            <ac:spMk id="1933" creationId="{00000000-0000-0000-0000-000000000000}"/>
          </ac:spMkLst>
        </pc:spChg>
      </pc:sldChg>
      <pc:sldChg chg="modSp add mod ord modNotesTx">
        <pc:chgData name="Kebba Jeng" userId="fe4cc296-ba7d-48a2-8799-89b58d218255" providerId="ADAL" clId="{388EFDEE-447E-42B4-98EF-30C01AB2E8CD}" dt="2022-03-29T19:09:07.833" v="6157" actId="20577"/>
        <pc:sldMkLst>
          <pc:docMk/>
          <pc:sldMk cId="2756392302" sldId="273"/>
        </pc:sldMkLst>
        <pc:spChg chg="mod">
          <ac:chgData name="Kebba Jeng" userId="fe4cc296-ba7d-48a2-8799-89b58d218255" providerId="ADAL" clId="{388EFDEE-447E-42B4-98EF-30C01AB2E8CD}" dt="2022-03-28T18:43:58.777" v="3032" actId="20577"/>
          <ac:spMkLst>
            <pc:docMk/>
            <pc:sldMk cId="2756392302" sldId="273"/>
            <ac:spMk id="18" creationId="{78814215-0367-481C-9C55-4D1E578BA9A6}"/>
          </ac:spMkLst>
        </pc:spChg>
      </pc:sldChg>
      <pc:sldChg chg="addSp modSp add del mod ord modShow">
        <pc:chgData name="Kebba Jeng" userId="fe4cc296-ba7d-48a2-8799-89b58d218255" providerId="ADAL" clId="{388EFDEE-447E-42B4-98EF-30C01AB2E8CD}" dt="2022-03-28T19:22:51.734" v="3955" actId="729"/>
        <pc:sldMkLst>
          <pc:docMk/>
          <pc:sldMk cId="1640554286" sldId="337"/>
        </pc:sldMkLst>
        <pc:spChg chg="mod">
          <ac:chgData name="Kebba Jeng" userId="fe4cc296-ba7d-48a2-8799-89b58d218255" providerId="ADAL" clId="{388EFDEE-447E-42B4-98EF-30C01AB2E8CD}" dt="2022-03-28T07:02:06.786" v="547" actId="20577"/>
          <ac:spMkLst>
            <pc:docMk/>
            <pc:sldMk cId="1640554286" sldId="337"/>
            <ac:spMk id="6" creationId="{C7084CD3-3ED8-4B7F-86FD-6F712EDBAFD1}"/>
          </ac:spMkLst>
        </pc:spChg>
        <pc:spChg chg="add mod">
          <ac:chgData name="Kebba Jeng" userId="fe4cc296-ba7d-48a2-8799-89b58d218255" providerId="ADAL" clId="{388EFDEE-447E-42B4-98EF-30C01AB2E8CD}" dt="2022-03-28T07:00:12.516" v="467" actId="207"/>
          <ac:spMkLst>
            <pc:docMk/>
            <pc:sldMk cId="1640554286" sldId="337"/>
            <ac:spMk id="35" creationId="{31ED556F-D865-4633-BB02-48DABC4D73FD}"/>
          </ac:spMkLst>
        </pc:spChg>
        <pc:spChg chg="mod">
          <ac:chgData name="Kebba Jeng" userId="fe4cc296-ba7d-48a2-8799-89b58d218255" providerId="ADAL" clId="{388EFDEE-447E-42B4-98EF-30C01AB2E8CD}" dt="2022-03-28T07:01:27.073" v="538" actId="14100"/>
          <ac:spMkLst>
            <pc:docMk/>
            <pc:sldMk cId="1640554286" sldId="337"/>
            <ac:spMk id="101" creationId="{00000000-0000-0000-0000-000000000000}"/>
          </ac:spMkLst>
        </pc:spChg>
        <pc:spChg chg="mod">
          <ac:chgData name="Kebba Jeng" userId="fe4cc296-ba7d-48a2-8799-89b58d218255" providerId="ADAL" clId="{388EFDEE-447E-42B4-98EF-30C01AB2E8CD}" dt="2022-03-28T07:01:16.317" v="519" actId="20577"/>
          <ac:spMkLst>
            <pc:docMk/>
            <pc:sldMk cId="1640554286" sldId="337"/>
            <ac:spMk id="104" creationId="{00000000-0000-0000-0000-000000000000}"/>
          </ac:spMkLst>
        </pc:spChg>
        <pc:spChg chg="mod">
          <ac:chgData name="Kebba Jeng" userId="fe4cc296-ba7d-48a2-8799-89b58d218255" providerId="ADAL" clId="{388EFDEE-447E-42B4-98EF-30C01AB2E8CD}" dt="2022-03-28T07:00:30.774" v="484" actId="20577"/>
          <ac:spMkLst>
            <pc:docMk/>
            <pc:sldMk cId="1640554286" sldId="337"/>
            <ac:spMk id="105" creationId="{00000000-0000-0000-0000-000000000000}"/>
          </ac:spMkLst>
        </pc:spChg>
      </pc:sldChg>
      <pc:sldChg chg="addSp delSp modSp add mod modNotesTx">
        <pc:chgData name="Kebba Jeng" userId="fe4cc296-ba7d-48a2-8799-89b58d218255" providerId="ADAL" clId="{388EFDEE-447E-42B4-98EF-30C01AB2E8CD}" dt="2022-03-29T19:10:21.501" v="6172" actId="20577"/>
        <pc:sldMkLst>
          <pc:docMk/>
          <pc:sldMk cId="3408929191" sldId="1573"/>
        </pc:sldMkLst>
        <pc:spChg chg="mod">
          <ac:chgData name="Kebba Jeng" userId="fe4cc296-ba7d-48a2-8799-89b58d218255" providerId="ADAL" clId="{388EFDEE-447E-42B4-98EF-30C01AB2E8CD}" dt="2022-03-29T06:26:46.038" v="5128" actId="20577"/>
          <ac:spMkLst>
            <pc:docMk/>
            <pc:sldMk cId="3408929191" sldId="1573"/>
            <ac:spMk id="2" creationId="{00000000-0000-0000-0000-000000000000}"/>
          </ac:spMkLst>
        </pc:spChg>
        <pc:spChg chg="del mod topLvl">
          <ac:chgData name="Kebba Jeng" userId="fe4cc296-ba7d-48a2-8799-89b58d218255" providerId="ADAL" clId="{388EFDEE-447E-42B4-98EF-30C01AB2E8CD}" dt="2022-03-29T06:26:25.093" v="5120" actId="478"/>
          <ac:spMkLst>
            <pc:docMk/>
            <pc:sldMk cId="3408929191" sldId="1573"/>
            <ac:spMk id="4" creationId="{393E0928-9D76-4B29-A812-BBB113558888}"/>
          </ac:spMkLst>
        </pc:spChg>
        <pc:spChg chg="add del mod">
          <ac:chgData name="Kebba Jeng" userId="fe4cc296-ba7d-48a2-8799-89b58d218255" providerId="ADAL" clId="{388EFDEE-447E-42B4-98EF-30C01AB2E8CD}" dt="2022-03-29T06:26:41.301" v="5123" actId="478"/>
          <ac:spMkLst>
            <pc:docMk/>
            <pc:sldMk cId="3408929191" sldId="1573"/>
            <ac:spMk id="8" creationId="{14FED611-C3EB-4A53-9B34-73E203FA8132}"/>
          </ac:spMkLst>
        </pc:spChg>
        <pc:spChg chg="add del mod">
          <ac:chgData name="Kebba Jeng" userId="fe4cc296-ba7d-48a2-8799-89b58d218255" providerId="ADAL" clId="{388EFDEE-447E-42B4-98EF-30C01AB2E8CD}" dt="2022-03-29T06:26:41.301" v="5123" actId="478"/>
          <ac:spMkLst>
            <pc:docMk/>
            <pc:sldMk cId="3408929191" sldId="1573"/>
            <ac:spMk id="9" creationId="{A0DD7048-D869-4BB9-A6B5-8C0F92D4021C}"/>
          </ac:spMkLst>
        </pc:spChg>
        <pc:spChg chg="add mod">
          <ac:chgData name="Kebba Jeng" userId="fe4cc296-ba7d-48a2-8799-89b58d218255" providerId="ADAL" clId="{388EFDEE-447E-42B4-98EF-30C01AB2E8CD}" dt="2022-03-28T20:45:26.518" v="4952"/>
          <ac:spMkLst>
            <pc:docMk/>
            <pc:sldMk cId="3408929191" sldId="1573"/>
            <ac:spMk id="10" creationId="{725FB8C9-084E-4112-AB41-E6007AA3C234}"/>
          </ac:spMkLst>
        </pc:spChg>
        <pc:spChg chg="add mod">
          <ac:chgData name="Kebba Jeng" userId="fe4cc296-ba7d-48a2-8799-89b58d218255" providerId="ADAL" clId="{388EFDEE-447E-42B4-98EF-30C01AB2E8CD}" dt="2022-03-29T06:26:21.799" v="5119"/>
          <ac:spMkLst>
            <pc:docMk/>
            <pc:sldMk cId="3408929191" sldId="1573"/>
            <ac:spMk id="11" creationId="{4B1FC561-3BEF-48C6-9D76-70B3647978A9}"/>
          </ac:spMkLst>
        </pc:spChg>
        <pc:spChg chg="del mod topLvl">
          <ac:chgData name="Kebba Jeng" userId="fe4cc296-ba7d-48a2-8799-89b58d218255" providerId="ADAL" clId="{388EFDEE-447E-42B4-98EF-30C01AB2E8CD}" dt="2022-03-29T06:26:13.970" v="5118" actId="478"/>
          <ac:spMkLst>
            <pc:docMk/>
            <pc:sldMk cId="3408929191" sldId="1573"/>
            <ac:spMk id="18" creationId="{2F49B23F-9BF6-494D-8742-C355584C2B85}"/>
          </ac:spMkLst>
        </pc:spChg>
        <pc:spChg chg="del">
          <ac:chgData name="Kebba Jeng" userId="fe4cc296-ba7d-48a2-8799-89b58d218255" providerId="ADAL" clId="{388EFDEE-447E-42B4-98EF-30C01AB2E8CD}" dt="2022-03-28T20:21:07.986" v="4854" actId="478"/>
          <ac:spMkLst>
            <pc:docMk/>
            <pc:sldMk cId="3408929191" sldId="1573"/>
            <ac:spMk id="19" creationId="{1E632D61-6DF5-4CC8-9462-0D35233918BA}"/>
          </ac:spMkLst>
        </pc:spChg>
        <pc:spChg chg="del">
          <ac:chgData name="Kebba Jeng" userId="fe4cc296-ba7d-48a2-8799-89b58d218255" providerId="ADAL" clId="{388EFDEE-447E-42B4-98EF-30C01AB2E8CD}" dt="2022-03-28T20:21:07.986" v="4854" actId="478"/>
          <ac:spMkLst>
            <pc:docMk/>
            <pc:sldMk cId="3408929191" sldId="1573"/>
            <ac:spMk id="20" creationId="{8A4E7002-A9F0-466A-AE6C-E1E8D1168B8D}"/>
          </ac:spMkLst>
        </pc:spChg>
        <pc:grpChg chg="del">
          <ac:chgData name="Kebba Jeng" userId="fe4cc296-ba7d-48a2-8799-89b58d218255" providerId="ADAL" clId="{388EFDEE-447E-42B4-98EF-30C01AB2E8CD}" dt="2022-03-28T20:21:11.477" v="4855" actId="165"/>
          <ac:grpSpMkLst>
            <pc:docMk/>
            <pc:sldMk cId="3408929191" sldId="1573"/>
            <ac:grpSpMk id="5" creationId="{681A5A06-A2D5-4184-B14D-21DCB5B0AFAB}"/>
          </ac:grpSpMkLst>
        </pc:grpChg>
        <pc:picChg chg="add mod">
          <ac:chgData name="Kebba Jeng" userId="fe4cc296-ba7d-48a2-8799-89b58d218255" providerId="ADAL" clId="{388EFDEE-447E-42B4-98EF-30C01AB2E8CD}" dt="2022-03-29T06:26:36.189" v="5122" actId="14100"/>
          <ac:picMkLst>
            <pc:docMk/>
            <pc:sldMk cId="3408929191" sldId="1573"/>
            <ac:picMk id="5" creationId="{C6130054-B5B3-45A4-950C-99A1F5D503EF}"/>
          </ac:picMkLst>
        </pc:picChg>
      </pc:sldChg>
      <pc:sldChg chg="modSp add del mod">
        <pc:chgData name="Kebba Jeng" userId="fe4cc296-ba7d-48a2-8799-89b58d218255" providerId="ADAL" clId="{388EFDEE-447E-42B4-98EF-30C01AB2E8CD}" dt="2022-03-28T06:47:08.090" v="110" actId="47"/>
        <pc:sldMkLst>
          <pc:docMk/>
          <pc:sldMk cId="3491213437" sldId="15964"/>
        </pc:sldMkLst>
        <pc:spChg chg="mod">
          <ac:chgData name="Kebba Jeng" userId="fe4cc296-ba7d-48a2-8799-89b58d218255" providerId="ADAL" clId="{388EFDEE-447E-42B4-98EF-30C01AB2E8CD}" dt="2022-03-28T06:45:04.319" v="91" actId="14100"/>
          <ac:spMkLst>
            <pc:docMk/>
            <pc:sldMk cId="3491213437" sldId="15964"/>
            <ac:spMk id="2" creationId="{DDFACF08-93CF-461B-BFBF-A39B26EBB4F4}"/>
          </ac:spMkLst>
        </pc:spChg>
        <pc:spChg chg="mod">
          <ac:chgData name="Kebba Jeng" userId="fe4cc296-ba7d-48a2-8799-89b58d218255" providerId="ADAL" clId="{388EFDEE-447E-42B4-98EF-30C01AB2E8CD}" dt="2022-03-28T06:46:11.005" v="108" actId="20577"/>
          <ac:spMkLst>
            <pc:docMk/>
            <pc:sldMk cId="3491213437" sldId="15964"/>
            <ac:spMk id="48" creationId="{61848563-7A59-4D04-BD24-12E750BD8760}"/>
          </ac:spMkLst>
        </pc:spChg>
      </pc:sldChg>
      <pc:sldChg chg="addSp delSp modSp add del mod ord setBg modClrScheme chgLayout">
        <pc:chgData name="Kebba Jeng" userId="fe4cc296-ba7d-48a2-8799-89b58d218255" providerId="ADAL" clId="{388EFDEE-447E-42B4-98EF-30C01AB2E8CD}" dt="2022-03-28T20:11:06.152" v="4487" actId="47"/>
        <pc:sldMkLst>
          <pc:docMk/>
          <pc:sldMk cId="1993055389" sldId="1448942883"/>
        </pc:sldMkLst>
        <pc:spChg chg="add del mod">
          <ac:chgData name="Kebba Jeng" userId="fe4cc296-ba7d-48a2-8799-89b58d218255" providerId="ADAL" clId="{388EFDEE-447E-42B4-98EF-30C01AB2E8CD}" dt="2022-03-28T20:10:02.047" v="4470"/>
          <ac:spMkLst>
            <pc:docMk/>
            <pc:sldMk cId="1993055389" sldId="1448942883"/>
            <ac:spMk id="2" creationId="{47692F41-D96A-4CC7-A877-6D7138F5E6BB}"/>
          </ac:spMkLst>
        </pc:spChg>
        <pc:spChg chg="mod ord">
          <ac:chgData name="Kebba Jeng" userId="fe4cc296-ba7d-48a2-8799-89b58d218255" providerId="ADAL" clId="{388EFDEE-447E-42B4-98EF-30C01AB2E8CD}" dt="2022-03-28T20:10:13.537" v="4476" actId="700"/>
          <ac:spMkLst>
            <pc:docMk/>
            <pc:sldMk cId="1993055389" sldId="1448942883"/>
            <ac:spMk id="11" creationId="{57DD5835-71D3-4A5B-93B6-772609B80FF0}"/>
          </ac:spMkLst>
        </pc:spChg>
        <pc:spChg chg="mod">
          <ac:chgData name="Kebba Jeng" userId="fe4cc296-ba7d-48a2-8799-89b58d218255" providerId="ADAL" clId="{388EFDEE-447E-42B4-98EF-30C01AB2E8CD}" dt="2022-03-28T20:10:13.035" v="4475" actId="1076"/>
          <ac:spMkLst>
            <pc:docMk/>
            <pc:sldMk cId="1993055389" sldId="1448942883"/>
            <ac:spMk id="12" creationId="{4208E6BA-6A4B-4A9D-97D2-8A824FCDDD0A}"/>
          </ac:spMkLst>
        </pc:spChg>
        <pc:spChg chg="mod">
          <ac:chgData name="Kebba Jeng" userId="fe4cc296-ba7d-48a2-8799-89b58d218255" providerId="ADAL" clId="{388EFDEE-447E-42B4-98EF-30C01AB2E8CD}" dt="2022-03-28T20:10:13.035" v="4475" actId="1076"/>
          <ac:spMkLst>
            <pc:docMk/>
            <pc:sldMk cId="1993055389" sldId="1448942883"/>
            <ac:spMk id="13" creationId="{9550FC45-C465-4C55-91FD-3332BD0FA32D}"/>
          </ac:spMkLst>
        </pc:spChg>
      </pc:sldChg>
      <pc:sldChg chg="addSp delSp modSp add del mod">
        <pc:chgData name="Kebba Jeng" userId="fe4cc296-ba7d-48a2-8799-89b58d218255" providerId="ADAL" clId="{388EFDEE-447E-42B4-98EF-30C01AB2E8CD}" dt="2022-03-28T18:34:11.101" v="2998" actId="47"/>
        <pc:sldMkLst>
          <pc:docMk/>
          <pc:sldMk cId="3057876422" sldId="1879256067"/>
        </pc:sldMkLst>
        <pc:spChg chg="add del mod">
          <ac:chgData name="Kebba Jeng" userId="fe4cc296-ba7d-48a2-8799-89b58d218255" providerId="ADAL" clId="{388EFDEE-447E-42B4-98EF-30C01AB2E8CD}" dt="2022-03-28T18:32:33.280" v="2968"/>
          <ac:spMkLst>
            <pc:docMk/>
            <pc:sldMk cId="3057876422" sldId="1879256067"/>
            <ac:spMk id="588" creationId="{2F44AC94-B6C0-4C4E-BBF2-DB62D633D9B1}"/>
          </ac:spMkLst>
        </pc:spChg>
        <pc:spChg chg="add del mod">
          <ac:chgData name="Kebba Jeng" userId="fe4cc296-ba7d-48a2-8799-89b58d218255" providerId="ADAL" clId="{388EFDEE-447E-42B4-98EF-30C01AB2E8CD}" dt="2022-03-28T18:32:33.280" v="2968"/>
          <ac:spMkLst>
            <pc:docMk/>
            <pc:sldMk cId="3057876422" sldId="1879256067"/>
            <ac:spMk id="589" creationId="{A3266D4C-0520-4397-BF88-6771F67291CC}"/>
          </ac:spMkLst>
        </pc:spChg>
        <pc:spChg chg="add del mod">
          <ac:chgData name="Kebba Jeng" userId="fe4cc296-ba7d-48a2-8799-89b58d218255" providerId="ADAL" clId="{388EFDEE-447E-42B4-98EF-30C01AB2E8CD}" dt="2022-03-28T18:32:33.280" v="2968"/>
          <ac:spMkLst>
            <pc:docMk/>
            <pc:sldMk cId="3057876422" sldId="1879256067"/>
            <ac:spMk id="590" creationId="{1E6DDEDD-2794-4920-A33F-FFEB2601A52B}"/>
          </ac:spMkLst>
        </pc:spChg>
        <pc:spChg chg="add del mod">
          <ac:chgData name="Kebba Jeng" userId="fe4cc296-ba7d-48a2-8799-89b58d218255" providerId="ADAL" clId="{388EFDEE-447E-42B4-98EF-30C01AB2E8CD}" dt="2022-03-28T18:32:33.280" v="2968"/>
          <ac:spMkLst>
            <pc:docMk/>
            <pc:sldMk cId="3057876422" sldId="1879256067"/>
            <ac:spMk id="591" creationId="{C43E78A0-94D5-40E1-A3E5-BC665A565D50}"/>
          </ac:spMkLst>
        </pc:spChg>
        <pc:spChg chg="add del mod">
          <ac:chgData name="Kebba Jeng" userId="fe4cc296-ba7d-48a2-8799-89b58d218255" providerId="ADAL" clId="{388EFDEE-447E-42B4-98EF-30C01AB2E8CD}" dt="2022-03-28T18:32:33.280" v="2968"/>
          <ac:spMkLst>
            <pc:docMk/>
            <pc:sldMk cId="3057876422" sldId="1879256067"/>
            <ac:spMk id="592" creationId="{A54DAE42-A090-4130-B2F6-CF6589F1C3A0}"/>
          </ac:spMkLst>
        </pc:spChg>
        <pc:spChg chg="add del mod">
          <ac:chgData name="Kebba Jeng" userId="fe4cc296-ba7d-48a2-8799-89b58d218255" providerId="ADAL" clId="{388EFDEE-447E-42B4-98EF-30C01AB2E8CD}" dt="2022-03-28T18:32:33.280" v="2968"/>
          <ac:spMkLst>
            <pc:docMk/>
            <pc:sldMk cId="3057876422" sldId="1879256067"/>
            <ac:spMk id="593" creationId="{C4600DDE-CC7A-46D3-AC48-9C9804551108}"/>
          </ac:spMkLst>
        </pc:spChg>
        <pc:spChg chg="add del mod">
          <ac:chgData name="Kebba Jeng" userId="fe4cc296-ba7d-48a2-8799-89b58d218255" providerId="ADAL" clId="{388EFDEE-447E-42B4-98EF-30C01AB2E8CD}" dt="2022-03-28T18:32:33.280" v="2968"/>
          <ac:spMkLst>
            <pc:docMk/>
            <pc:sldMk cId="3057876422" sldId="1879256067"/>
            <ac:spMk id="594" creationId="{0D1C1FCE-41C8-4945-8729-5F3F7EEA9AEF}"/>
          </ac:spMkLst>
        </pc:spChg>
        <pc:spChg chg="add del mod">
          <ac:chgData name="Kebba Jeng" userId="fe4cc296-ba7d-48a2-8799-89b58d218255" providerId="ADAL" clId="{388EFDEE-447E-42B4-98EF-30C01AB2E8CD}" dt="2022-03-28T18:32:33.280" v="2968"/>
          <ac:spMkLst>
            <pc:docMk/>
            <pc:sldMk cId="3057876422" sldId="1879256067"/>
            <ac:spMk id="595" creationId="{C4D8DF26-A450-48F1-8427-FBE6EA4877F8}"/>
          </ac:spMkLst>
        </pc:spChg>
        <pc:spChg chg="add del mod">
          <ac:chgData name="Kebba Jeng" userId="fe4cc296-ba7d-48a2-8799-89b58d218255" providerId="ADAL" clId="{388EFDEE-447E-42B4-98EF-30C01AB2E8CD}" dt="2022-03-28T18:32:33.280" v="2968"/>
          <ac:spMkLst>
            <pc:docMk/>
            <pc:sldMk cId="3057876422" sldId="1879256067"/>
            <ac:spMk id="596" creationId="{E7108DC9-B0B9-40EA-978F-017C170C20DD}"/>
          </ac:spMkLst>
        </pc:spChg>
        <pc:spChg chg="add del mod">
          <ac:chgData name="Kebba Jeng" userId="fe4cc296-ba7d-48a2-8799-89b58d218255" providerId="ADAL" clId="{388EFDEE-447E-42B4-98EF-30C01AB2E8CD}" dt="2022-03-28T18:32:33.280" v="2968"/>
          <ac:spMkLst>
            <pc:docMk/>
            <pc:sldMk cId="3057876422" sldId="1879256067"/>
            <ac:spMk id="597" creationId="{05AFD8A9-BC34-4B7E-B671-28A8355A2493}"/>
          </ac:spMkLst>
        </pc:spChg>
        <pc:spChg chg="add del mod">
          <ac:chgData name="Kebba Jeng" userId="fe4cc296-ba7d-48a2-8799-89b58d218255" providerId="ADAL" clId="{388EFDEE-447E-42B4-98EF-30C01AB2E8CD}" dt="2022-03-28T18:32:33.280" v="2968"/>
          <ac:spMkLst>
            <pc:docMk/>
            <pc:sldMk cId="3057876422" sldId="1879256067"/>
            <ac:spMk id="598" creationId="{4C859CC9-9ACF-4F96-A8FD-F78BDEAC168E}"/>
          </ac:spMkLst>
        </pc:spChg>
        <pc:spChg chg="add del mod">
          <ac:chgData name="Kebba Jeng" userId="fe4cc296-ba7d-48a2-8799-89b58d218255" providerId="ADAL" clId="{388EFDEE-447E-42B4-98EF-30C01AB2E8CD}" dt="2022-03-28T18:32:33.280" v="2968"/>
          <ac:spMkLst>
            <pc:docMk/>
            <pc:sldMk cId="3057876422" sldId="1879256067"/>
            <ac:spMk id="599" creationId="{2E4C43DF-C80B-4C17-934A-18BA6E1F48B6}"/>
          </ac:spMkLst>
        </pc:spChg>
        <pc:spChg chg="add del mod">
          <ac:chgData name="Kebba Jeng" userId="fe4cc296-ba7d-48a2-8799-89b58d218255" providerId="ADAL" clId="{388EFDEE-447E-42B4-98EF-30C01AB2E8CD}" dt="2022-03-28T18:32:33.280" v="2968"/>
          <ac:spMkLst>
            <pc:docMk/>
            <pc:sldMk cId="3057876422" sldId="1879256067"/>
            <ac:spMk id="600" creationId="{842B4D41-A413-44CB-9FDE-C29B8DF84EF4}"/>
          </ac:spMkLst>
        </pc:spChg>
        <pc:spChg chg="add del mod">
          <ac:chgData name="Kebba Jeng" userId="fe4cc296-ba7d-48a2-8799-89b58d218255" providerId="ADAL" clId="{388EFDEE-447E-42B4-98EF-30C01AB2E8CD}" dt="2022-03-28T18:32:33.280" v="2968"/>
          <ac:spMkLst>
            <pc:docMk/>
            <pc:sldMk cId="3057876422" sldId="1879256067"/>
            <ac:spMk id="601" creationId="{3CAB1975-A736-466F-ABF5-BD0623154F55}"/>
          </ac:spMkLst>
        </pc:spChg>
        <pc:spChg chg="add del mod">
          <ac:chgData name="Kebba Jeng" userId="fe4cc296-ba7d-48a2-8799-89b58d218255" providerId="ADAL" clId="{388EFDEE-447E-42B4-98EF-30C01AB2E8CD}" dt="2022-03-28T18:32:33.280" v="2968"/>
          <ac:spMkLst>
            <pc:docMk/>
            <pc:sldMk cId="3057876422" sldId="1879256067"/>
            <ac:spMk id="602" creationId="{69642690-1655-4DFC-B604-E009E1D4E669}"/>
          </ac:spMkLst>
        </pc:spChg>
        <pc:spChg chg="add del mod">
          <ac:chgData name="Kebba Jeng" userId="fe4cc296-ba7d-48a2-8799-89b58d218255" providerId="ADAL" clId="{388EFDEE-447E-42B4-98EF-30C01AB2E8CD}" dt="2022-03-28T18:32:33.280" v="2968"/>
          <ac:spMkLst>
            <pc:docMk/>
            <pc:sldMk cId="3057876422" sldId="1879256067"/>
            <ac:spMk id="603" creationId="{41E4D95B-960B-44BF-8D24-938AEC20AA96}"/>
          </ac:spMkLst>
        </pc:spChg>
        <pc:spChg chg="add del mod">
          <ac:chgData name="Kebba Jeng" userId="fe4cc296-ba7d-48a2-8799-89b58d218255" providerId="ADAL" clId="{388EFDEE-447E-42B4-98EF-30C01AB2E8CD}" dt="2022-03-28T18:32:33.280" v="2968"/>
          <ac:spMkLst>
            <pc:docMk/>
            <pc:sldMk cId="3057876422" sldId="1879256067"/>
            <ac:spMk id="604" creationId="{FF385940-E5D1-4006-86B8-3EEE711AF2B3}"/>
          </ac:spMkLst>
        </pc:spChg>
        <pc:spChg chg="add del mod">
          <ac:chgData name="Kebba Jeng" userId="fe4cc296-ba7d-48a2-8799-89b58d218255" providerId="ADAL" clId="{388EFDEE-447E-42B4-98EF-30C01AB2E8CD}" dt="2022-03-28T18:32:33.280" v="2968"/>
          <ac:spMkLst>
            <pc:docMk/>
            <pc:sldMk cId="3057876422" sldId="1879256067"/>
            <ac:spMk id="605" creationId="{28048219-8217-4397-8CF9-59AAA6C1B683}"/>
          </ac:spMkLst>
        </pc:spChg>
        <pc:spChg chg="add del mod">
          <ac:chgData name="Kebba Jeng" userId="fe4cc296-ba7d-48a2-8799-89b58d218255" providerId="ADAL" clId="{388EFDEE-447E-42B4-98EF-30C01AB2E8CD}" dt="2022-03-28T18:32:33.280" v="2968"/>
          <ac:spMkLst>
            <pc:docMk/>
            <pc:sldMk cId="3057876422" sldId="1879256067"/>
            <ac:spMk id="606" creationId="{D1D50097-D8E0-4AC7-A38E-59DE960EFB0F}"/>
          </ac:spMkLst>
        </pc:spChg>
        <pc:spChg chg="add del mod">
          <ac:chgData name="Kebba Jeng" userId="fe4cc296-ba7d-48a2-8799-89b58d218255" providerId="ADAL" clId="{388EFDEE-447E-42B4-98EF-30C01AB2E8CD}" dt="2022-03-28T18:32:33.280" v="2968"/>
          <ac:spMkLst>
            <pc:docMk/>
            <pc:sldMk cId="3057876422" sldId="1879256067"/>
            <ac:spMk id="607" creationId="{C8A19EB6-B530-4D5E-98AD-96DD13EB4B09}"/>
          </ac:spMkLst>
        </pc:spChg>
        <pc:spChg chg="add del mod">
          <ac:chgData name="Kebba Jeng" userId="fe4cc296-ba7d-48a2-8799-89b58d218255" providerId="ADAL" clId="{388EFDEE-447E-42B4-98EF-30C01AB2E8CD}" dt="2022-03-28T18:32:33.280" v="2968"/>
          <ac:spMkLst>
            <pc:docMk/>
            <pc:sldMk cId="3057876422" sldId="1879256067"/>
            <ac:spMk id="608" creationId="{0AE79EFF-51BE-4570-B197-33D96F778E6E}"/>
          </ac:spMkLst>
        </pc:spChg>
        <pc:spChg chg="add del mod">
          <ac:chgData name="Kebba Jeng" userId="fe4cc296-ba7d-48a2-8799-89b58d218255" providerId="ADAL" clId="{388EFDEE-447E-42B4-98EF-30C01AB2E8CD}" dt="2022-03-28T18:32:33.280" v="2968"/>
          <ac:spMkLst>
            <pc:docMk/>
            <pc:sldMk cId="3057876422" sldId="1879256067"/>
            <ac:spMk id="609" creationId="{DC8AD3CC-8DBF-44E6-8614-13ABBE0A6A0F}"/>
          </ac:spMkLst>
        </pc:spChg>
        <pc:spChg chg="add del mod">
          <ac:chgData name="Kebba Jeng" userId="fe4cc296-ba7d-48a2-8799-89b58d218255" providerId="ADAL" clId="{388EFDEE-447E-42B4-98EF-30C01AB2E8CD}" dt="2022-03-28T18:32:33.280" v="2968"/>
          <ac:spMkLst>
            <pc:docMk/>
            <pc:sldMk cId="3057876422" sldId="1879256067"/>
            <ac:spMk id="610" creationId="{C21AB992-CE74-4751-B8DF-1D04E1A105D8}"/>
          </ac:spMkLst>
        </pc:spChg>
        <pc:spChg chg="add del mod">
          <ac:chgData name="Kebba Jeng" userId="fe4cc296-ba7d-48a2-8799-89b58d218255" providerId="ADAL" clId="{388EFDEE-447E-42B4-98EF-30C01AB2E8CD}" dt="2022-03-28T18:32:33.280" v="2968"/>
          <ac:spMkLst>
            <pc:docMk/>
            <pc:sldMk cId="3057876422" sldId="1879256067"/>
            <ac:spMk id="611" creationId="{D2C21237-D53D-4DBB-A73D-94C5B7CC0390}"/>
          </ac:spMkLst>
        </pc:spChg>
        <pc:spChg chg="add del mod">
          <ac:chgData name="Kebba Jeng" userId="fe4cc296-ba7d-48a2-8799-89b58d218255" providerId="ADAL" clId="{388EFDEE-447E-42B4-98EF-30C01AB2E8CD}" dt="2022-03-28T18:32:33.280" v="2968"/>
          <ac:spMkLst>
            <pc:docMk/>
            <pc:sldMk cId="3057876422" sldId="1879256067"/>
            <ac:spMk id="612" creationId="{4ADF3BC0-3E89-4525-9046-02D524D1B5BA}"/>
          </ac:spMkLst>
        </pc:spChg>
        <pc:spChg chg="add del mod">
          <ac:chgData name="Kebba Jeng" userId="fe4cc296-ba7d-48a2-8799-89b58d218255" providerId="ADAL" clId="{388EFDEE-447E-42B4-98EF-30C01AB2E8CD}" dt="2022-03-28T18:32:33.280" v="2968"/>
          <ac:spMkLst>
            <pc:docMk/>
            <pc:sldMk cId="3057876422" sldId="1879256067"/>
            <ac:spMk id="613" creationId="{5BAE1885-5295-450A-BFC8-8254504EF24C}"/>
          </ac:spMkLst>
        </pc:spChg>
        <pc:spChg chg="add del mod">
          <ac:chgData name="Kebba Jeng" userId="fe4cc296-ba7d-48a2-8799-89b58d218255" providerId="ADAL" clId="{388EFDEE-447E-42B4-98EF-30C01AB2E8CD}" dt="2022-03-28T18:32:33.280" v="2968"/>
          <ac:spMkLst>
            <pc:docMk/>
            <pc:sldMk cId="3057876422" sldId="1879256067"/>
            <ac:spMk id="614" creationId="{4D1641A0-8DED-4EF3-80B6-CD41AFBB72B4}"/>
          </ac:spMkLst>
        </pc:spChg>
        <pc:spChg chg="add del mod">
          <ac:chgData name="Kebba Jeng" userId="fe4cc296-ba7d-48a2-8799-89b58d218255" providerId="ADAL" clId="{388EFDEE-447E-42B4-98EF-30C01AB2E8CD}" dt="2022-03-28T18:32:33.280" v="2968"/>
          <ac:spMkLst>
            <pc:docMk/>
            <pc:sldMk cId="3057876422" sldId="1879256067"/>
            <ac:spMk id="615" creationId="{222C6816-FB5D-4CDB-A6FC-54BF93F1E0B9}"/>
          </ac:spMkLst>
        </pc:spChg>
        <pc:spChg chg="add del mod">
          <ac:chgData name="Kebba Jeng" userId="fe4cc296-ba7d-48a2-8799-89b58d218255" providerId="ADAL" clId="{388EFDEE-447E-42B4-98EF-30C01AB2E8CD}" dt="2022-03-28T18:32:33.280" v="2968"/>
          <ac:spMkLst>
            <pc:docMk/>
            <pc:sldMk cId="3057876422" sldId="1879256067"/>
            <ac:spMk id="616" creationId="{82B95ECD-607A-4C8C-9A04-EE95AA804086}"/>
          </ac:spMkLst>
        </pc:spChg>
        <pc:spChg chg="add del mod">
          <ac:chgData name="Kebba Jeng" userId="fe4cc296-ba7d-48a2-8799-89b58d218255" providerId="ADAL" clId="{388EFDEE-447E-42B4-98EF-30C01AB2E8CD}" dt="2022-03-28T18:32:33.280" v="2968"/>
          <ac:spMkLst>
            <pc:docMk/>
            <pc:sldMk cId="3057876422" sldId="1879256067"/>
            <ac:spMk id="617" creationId="{C0078F86-4F5A-4AAF-9AC5-A05522D618CB}"/>
          </ac:spMkLst>
        </pc:spChg>
        <pc:spChg chg="add del mod">
          <ac:chgData name="Kebba Jeng" userId="fe4cc296-ba7d-48a2-8799-89b58d218255" providerId="ADAL" clId="{388EFDEE-447E-42B4-98EF-30C01AB2E8CD}" dt="2022-03-28T18:32:33.280" v="2968"/>
          <ac:spMkLst>
            <pc:docMk/>
            <pc:sldMk cId="3057876422" sldId="1879256067"/>
            <ac:spMk id="618" creationId="{FEFE0F45-EE39-4019-9602-A4D17AB2CB37}"/>
          </ac:spMkLst>
        </pc:spChg>
        <pc:spChg chg="add del mod">
          <ac:chgData name="Kebba Jeng" userId="fe4cc296-ba7d-48a2-8799-89b58d218255" providerId="ADAL" clId="{388EFDEE-447E-42B4-98EF-30C01AB2E8CD}" dt="2022-03-28T18:32:33.280" v="2968"/>
          <ac:spMkLst>
            <pc:docMk/>
            <pc:sldMk cId="3057876422" sldId="1879256067"/>
            <ac:spMk id="619" creationId="{3234F254-A216-42E9-B36E-FDBEAF9620F0}"/>
          </ac:spMkLst>
        </pc:spChg>
        <pc:spChg chg="add del mod">
          <ac:chgData name="Kebba Jeng" userId="fe4cc296-ba7d-48a2-8799-89b58d218255" providerId="ADAL" clId="{388EFDEE-447E-42B4-98EF-30C01AB2E8CD}" dt="2022-03-28T18:32:33.280" v="2968"/>
          <ac:spMkLst>
            <pc:docMk/>
            <pc:sldMk cId="3057876422" sldId="1879256067"/>
            <ac:spMk id="620" creationId="{72B3DFD7-6808-4D79-B77A-18572E561968}"/>
          </ac:spMkLst>
        </pc:spChg>
        <pc:spChg chg="add del mod">
          <ac:chgData name="Kebba Jeng" userId="fe4cc296-ba7d-48a2-8799-89b58d218255" providerId="ADAL" clId="{388EFDEE-447E-42B4-98EF-30C01AB2E8CD}" dt="2022-03-28T18:32:33.280" v="2968"/>
          <ac:spMkLst>
            <pc:docMk/>
            <pc:sldMk cId="3057876422" sldId="1879256067"/>
            <ac:spMk id="621" creationId="{4D44A62F-5B25-48D5-9A2A-3C77E251102D}"/>
          </ac:spMkLst>
        </pc:spChg>
        <pc:spChg chg="add del mod">
          <ac:chgData name="Kebba Jeng" userId="fe4cc296-ba7d-48a2-8799-89b58d218255" providerId="ADAL" clId="{388EFDEE-447E-42B4-98EF-30C01AB2E8CD}" dt="2022-03-28T18:32:33.280" v="2968"/>
          <ac:spMkLst>
            <pc:docMk/>
            <pc:sldMk cId="3057876422" sldId="1879256067"/>
            <ac:spMk id="622" creationId="{325FCB05-8349-47B4-8754-0020DA15194E}"/>
          </ac:spMkLst>
        </pc:spChg>
        <pc:spChg chg="add del mod">
          <ac:chgData name="Kebba Jeng" userId="fe4cc296-ba7d-48a2-8799-89b58d218255" providerId="ADAL" clId="{388EFDEE-447E-42B4-98EF-30C01AB2E8CD}" dt="2022-03-28T18:32:33.280" v="2968"/>
          <ac:spMkLst>
            <pc:docMk/>
            <pc:sldMk cId="3057876422" sldId="1879256067"/>
            <ac:spMk id="623" creationId="{E296DFCA-0EB6-4D05-ABBC-342248D3F1DC}"/>
          </ac:spMkLst>
        </pc:spChg>
        <pc:spChg chg="add del mod">
          <ac:chgData name="Kebba Jeng" userId="fe4cc296-ba7d-48a2-8799-89b58d218255" providerId="ADAL" clId="{388EFDEE-447E-42B4-98EF-30C01AB2E8CD}" dt="2022-03-28T18:32:33.280" v="2968"/>
          <ac:spMkLst>
            <pc:docMk/>
            <pc:sldMk cId="3057876422" sldId="1879256067"/>
            <ac:spMk id="624" creationId="{C41F9928-7DAA-4B00-AD74-394FA7A30C72}"/>
          </ac:spMkLst>
        </pc:spChg>
        <pc:spChg chg="add del mod">
          <ac:chgData name="Kebba Jeng" userId="fe4cc296-ba7d-48a2-8799-89b58d218255" providerId="ADAL" clId="{388EFDEE-447E-42B4-98EF-30C01AB2E8CD}" dt="2022-03-28T18:32:33.280" v="2968"/>
          <ac:spMkLst>
            <pc:docMk/>
            <pc:sldMk cId="3057876422" sldId="1879256067"/>
            <ac:spMk id="625" creationId="{C0002AB5-A201-4258-AAC7-ED9A2373A477}"/>
          </ac:spMkLst>
        </pc:spChg>
        <pc:spChg chg="add del mod">
          <ac:chgData name="Kebba Jeng" userId="fe4cc296-ba7d-48a2-8799-89b58d218255" providerId="ADAL" clId="{388EFDEE-447E-42B4-98EF-30C01AB2E8CD}" dt="2022-03-28T18:32:33.280" v="2968"/>
          <ac:spMkLst>
            <pc:docMk/>
            <pc:sldMk cId="3057876422" sldId="1879256067"/>
            <ac:spMk id="626" creationId="{1FF8A08C-AE51-47EC-874C-A2DF85F82320}"/>
          </ac:spMkLst>
        </pc:spChg>
        <pc:spChg chg="add del mod">
          <ac:chgData name="Kebba Jeng" userId="fe4cc296-ba7d-48a2-8799-89b58d218255" providerId="ADAL" clId="{388EFDEE-447E-42B4-98EF-30C01AB2E8CD}" dt="2022-03-28T18:32:33.280" v="2968"/>
          <ac:spMkLst>
            <pc:docMk/>
            <pc:sldMk cId="3057876422" sldId="1879256067"/>
            <ac:spMk id="627" creationId="{F3BEB3A7-5A1C-4192-BE68-4F17573F92AA}"/>
          </ac:spMkLst>
        </pc:spChg>
        <pc:spChg chg="add del mod">
          <ac:chgData name="Kebba Jeng" userId="fe4cc296-ba7d-48a2-8799-89b58d218255" providerId="ADAL" clId="{388EFDEE-447E-42B4-98EF-30C01AB2E8CD}" dt="2022-03-28T18:32:33.280" v="2968"/>
          <ac:spMkLst>
            <pc:docMk/>
            <pc:sldMk cId="3057876422" sldId="1879256067"/>
            <ac:spMk id="628" creationId="{D94AC1C3-37ED-4F5E-BADE-21074A4A9C87}"/>
          </ac:spMkLst>
        </pc:spChg>
        <pc:spChg chg="add del mod">
          <ac:chgData name="Kebba Jeng" userId="fe4cc296-ba7d-48a2-8799-89b58d218255" providerId="ADAL" clId="{388EFDEE-447E-42B4-98EF-30C01AB2E8CD}" dt="2022-03-28T18:32:33.280" v="2968"/>
          <ac:spMkLst>
            <pc:docMk/>
            <pc:sldMk cId="3057876422" sldId="1879256067"/>
            <ac:spMk id="629" creationId="{DB30B62C-9D4C-4CE3-A870-DCA2F58D26E8}"/>
          </ac:spMkLst>
        </pc:spChg>
        <pc:spChg chg="add del mod">
          <ac:chgData name="Kebba Jeng" userId="fe4cc296-ba7d-48a2-8799-89b58d218255" providerId="ADAL" clId="{388EFDEE-447E-42B4-98EF-30C01AB2E8CD}" dt="2022-03-28T18:32:33.280" v="2968"/>
          <ac:spMkLst>
            <pc:docMk/>
            <pc:sldMk cId="3057876422" sldId="1879256067"/>
            <ac:spMk id="630" creationId="{B1A65621-E1AF-4E4A-940F-283CB5CE676B}"/>
          </ac:spMkLst>
        </pc:spChg>
        <pc:spChg chg="add del mod">
          <ac:chgData name="Kebba Jeng" userId="fe4cc296-ba7d-48a2-8799-89b58d218255" providerId="ADAL" clId="{388EFDEE-447E-42B4-98EF-30C01AB2E8CD}" dt="2022-03-28T18:32:33.280" v="2968"/>
          <ac:spMkLst>
            <pc:docMk/>
            <pc:sldMk cId="3057876422" sldId="1879256067"/>
            <ac:spMk id="631" creationId="{E05497ED-D8A3-4712-96A9-18B0D800F143}"/>
          </ac:spMkLst>
        </pc:spChg>
        <pc:spChg chg="add del mod">
          <ac:chgData name="Kebba Jeng" userId="fe4cc296-ba7d-48a2-8799-89b58d218255" providerId="ADAL" clId="{388EFDEE-447E-42B4-98EF-30C01AB2E8CD}" dt="2022-03-28T18:32:33.280" v="2968"/>
          <ac:spMkLst>
            <pc:docMk/>
            <pc:sldMk cId="3057876422" sldId="1879256067"/>
            <ac:spMk id="632" creationId="{D5F7342C-9257-49B5-AE13-D799456DABC3}"/>
          </ac:spMkLst>
        </pc:spChg>
        <pc:spChg chg="add del mod">
          <ac:chgData name="Kebba Jeng" userId="fe4cc296-ba7d-48a2-8799-89b58d218255" providerId="ADAL" clId="{388EFDEE-447E-42B4-98EF-30C01AB2E8CD}" dt="2022-03-28T18:32:33.280" v="2968"/>
          <ac:spMkLst>
            <pc:docMk/>
            <pc:sldMk cId="3057876422" sldId="1879256067"/>
            <ac:spMk id="633" creationId="{5A063B47-C7E4-44C6-970F-55F615D388BE}"/>
          </ac:spMkLst>
        </pc:spChg>
        <pc:spChg chg="add del mod">
          <ac:chgData name="Kebba Jeng" userId="fe4cc296-ba7d-48a2-8799-89b58d218255" providerId="ADAL" clId="{388EFDEE-447E-42B4-98EF-30C01AB2E8CD}" dt="2022-03-28T18:32:33.280" v="2968"/>
          <ac:spMkLst>
            <pc:docMk/>
            <pc:sldMk cId="3057876422" sldId="1879256067"/>
            <ac:spMk id="634" creationId="{7965A6EE-CD17-44DC-9322-AF1CC85293FF}"/>
          </ac:spMkLst>
        </pc:spChg>
        <pc:spChg chg="add del mod">
          <ac:chgData name="Kebba Jeng" userId="fe4cc296-ba7d-48a2-8799-89b58d218255" providerId="ADAL" clId="{388EFDEE-447E-42B4-98EF-30C01AB2E8CD}" dt="2022-03-28T18:32:33.280" v="2968"/>
          <ac:spMkLst>
            <pc:docMk/>
            <pc:sldMk cId="3057876422" sldId="1879256067"/>
            <ac:spMk id="635" creationId="{4BF1FE58-62A7-44E9-B4BE-2E1C44275519}"/>
          </ac:spMkLst>
        </pc:spChg>
        <pc:spChg chg="add del mod">
          <ac:chgData name="Kebba Jeng" userId="fe4cc296-ba7d-48a2-8799-89b58d218255" providerId="ADAL" clId="{388EFDEE-447E-42B4-98EF-30C01AB2E8CD}" dt="2022-03-28T18:32:33.280" v="2968"/>
          <ac:spMkLst>
            <pc:docMk/>
            <pc:sldMk cId="3057876422" sldId="1879256067"/>
            <ac:spMk id="636" creationId="{A514BE55-A7B1-4429-BE54-7184B4342EFE}"/>
          </ac:spMkLst>
        </pc:spChg>
        <pc:spChg chg="add del mod">
          <ac:chgData name="Kebba Jeng" userId="fe4cc296-ba7d-48a2-8799-89b58d218255" providerId="ADAL" clId="{388EFDEE-447E-42B4-98EF-30C01AB2E8CD}" dt="2022-03-28T18:32:33.280" v="2968"/>
          <ac:spMkLst>
            <pc:docMk/>
            <pc:sldMk cId="3057876422" sldId="1879256067"/>
            <ac:spMk id="637" creationId="{0041C7A1-3E16-4C07-8155-71B276901D19}"/>
          </ac:spMkLst>
        </pc:spChg>
        <pc:spChg chg="add del mod">
          <ac:chgData name="Kebba Jeng" userId="fe4cc296-ba7d-48a2-8799-89b58d218255" providerId="ADAL" clId="{388EFDEE-447E-42B4-98EF-30C01AB2E8CD}" dt="2022-03-28T18:32:33.280" v="2968"/>
          <ac:spMkLst>
            <pc:docMk/>
            <pc:sldMk cId="3057876422" sldId="1879256067"/>
            <ac:spMk id="638" creationId="{181A909B-081B-46F2-B4D6-6333DDABE61D}"/>
          </ac:spMkLst>
        </pc:spChg>
        <pc:spChg chg="add del mod">
          <ac:chgData name="Kebba Jeng" userId="fe4cc296-ba7d-48a2-8799-89b58d218255" providerId="ADAL" clId="{388EFDEE-447E-42B4-98EF-30C01AB2E8CD}" dt="2022-03-28T18:32:33.280" v="2968"/>
          <ac:spMkLst>
            <pc:docMk/>
            <pc:sldMk cId="3057876422" sldId="1879256067"/>
            <ac:spMk id="639" creationId="{2CE45522-AE3C-42CA-8231-8506C3D325BF}"/>
          </ac:spMkLst>
        </pc:spChg>
        <pc:spChg chg="add del mod">
          <ac:chgData name="Kebba Jeng" userId="fe4cc296-ba7d-48a2-8799-89b58d218255" providerId="ADAL" clId="{388EFDEE-447E-42B4-98EF-30C01AB2E8CD}" dt="2022-03-28T18:32:33.280" v="2968"/>
          <ac:spMkLst>
            <pc:docMk/>
            <pc:sldMk cId="3057876422" sldId="1879256067"/>
            <ac:spMk id="640" creationId="{574B66FC-A98E-46C4-8B20-925FE72587DC}"/>
          </ac:spMkLst>
        </pc:spChg>
        <pc:spChg chg="add del mod">
          <ac:chgData name="Kebba Jeng" userId="fe4cc296-ba7d-48a2-8799-89b58d218255" providerId="ADAL" clId="{388EFDEE-447E-42B4-98EF-30C01AB2E8CD}" dt="2022-03-28T18:32:33.280" v="2968"/>
          <ac:spMkLst>
            <pc:docMk/>
            <pc:sldMk cId="3057876422" sldId="1879256067"/>
            <ac:spMk id="641" creationId="{1ECDCD4E-215D-45CE-8D8D-BFC0C659B2E0}"/>
          </ac:spMkLst>
        </pc:spChg>
        <pc:spChg chg="add del mod">
          <ac:chgData name="Kebba Jeng" userId="fe4cc296-ba7d-48a2-8799-89b58d218255" providerId="ADAL" clId="{388EFDEE-447E-42B4-98EF-30C01AB2E8CD}" dt="2022-03-28T18:32:33.280" v="2968"/>
          <ac:spMkLst>
            <pc:docMk/>
            <pc:sldMk cId="3057876422" sldId="1879256067"/>
            <ac:spMk id="642" creationId="{DAF8F3EA-D48F-4B62-9D75-14904EBEA4B5}"/>
          </ac:spMkLst>
        </pc:spChg>
        <pc:spChg chg="add del mod">
          <ac:chgData name="Kebba Jeng" userId="fe4cc296-ba7d-48a2-8799-89b58d218255" providerId="ADAL" clId="{388EFDEE-447E-42B4-98EF-30C01AB2E8CD}" dt="2022-03-28T18:32:33.280" v="2968"/>
          <ac:spMkLst>
            <pc:docMk/>
            <pc:sldMk cId="3057876422" sldId="1879256067"/>
            <ac:spMk id="643" creationId="{8BEAD4C8-5CF2-4DAE-8472-1B5541B60734}"/>
          </ac:spMkLst>
        </pc:spChg>
        <pc:spChg chg="add del mod">
          <ac:chgData name="Kebba Jeng" userId="fe4cc296-ba7d-48a2-8799-89b58d218255" providerId="ADAL" clId="{388EFDEE-447E-42B4-98EF-30C01AB2E8CD}" dt="2022-03-28T18:32:33.280" v="2968"/>
          <ac:spMkLst>
            <pc:docMk/>
            <pc:sldMk cId="3057876422" sldId="1879256067"/>
            <ac:spMk id="644" creationId="{4884CBD1-0591-4495-B959-4A647910BB89}"/>
          </ac:spMkLst>
        </pc:spChg>
        <pc:spChg chg="add del mod">
          <ac:chgData name="Kebba Jeng" userId="fe4cc296-ba7d-48a2-8799-89b58d218255" providerId="ADAL" clId="{388EFDEE-447E-42B4-98EF-30C01AB2E8CD}" dt="2022-03-28T18:32:33.280" v="2968"/>
          <ac:spMkLst>
            <pc:docMk/>
            <pc:sldMk cId="3057876422" sldId="1879256067"/>
            <ac:spMk id="645" creationId="{D2BBAFD1-131E-48A3-BA57-557471405C49}"/>
          </ac:spMkLst>
        </pc:spChg>
        <pc:spChg chg="add del mod">
          <ac:chgData name="Kebba Jeng" userId="fe4cc296-ba7d-48a2-8799-89b58d218255" providerId="ADAL" clId="{388EFDEE-447E-42B4-98EF-30C01AB2E8CD}" dt="2022-03-28T18:32:33.280" v="2968"/>
          <ac:spMkLst>
            <pc:docMk/>
            <pc:sldMk cId="3057876422" sldId="1879256067"/>
            <ac:spMk id="646" creationId="{FBE1430D-3F9D-4C8A-A722-7389351D3DF9}"/>
          </ac:spMkLst>
        </pc:spChg>
        <pc:spChg chg="add del mod">
          <ac:chgData name="Kebba Jeng" userId="fe4cc296-ba7d-48a2-8799-89b58d218255" providerId="ADAL" clId="{388EFDEE-447E-42B4-98EF-30C01AB2E8CD}" dt="2022-03-28T18:32:33.280" v="2968"/>
          <ac:spMkLst>
            <pc:docMk/>
            <pc:sldMk cId="3057876422" sldId="1879256067"/>
            <ac:spMk id="647" creationId="{30CA2DD6-9DD2-4E85-8A6D-61B1F6203D33}"/>
          </ac:spMkLst>
        </pc:spChg>
        <pc:spChg chg="add del mod">
          <ac:chgData name="Kebba Jeng" userId="fe4cc296-ba7d-48a2-8799-89b58d218255" providerId="ADAL" clId="{388EFDEE-447E-42B4-98EF-30C01AB2E8CD}" dt="2022-03-28T18:32:33.280" v="2968"/>
          <ac:spMkLst>
            <pc:docMk/>
            <pc:sldMk cId="3057876422" sldId="1879256067"/>
            <ac:spMk id="648" creationId="{FB61C868-E5E2-4226-94E3-E33F3D1A0BB0}"/>
          </ac:spMkLst>
        </pc:spChg>
        <pc:spChg chg="add del mod">
          <ac:chgData name="Kebba Jeng" userId="fe4cc296-ba7d-48a2-8799-89b58d218255" providerId="ADAL" clId="{388EFDEE-447E-42B4-98EF-30C01AB2E8CD}" dt="2022-03-28T18:32:33.280" v="2968"/>
          <ac:spMkLst>
            <pc:docMk/>
            <pc:sldMk cId="3057876422" sldId="1879256067"/>
            <ac:spMk id="649" creationId="{1323D4DB-A739-4E1A-A9FE-53D6A268A954}"/>
          </ac:spMkLst>
        </pc:spChg>
        <pc:spChg chg="add del mod">
          <ac:chgData name="Kebba Jeng" userId="fe4cc296-ba7d-48a2-8799-89b58d218255" providerId="ADAL" clId="{388EFDEE-447E-42B4-98EF-30C01AB2E8CD}" dt="2022-03-28T18:32:33.280" v="2968"/>
          <ac:spMkLst>
            <pc:docMk/>
            <pc:sldMk cId="3057876422" sldId="1879256067"/>
            <ac:spMk id="650" creationId="{4014072A-F12F-4CAF-B537-78364948E548}"/>
          </ac:spMkLst>
        </pc:spChg>
        <pc:spChg chg="add del mod">
          <ac:chgData name="Kebba Jeng" userId="fe4cc296-ba7d-48a2-8799-89b58d218255" providerId="ADAL" clId="{388EFDEE-447E-42B4-98EF-30C01AB2E8CD}" dt="2022-03-28T18:32:33.280" v="2968"/>
          <ac:spMkLst>
            <pc:docMk/>
            <pc:sldMk cId="3057876422" sldId="1879256067"/>
            <ac:spMk id="651" creationId="{2D68D5CA-E4C7-4299-AEDF-2C590E0E7BFB}"/>
          </ac:spMkLst>
        </pc:spChg>
        <pc:spChg chg="add del mod">
          <ac:chgData name="Kebba Jeng" userId="fe4cc296-ba7d-48a2-8799-89b58d218255" providerId="ADAL" clId="{388EFDEE-447E-42B4-98EF-30C01AB2E8CD}" dt="2022-03-28T18:32:33.280" v="2968"/>
          <ac:spMkLst>
            <pc:docMk/>
            <pc:sldMk cId="3057876422" sldId="1879256067"/>
            <ac:spMk id="652" creationId="{0F8368D0-4B92-4104-9485-885086E9FCBF}"/>
          </ac:spMkLst>
        </pc:spChg>
        <pc:spChg chg="add del mod">
          <ac:chgData name="Kebba Jeng" userId="fe4cc296-ba7d-48a2-8799-89b58d218255" providerId="ADAL" clId="{388EFDEE-447E-42B4-98EF-30C01AB2E8CD}" dt="2022-03-28T18:32:33.280" v="2968"/>
          <ac:spMkLst>
            <pc:docMk/>
            <pc:sldMk cId="3057876422" sldId="1879256067"/>
            <ac:spMk id="653" creationId="{8D3FD5ED-805E-4BE4-A2BB-61FBC4E330B6}"/>
          </ac:spMkLst>
        </pc:spChg>
        <pc:spChg chg="add del mod">
          <ac:chgData name="Kebba Jeng" userId="fe4cc296-ba7d-48a2-8799-89b58d218255" providerId="ADAL" clId="{388EFDEE-447E-42B4-98EF-30C01AB2E8CD}" dt="2022-03-28T18:32:33.280" v="2968"/>
          <ac:spMkLst>
            <pc:docMk/>
            <pc:sldMk cId="3057876422" sldId="1879256067"/>
            <ac:spMk id="654" creationId="{C35C6F91-95FD-483D-A5E5-D81A17FDCFED}"/>
          </ac:spMkLst>
        </pc:spChg>
        <pc:spChg chg="add del mod">
          <ac:chgData name="Kebba Jeng" userId="fe4cc296-ba7d-48a2-8799-89b58d218255" providerId="ADAL" clId="{388EFDEE-447E-42B4-98EF-30C01AB2E8CD}" dt="2022-03-28T18:32:33.280" v="2968"/>
          <ac:spMkLst>
            <pc:docMk/>
            <pc:sldMk cId="3057876422" sldId="1879256067"/>
            <ac:spMk id="655" creationId="{4FAE9B0B-3F53-43D0-A7C8-76C55FF0C274}"/>
          </ac:spMkLst>
        </pc:spChg>
        <pc:spChg chg="add del mod">
          <ac:chgData name="Kebba Jeng" userId="fe4cc296-ba7d-48a2-8799-89b58d218255" providerId="ADAL" clId="{388EFDEE-447E-42B4-98EF-30C01AB2E8CD}" dt="2022-03-28T18:32:33.280" v="2968"/>
          <ac:spMkLst>
            <pc:docMk/>
            <pc:sldMk cId="3057876422" sldId="1879256067"/>
            <ac:spMk id="656" creationId="{5E2345CA-2949-409E-B242-3CEB4CA39F76}"/>
          </ac:spMkLst>
        </pc:spChg>
        <pc:spChg chg="add del mod">
          <ac:chgData name="Kebba Jeng" userId="fe4cc296-ba7d-48a2-8799-89b58d218255" providerId="ADAL" clId="{388EFDEE-447E-42B4-98EF-30C01AB2E8CD}" dt="2022-03-28T18:32:33.280" v="2968"/>
          <ac:spMkLst>
            <pc:docMk/>
            <pc:sldMk cId="3057876422" sldId="1879256067"/>
            <ac:spMk id="657" creationId="{29D85260-6644-4DCE-95EB-20BFA40E776C}"/>
          </ac:spMkLst>
        </pc:spChg>
        <pc:spChg chg="add del mod">
          <ac:chgData name="Kebba Jeng" userId="fe4cc296-ba7d-48a2-8799-89b58d218255" providerId="ADAL" clId="{388EFDEE-447E-42B4-98EF-30C01AB2E8CD}" dt="2022-03-28T18:32:33.280" v="2968"/>
          <ac:spMkLst>
            <pc:docMk/>
            <pc:sldMk cId="3057876422" sldId="1879256067"/>
            <ac:spMk id="658" creationId="{EA5400A2-9AEF-4DA6-B9E2-592BD940396B}"/>
          </ac:spMkLst>
        </pc:spChg>
        <pc:spChg chg="add del mod">
          <ac:chgData name="Kebba Jeng" userId="fe4cc296-ba7d-48a2-8799-89b58d218255" providerId="ADAL" clId="{388EFDEE-447E-42B4-98EF-30C01AB2E8CD}" dt="2022-03-28T18:32:33.280" v="2968"/>
          <ac:spMkLst>
            <pc:docMk/>
            <pc:sldMk cId="3057876422" sldId="1879256067"/>
            <ac:spMk id="659" creationId="{47E8C376-8C1B-4085-875B-94176EA4F2CA}"/>
          </ac:spMkLst>
        </pc:spChg>
        <pc:spChg chg="add del mod">
          <ac:chgData name="Kebba Jeng" userId="fe4cc296-ba7d-48a2-8799-89b58d218255" providerId="ADAL" clId="{388EFDEE-447E-42B4-98EF-30C01AB2E8CD}" dt="2022-03-28T18:32:33.280" v="2968"/>
          <ac:spMkLst>
            <pc:docMk/>
            <pc:sldMk cId="3057876422" sldId="1879256067"/>
            <ac:spMk id="660" creationId="{CE25F41F-5978-40B4-8E2C-D4A9D4D048CE}"/>
          </ac:spMkLst>
        </pc:spChg>
        <pc:spChg chg="add del mod">
          <ac:chgData name="Kebba Jeng" userId="fe4cc296-ba7d-48a2-8799-89b58d218255" providerId="ADAL" clId="{388EFDEE-447E-42B4-98EF-30C01AB2E8CD}" dt="2022-03-28T18:32:33.280" v="2968"/>
          <ac:spMkLst>
            <pc:docMk/>
            <pc:sldMk cId="3057876422" sldId="1879256067"/>
            <ac:spMk id="661" creationId="{989DA4BF-79CB-4AA3-B739-003F8194B4B2}"/>
          </ac:spMkLst>
        </pc:spChg>
        <pc:spChg chg="add del mod">
          <ac:chgData name="Kebba Jeng" userId="fe4cc296-ba7d-48a2-8799-89b58d218255" providerId="ADAL" clId="{388EFDEE-447E-42B4-98EF-30C01AB2E8CD}" dt="2022-03-28T18:32:33.280" v="2968"/>
          <ac:spMkLst>
            <pc:docMk/>
            <pc:sldMk cId="3057876422" sldId="1879256067"/>
            <ac:spMk id="662" creationId="{C3A1E024-E226-463D-A936-85F9AF50166A}"/>
          </ac:spMkLst>
        </pc:spChg>
        <pc:spChg chg="add del mod">
          <ac:chgData name="Kebba Jeng" userId="fe4cc296-ba7d-48a2-8799-89b58d218255" providerId="ADAL" clId="{388EFDEE-447E-42B4-98EF-30C01AB2E8CD}" dt="2022-03-28T18:32:33.280" v="2968"/>
          <ac:spMkLst>
            <pc:docMk/>
            <pc:sldMk cId="3057876422" sldId="1879256067"/>
            <ac:spMk id="663" creationId="{92FFFDDC-DA43-4CDA-896D-5F79B2313956}"/>
          </ac:spMkLst>
        </pc:spChg>
        <pc:spChg chg="add del mod">
          <ac:chgData name="Kebba Jeng" userId="fe4cc296-ba7d-48a2-8799-89b58d218255" providerId="ADAL" clId="{388EFDEE-447E-42B4-98EF-30C01AB2E8CD}" dt="2022-03-28T18:32:33.280" v="2968"/>
          <ac:spMkLst>
            <pc:docMk/>
            <pc:sldMk cId="3057876422" sldId="1879256067"/>
            <ac:spMk id="664" creationId="{FB427181-282D-4454-95A3-CC863C2968BF}"/>
          </ac:spMkLst>
        </pc:spChg>
        <pc:spChg chg="add del mod">
          <ac:chgData name="Kebba Jeng" userId="fe4cc296-ba7d-48a2-8799-89b58d218255" providerId="ADAL" clId="{388EFDEE-447E-42B4-98EF-30C01AB2E8CD}" dt="2022-03-28T18:32:33.280" v="2968"/>
          <ac:spMkLst>
            <pc:docMk/>
            <pc:sldMk cId="3057876422" sldId="1879256067"/>
            <ac:spMk id="665" creationId="{8C308DE4-C2EC-41E1-AF6C-2EC6F5E6CA8E}"/>
          </ac:spMkLst>
        </pc:spChg>
        <pc:spChg chg="add del mod">
          <ac:chgData name="Kebba Jeng" userId="fe4cc296-ba7d-48a2-8799-89b58d218255" providerId="ADAL" clId="{388EFDEE-447E-42B4-98EF-30C01AB2E8CD}" dt="2022-03-28T18:32:33.280" v="2968"/>
          <ac:spMkLst>
            <pc:docMk/>
            <pc:sldMk cId="3057876422" sldId="1879256067"/>
            <ac:spMk id="666" creationId="{163D2EBE-22C1-46C7-A3C1-37499D1E1F74}"/>
          </ac:spMkLst>
        </pc:spChg>
        <pc:spChg chg="add del mod">
          <ac:chgData name="Kebba Jeng" userId="fe4cc296-ba7d-48a2-8799-89b58d218255" providerId="ADAL" clId="{388EFDEE-447E-42B4-98EF-30C01AB2E8CD}" dt="2022-03-28T18:32:33.280" v="2968"/>
          <ac:spMkLst>
            <pc:docMk/>
            <pc:sldMk cId="3057876422" sldId="1879256067"/>
            <ac:spMk id="667" creationId="{3B1B8BA0-6024-4CB2-AE31-104D110B1BDC}"/>
          </ac:spMkLst>
        </pc:spChg>
        <pc:spChg chg="add del mod">
          <ac:chgData name="Kebba Jeng" userId="fe4cc296-ba7d-48a2-8799-89b58d218255" providerId="ADAL" clId="{388EFDEE-447E-42B4-98EF-30C01AB2E8CD}" dt="2022-03-28T18:32:33.280" v="2968"/>
          <ac:spMkLst>
            <pc:docMk/>
            <pc:sldMk cId="3057876422" sldId="1879256067"/>
            <ac:spMk id="668" creationId="{0F52195B-A830-4458-BB2F-79FC59A332B6}"/>
          </ac:spMkLst>
        </pc:spChg>
        <pc:spChg chg="add del mod">
          <ac:chgData name="Kebba Jeng" userId="fe4cc296-ba7d-48a2-8799-89b58d218255" providerId="ADAL" clId="{388EFDEE-447E-42B4-98EF-30C01AB2E8CD}" dt="2022-03-28T18:32:33.280" v="2968"/>
          <ac:spMkLst>
            <pc:docMk/>
            <pc:sldMk cId="3057876422" sldId="1879256067"/>
            <ac:spMk id="669" creationId="{1DE0A4D6-5B45-4E65-8EA8-7731C15D9837}"/>
          </ac:spMkLst>
        </pc:spChg>
        <pc:spChg chg="add del mod">
          <ac:chgData name="Kebba Jeng" userId="fe4cc296-ba7d-48a2-8799-89b58d218255" providerId="ADAL" clId="{388EFDEE-447E-42B4-98EF-30C01AB2E8CD}" dt="2022-03-28T18:32:33.280" v="2968"/>
          <ac:spMkLst>
            <pc:docMk/>
            <pc:sldMk cId="3057876422" sldId="1879256067"/>
            <ac:spMk id="670" creationId="{217DE7D8-DC9F-453E-B9FE-936F58B1BBA7}"/>
          </ac:spMkLst>
        </pc:spChg>
        <pc:spChg chg="add del mod">
          <ac:chgData name="Kebba Jeng" userId="fe4cc296-ba7d-48a2-8799-89b58d218255" providerId="ADAL" clId="{388EFDEE-447E-42B4-98EF-30C01AB2E8CD}" dt="2022-03-28T18:32:33.280" v="2968"/>
          <ac:spMkLst>
            <pc:docMk/>
            <pc:sldMk cId="3057876422" sldId="1879256067"/>
            <ac:spMk id="671" creationId="{D4DFD5DE-F4AA-4D35-BDB0-BED5222AE424}"/>
          </ac:spMkLst>
        </pc:spChg>
        <pc:spChg chg="add del mod">
          <ac:chgData name="Kebba Jeng" userId="fe4cc296-ba7d-48a2-8799-89b58d218255" providerId="ADAL" clId="{388EFDEE-447E-42B4-98EF-30C01AB2E8CD}" dt="2022-03-28T18:32:33.280" v="2968"/>
          <ac:spMkLst>
            <pc:docMk/>
            <pc:sldMk cId="3057876422" sldId="1879256067"/>
            <ac:spMk id="672" creationId="{E098D9C4-D479-485C-9912-CAA2E45DD80B}"/>
          </ac:spMkLst>
        </pc:spChg>
        <pc:spChg chg="add del mod">
          <ac:chgData name="Kebba Jeng" userId="fe4cc296-ba7d-48a2-8799-89b58d218255" providerId="ADAL" clId="{388EFDEE-447E-42B4-98EF-30C01AB2E8CD}" dt="2022-03-28T18:32:33.280" v="2968"/>
          <ac:spMkLst>
            <pc:docMk/>
            <pc:sldMk cId="3057876422" sldId="1879256067"/>
            <ac:spMk id="673" creationId="{9012CD54-D2E7-4091-AED6-42D72A786C98}"/>
          </ac:spMkLst>
        </pc:spChg>
        <pc:spChg chg="add del mod">
          <ac:chgData name="Kebba Jeng" userId="fe4cc296-ba7d-48a2-8799-89b58d218255" providerId="ADAL" clId="{388EFDEE-447E-42B4-98EF-30C01AB2E8CD}" dt="2022-03-28T18:32:33.280" v="2968"/>
          <ac:spMkLst>
            <pc:docMk/>
            <pc:sldMk cId="3057876422" sldId="1879256067"/>
            <ac:spMk id="674" creationId="{10C753B3-7FAB-4EFA-BB05-81EDA668C8E4}"/>
          </ac:spMkLst>
        </pc:spChg>
        <pc:spChg chg="add del mod">
          <ac:chgData name="Kebba Jeng" userId="fe4cc296-ba7d-48a2-8799-89b58d218255" providerId="ADAL" clId="{388EFDEE-447E-42B4-98EF-30C01AB2E8CD}" dt="2022-03-28T18:32:33.280" v="2968"/>
          <ac:spMkLst>
            <pc:docMk/>
            <pc:sldMk cId="3057876422" sldId="1879256067"/>
            <ac:spMk id="675" creationId="{523E4917-56D0-4D97-A4CB-768BE9B283A6}"/>
          </ac:spMkLst>
        </pc:spChg>
        <pc:spChg chg="add del mod">
          <ac:chgData name="Kebba Jeng" userId="fe4cc296-ba7d-48a2-8799-89b58d218255" providerId="ADAL" clId="{388EFDEE-447E-42B4-98EF-30C01AB2E8CD}" dt="2022-03-28T18:32:33.280" v="2968"/>
          <ac:spMkLst>
            <pc:docMk/>
            <pc:sldMk cId="3057876422" sldId="1879256067"/>
            <ac:spMk id="676" creationId="{E4228EE1-6917-48B7-AFCA-1C307038821A}"/>
          </ac:spMkLst>
        </pc:spChg>
        <pc:spChg chg="add del mod">
          <ac:chgData name="Kebba Jeng" userId="fe4cc296-ba7d-48a2-8799-89b58d218255" providerId="ADAL" clId="{388EFDEE-447E-42B4-98EF-30C01AB2E8CD}" dt="2022-03-28T18:32:33.280" v="2968"/>
          <ac:spMkLst>
            <pc:docMk/>
            <pc:sldMk cId="3057876422" sldId="1879256067"/>
            <ac:spMk id="677" creationId="{31211E10-F8C9-49F1-A368-4860DC6F23A0}"/>
          </ac:spMkLst>
        </pc:spChg>
        <pc:spChg chg="add del mod">
          <ac:chgData name="Kebba Jeng" userId="fe4cc296-ba7d-48a2-8799-89b58d218255" providerId="ADAL" clId="{388EFDEE-447E-42B4-98EF-30C01AB2E8CD}" dt="2022-03-28T18:32:33.280" v="2968"/>
          <ac:spMkLst>
            <pc:docMk/>
            <pc:sldMk cId="3057876422" sldId="1879256067"/>
            <ac:spMk id="678" creationId="{4DB5ECA7-D859-40AA-B8D9-6C59AFE18D4E}"/>
          </ac:spMkLst>
        </pc:spChg>
        <pc:spChg chg="add del mod">
          <ac:chgData name="Kebba Jeng" userId="fe4cc296-ba7d-48a2-8799-89b58d218255" providerId="ADAL" clId="{388EFDEE-447E-42B4-98EF-30C01AB2E8CD}" dt="2022-03-28T18:32:33.280" v="2968"/>
          <ac:spMkLst>
            <pc:docMk/>
            <pc:sldMk cId="3057876422" sldId="1879256067"/>
            <ac:spMk id="679" creationId="{AEC4AC8F-83EE-42F2-ACE1-FC595917E782}"/>
          </ac:spMkLst>
        </pc:spChg>
        <pc:spChg chg="add del mod">
          <ac:chgData name="Kebba Jeng" userId="fe4cc296-ba7d-48a2-8799-89b58d218255" providerId="ADAL" clId="{388EFDEE-447E-42B4-98EF-30C01AB2E8CD}" dt="2022-03-28T18:32:33.280" v="2968"/>
          <ac:spMkLst>
            <pc:docMk/>
            <pc:sldMk cId="3057876422" sldId="1879256067"/>
            <ac:spMk id="680" creationId="{BB669C26-6DF9-4E91-A587-8EF159BF8A79}"/>
          </ac:spMkLst>
        </pc:spChg>
        <pc:spChg chg="add del mod">
          <ac:chgData name="Kebba Jeng" userId="fe4cc296-ba7d-48a2-8799-89b58d218255" providerId="ADAL" clId="{388EFDEE-447E-42B4-98EF-30C01AB2E8CD}" dt="2022-03-28T18:32:33.280" v="2968"/>
          <ac:spMkLst>
            <pc:docMk/>
            <pc:sldMk cId="3057876422" sldId="1879256067"/>
            <ac:spMk id="681" creationId="{238283E3-E4CF-4B78-AA77-1CDAEB2791C1}"/>
          </ac:spMkLst>
        </pc:spChg>
        <pc:spChg chg="add del mod">
          <ac:chgData name="Kebba Jeng" userId="fe4cc296-ba7d-48a2-8799-89b58d218255" providerId="ADAL" clId="{388EFDEE-447E-42B4-98EF-30C01AB2E8CD}" dt="2022-03-28T18:32:33.280" v="2968"/>
          <ac:spMkLst>
            <pc:docMk/>
            <pc:sldMk cId="3057876422" sldId="1879256067"/>
            <ac:spMk id="682" creationId="{524EB19D-6011-4F9C-8F1C-DBE3F876556E}"/>
          </ac:spMkLst>
        </pc:spChg>
        <pc:spChg chg="add del mod">
          <ac:chgData name="Kebba Jeng" userId="fe4cc296-ba7d-48a2-8799-89b58d218255" providerId="ADAL" clId="{388EFDEE-447E-42B4-98EF-30C01AB2E8CD}" dt="2022-03-28T18:32:33.280" v="2968"/>
          <ac:spMkLst>
            <pc:docMk/>
            <pc:sldMk cId="3057876422" sldId="1879256067"/>
            <ac:spMk id="683" creationId="{46C243C6-9A6A-43C3-A7A1-FA9FCA1636E1}"/>
          </ac:spMkLst>
        </pc:spChg>
        <pc:spChg chg="add del mod">
          <ac:chgData name="Kebba Jeng" userId="fe4cc296-ba7d-48a2-8799-89b58d218255" providerId="ADAL" clId="{388EFDEE-447E-42B4-98EF-30C01AB2E8CD}" dt="2022-03-28T18:32:33.280" v="2968"/>
          <ac:spMkLst>
            <pc:docMk/>
            <pc:sldMk cId="3057876422" sldId="1879256067"/>
            <ac:spMk id="684" creationId="{53BAFDC9-C466-4640-8BDF-4A8147821012}"/>
          </ac:spMkLst>
        </pc:spChg>
        <pc:spChg chg="add del mod">
          <ac:chgData name="Kebba Jeng" userId="fe4cc296-ba7d-48a2-8799-89b58d218255" providerId="ADAL" clId="{388EFDEE-447E-42B4-98EF-30C01AB2E8CD}" dt="2022-03-28T18:32:33.280" v="2968"/>
          <ac:spMkLst>
            <pc:docMk/>
            <pc:sldMk cId="3057876422" sldId="1879256067"/>
            <ac:spMk id="685" creationId="{7C1B4882-6048-4660-9D8F-F60776F36605}"/>
          </ac:spMkLst>
        </pc:spChg>
        <pc:spChg chg="add del mod">
          <ac:chgData name="Kebba Jeng" userId="fe4cc296-ba7d-48a2-8799-89b58d218255" providerId="ADAL" clId="{388EFDEE-447E-42B4-98EF-30C01AB2E8CD}" dt="2022-03-28T18:32:33.280" v="2968"/>
          <ac:spMkLst>
            <pc:docMk/>
            <pc:sldMk cId="3057876422" sldId="1879256067"/>
            <ac:spMk id="686" creationId="{3D6B37CE-D873-4E57-96AF-3CC4825527A7}"/>
          </ac:spMkLst>
        </pc:spChg>
        <pc:spChg chg="add del mod">
          <ac:chgData name="Kebba Jeng" userId="fe4cc296-ba7d-48a2-8799-89b58d218255" providerId="ADAL" clId="{388EFDEE-447E-42B4-98EF-30C01AB2E8CD}" dt="2022-03-28T18:32:33.280" v="2968"/>
          <ac:spMkLst>
            <pc:docMk/>
            <pc:sldMk cId="3057876422" sldId="1879256067"/>
            <ac:spMk id="687" creationId="{B41AD755-AB0A-4F03-809F-D05CAB404A2C}"/>
          </ac:spMkLst>
        </pc:spChg>
        <pc:spChg chg="add del mod">
          <ac:chgData name="Kebba Jeng" userId="fe4cc296-ba7d-48a2-8799-89b58d218255" providerId="ADAL" clId="{388EFDEE-447E-42B4-98EF-30C01AB2E8CD}" dt="2022-03-28T18:32:33.280" v="2968"/>
          <ac:spMkLst>
            <pc:docMk/>
            <pc:sldMk cId="3057876422" sldId="1879256067"/>
            <ac:spMk id="688" creationId="{F64AFE48-84FA-4BB7-98D2-13D568F5352D}"/>
          </ac:spMkLst>
        </pc:spChg>
        <pc:spChg chg="add del mod">
          <ac:chgData name="Kebba Jeng" userId="fe4cc296-ba7d-48a2-8799-89b58d218255" providerId="ADAL" clId="{388EFDEE-447E-42B4-98EF-30C01AB2E8CD}" dt="2022-03-28T18:32:33.280" v="2968"/>
          <ac:spMkLst>
            <pc:docMk/>
            <pc:sldMk cId="3057876422" sldId="1879256067"/>
            <ac:spMk id="689" creationId="{31E07E1C-42EB-45A8-9547-B9A41271BC36}"/>
          </ac:spMkLst>
        </pc:spChg>
        <pc:spChg chg="add del mod">
          <ac:chgData name="Kebba Jeng" userId="fe4cc296-ba7d-48a2-8799-89b58d218255" providerId="ADAL" clId="{388EFDEE-447E-42B4-98EF-30C01AB2E8CD}" dt="2022-03-28T18:32:33.280" v="2968"/>
          <ac:spMkLst>
            <pc:docMk/>
            <pc:sldMk cId="3057876422" sldId="1879256067"/>
            <ac:spMk id="690" creationId="{82E29C4F-155C-4956-A175-6DA41F7AE453}"/>
          </ac:spMkLst>
        </pc:spChg>
        <pc:spChg chg="add del mod">
          <ac:chgData name="Kebba Jeng" userId="fe4cc296-ba7d-48a2-8799-89b58d218255" providerId="ADAL" clId="{388EFDEE-447E-42B4-98EF-30C01AB2E8CD}" dt="2022-03-28T18:32:33.280" v="2968"/>
          <ac:spMkLst>
            <pc:docMk/>
            <pc:sldMk cId="3057876422" sldId="1879256067"/>
            <ac:spMk id="691" creationId="{F7120723-1883-4991-B8F6-94DD80BAAE92}"/>
          </ac:spMkLst>
        </pc:spChg>
        <pc:spChg chg="add del mod">
          <ac:chgData name="Kebba Jeng" userId="fe4cc296-ba7d-48a2-8799-89b58d218255" providerId="ADAL" clId="{388EFDEE-447E-42B4-98EF-30C01AB2E8CD}" dt="2022-03-28T18:32:33.280" v="2968"/>
          <ac:spMkLst>
            <pc:docMk/>
            <pc:sldMk cId="3057876422" sldId="1879256067"/>
            <ac:spMk id="692" creationId="{A2017C18-B925-40BF-B11D-139AE9191FEF}"/>
          </ac:spMkLst>
        </pc:spChg>
        <pc:spChg chg="add del mod">
          <ac:chgData name="Kebba Jeng" userId="fe4cc296-ba7d-48a2-8799-89b58d218255" providerId="ADAL" clId="{388EFDEE-447E-42B4-98EF-30C01AB2E8CD}" dt="2022-03-28T18:32:33.280" v="2968"/>
          <ac:spMkLst>
            <pc:docMk/>
            <pc:sldMk cId="3057876422" sldId="1879256067"/>
            <ac:spMk id="693" creationId="{6B721E1A-1E18-4811-96E5-73E0EBCC40B2}"/>
          </ac:spMkLst>
        </pc:spChg>
        <pc:spChg chg="add del mod">
          <ac:chgData name="Kebba Jeng" userId="fe4cc296-ba7d-48a2-8799-89b58d218255" providerId="ADAL" clId="{388EFDEE-447E-42B4-98EF-30C01AB2E8CD}" dt="2022-03-28T18:32:33.280" v="2968"/>
          <ac:spMkLst>
            <pc:docMk/>
            <pc:sldMk cId="3057876422" sldId="1879256067"/>
            <ac:spMk id="694" creationId="{A3FC6A31-DDE5-4F12-8D87-80B1F12CD1FE}"/>
          </ac:spMkLst>
        </pc:spChg>
        <pc:spChg chg="add del mod">
          <ac:chgData name="Kebba Jeng" userId="fe4cc296-ba7d-48a2-8799-89b58d218255" providerId="ADAL" clId="{388EFDEE-447E-42B4-98EF-30C01AB2E8CD}" dt="2022-03-28T18:32:33.280" v="2968"/>
          <ac:spMkLst>
            <pc:docMk/>
            <pc:sldMk cId="3057876422" sldId="1879256067"/>
            <ac:spMk id="695" creationId="{217EB098-F560-4884-AD52-2750D1CB622F}"/>
          </ac:spMkLst>
        </pc:spChg>
        <pc:spChg chg="add del mod">
          <ac:chgData name="Kebba Jeng" userId="fe4cc296-ba7d-48a2-8799-89b58d218255" providerId="ADAL" clId="{388EFDEE-447E-42B4-98EF-30C01AB2E8CD}" dt="2022-03-28T18:32:33.280" v="2968"/>
          <ac:spMkLst>
            <pc:docMk/>
            <pc:sldMk cId="3057876422" sldId="1879256067"/>
            <ac:spMk id="696" creationId="{E36FBE9C-1E8F-4B95-91E0-459D1E61BF5A}"/>
          </ac:spMkLst>
        </pc:spChg>
        <pc:spChg chg="add del mod">
          <ac:chgData name="Kebba Jeng" userId="fe4cc296-ba7d-48a2-8799-89b58d218255" providerId="ADAL" clId="{388EFDEE-447E-42B4-98EF-30C01AB2E8CD}" dt="2022-03-28T18:32:33.280" v="2968"/>
          <ac:spMkLst>
            <pc:docMk/>
            <pc:sldMk cId="3057876422" sldId="1879256067"/>
            <ac:spMk id="697" creationId="{1DC2BDAA-644D-436C-8DFC-B70C49C8FBA6}"/>
          </ac:spMkLst>
        </pc:spChg>
        <pc:spChg chg="add del mod">
          <ac:chgData name="Kebba Jeng" userId="fe4cc296-ba7d-48a2-8799-89b58d218255" providerId="ADAL" clId="{388EFDEE-447E-42B4-98EF-30C01AB2E8CD}" dt="2022-03-28T18:32:33.280" v="2968"/>
          <ac:spMkLst>
            <pc:docMk/>
            <pc:sldMk cId="3057876422" sldId="1879256067"/>
            <ac:spMk id="698" creationId="{70732D53-55A2-4477-AAC5-E30016F27957}"/>
          </ac:spMkLst>
        </pc:spChg>
        <pc:spChg chg="add del mod">
          <ac:chgData name="Kebba Jeng" userId="fe4cc296-ba7d-48a2-8799-89b58d218255" providerId="ADAL" clId="{388EFDEE-447E-42B4-98EF-30C01AB2E8CD}" dt="2022-03-28T18:32:33.280" v="2968"/>
          <ac:spMkLst>
            <pc:docMk/>
            <pc:sldMk cId="3057876422" sldId="1879256067"/>
            <ac:spMk id="699" creationId="{234EF006-D1DC-4472-9750-F63E33D3920F}"/>
          </ac:spMkLst>
        </pc:spChg>
        <pc:spChg chg="add del mod">
          <ac:chgData name="Kebba Jeng" userId="fe4cc296-ba7d-48a2-8799-89b58d218255" providerId="ADAL" clId="{388EFDEE-447E-42B4-98EF-30C01AB2E8CD}" dt="2022-03-28T18:32:33.280" v="2968"/>
          <ac:spMkLst>
            <pc:docMk/>
            <pc:sldMk cId="3057876422" sldId="1879256067"/>
            <ac:spMk id="700" creationId="{7D6787AA-3B5D-437A-8D83-EE8AD40F12A5}"/>
          </ac:spMkLst>
        </pc:spChg>
        <pc:spChg chg="add del mod">
          <ac:chgData name="Kebba Jeng" userId="fe4cc296-ba7d-48a2-8799-89b58d218255" providerId="ADAL" clId="{388EFDEE-447E-42B4-98EF-30C01AB2E8CD}" dt="2022-03-28T18:32:33.280" v="2968"/>
          <ac:spMkLst>
            <pc:docMk/>
            <pc:sldMk cId="3057876422" sldId="1879256067"/>
            <ac:spMk id="701" creationId="{FADF4DA4-C862-40D5-BAA1-206FBFCE4D4B}"/>
          </ac:spMkLst>
        </pc:spChg>
        <pc:spChg chg="add del mod">
          <ac:chgData name="Kebba Jeng" userId="fe4cc296-ba7d-48a2-8799-89b58d218255" providerId="ADAL" clId="{388EFDEE-447E-42B4-98EF-30C01AB2E8CD}" dt="2022-03-28T18:32:33.280" v="2968"/>
          <ac:spMkLst>
            <pc:docMk/>
            <pc:sldMk cId="3057876422" sldId="1879256067"/>
            <ac:spMk id="702" creationId="{6CDC2507-6A69-416B-B6A2-ADAD40159EC1}"/>
          </ac:spMkLst>
        </pc:spChg>
        <pc:spChg chg="add del mod">
          <ac:chgData name="Kebba Jeng" userId="fe4cc296-ba7d-48a2-8799-89b58d218255" providerId="ADAL" clId="{388EFDEE-447E-42B4-98EF-30C01AB2E8CD}" dt="2022-03-28T18:32:33.280" v="2968"/>
          <ac:spMkLst>
            <pc:docMk/>
            <pc:sldMk cId="3057876422" sldId="1879256067"/>
            <ac:spMk id="703" creationId="{91E4094D-8D6A-429D-A608-FB934FC5C50D}"/>
          </ac:spMkLst>
        </pc:spChg>
        <pc:spChg chg="add del mod">
          <ac:chgData name="Kebba Jeng" userId="fe4cc296-ba7d-48a2-8799-89b58d218255" providerId="ADAL" clId="{388EFDEE-447E-42B4-98EF-30C01AB2E8CD}" dt="2022-03-28T18:32:33.280" v="2968"/>
          <ac:spMkLst>
            <pc:docMk/>
            <pc:sldMk cId="3057876422" sldId="1879256067"/>
            <ac:spMk id="704" creationId="{F2EA73A4-0FDE-4418-BF49-E723B0647B35}"/>
          </ac:spMkLst>
        </pc:spChg>
        <pc:spChg chg="add del mod">
          <ac:chgData name="Kebba Jeng" userId="fe4cc296-ba7d-48a2-8799-89b58d218255" providerId="ADAL" clId="{388EFDEE-447E-42B4-98EF-30C01AB2E8CD}" dt="2022-03-28T18:32:33.280" v="2968"/>
          <ac:spMkLst>
            <pc:docMk/>
            <pc:sldMk cId="3057876422" sldId="1879256067"/>
            <ac:spMk id="705" creationId="{B5BC4EC7-F560-4892-8CEB-B02158252B92}"/>
          </ac:spMkLst>
        </pc:spChg>
        <pc:spChg chg="add del mod">
          <ac:chgData name="Kebba Jeng" userId="fe4cc296-ba7d-48a2-8799-89b58d218255" providerId="ADAL" clId="{388EFDEE-447E-42B4-98EF-30C01AB2E8CD}" dt="2022-03-28T18:32:33.280" v="2968"/>
          <ac:spMkLst>
            <pc:docMk/>
            <pc:sldMk cId="3057876422" sldId="1879256067"/>
            <ac:spMk id="706" creationId="{112D841A-28DA-4457-93A2-B407835BA54E}"/>
          </ac:spMkLst>
        </pc:spChg>
        <pc:spChg chg="add del mod">
          <ac:chgData name="Kebba Jeng" userId="fe4cc296-ba7d-48a2-8799-89b58d218255" providerId="ADAL" clId="{388EFDEE-447E-42B4-98EF-30C01AB2E8CD}" dt="2022-03-28T18:32:33.280" v="2968"/>
          <ac:spMkLst>
            <pc:docMk/>
            <pc:sldMk cId="3057876422" sldId="1879256067"/>
            <ac:spMk id="707" creationId="{0DD415A9-F59A-46E2-912E-3ABFBA81EB82}"/>
          </ac:spMkLst>
        </pc:spChg>
        <pc:spChg chg="add del mod">
          <ac:chgData name="Kebba Jeng" userId="fe4cc296-ba7d-48a2-8799-89b58d218255" providerId="ADAL" clId="{388EFDEE-447E-42B4-98EF-30C01AB2E8CD}" dt="2022-03-28T18:32:33.280" v="2968"/>
          <ac:spMkLst>
            <pc:docMk/>
            <pc:sldMk cId="3057876422" sldId="1879256067"/>
            <ac:spMk id="708" creationId="{56DFE855-0D8C-439B-8A16-E6C65CBF6CF2}"/>
          </ac:spMkLst>
        </pc:spChg>
        <pc:spChg chg="add del mod">
          <ac:chgData name="Kebba Jeng" userId="fe4cc296-ba7d-48a2-8799-89b58d218255" providerId="ADAL" clId="{388EFDEE-447E-42B4-98EF-30C01AB2E8CD}" dt="2022-03-28T18:32:33.280" v="2968"/>
          <ac:spMkLst>
            <pc:docMk/>
            <pc:sldMk cId="3057876422" sldId="1879256067"/>
            <ac:spMk id="709" creationId="{919B3F7F-DFB2-451F-A84B-364171F3EA47}"/>
          </ac:spMkLst>
        </pc:spChg>
        <pc:spChg chg="add del mod">
          <ac:chgData name="Kebba Jeng" userId="fe4cc296-ba7d-48a2-8799-89b58d218255" providerId="ADAL" clId="{388EFDEE-447E-42B4-98EF-30C01AB2E8CD}" dt="2022-03-28T18:32:33.280" v="2968"/>
          <ac:spMkLst>
            <pc:docMk/>
            <pc:sldMk cId="3057876422" sldId="1879256067"/>
            <ac:spMk id="710" creationId="{297EA19D-9C54-4135-9F2E-40AAE013191C}"/>
          </ac:spMkLst>
        </pc:spChg>
        <pc:spChg chg="add del mod">
          <ac:chgData name="Kebba Jeng" userId="fe4cc296-ba7d-48a2-8799-89b58d218255" providerId="ADAL" clId="{388EFDEE-447E-42B4-98EF-30C01AB2E8CD}" dt="2022-03-28T18:32:33.280" v="2968"/>
          <ac:spMkLst>
            <pc:docMk/>
            <pc:sldMk cId="3057876422" sldId="1879256067"/>
            <ac:spMk id="711" creationId="{48A5C33F-F67A-4DA4-BCE0-F4798C9E9E6B}"/>
          </ac:spMkLst>
        </pc:spChg>
        <pc:spChg chg="add del mod">
          <ac:chgData name="Kebba Jeng" userId="fe4cc296-ba7d-48a2-8799-89b58d218255" providerId="ADAL" clId="{388EFDEE-447E-42B4-98EF-30C01AB2E8CD}" dt="2022-03-28T18:32:33.280" v="2968"/>
          <ac:spMkLst>
            <pc:docMk/>
            <pc:sldMk cId="3057876422" sldId="1879256067"/>
            <ac:spMk id="712" creationId="{665FC5F7-BD19-4502-943C-9831E91D44D0}"/>
          </ac:spMkLst>
        </pc:spChg>
        <pc:spChg chg="add del mod">
          <ac:chgData name="Kebba Jeng" userId="fe4cc296-ba7d-48a2-8799-89b58d218255" providerId="ADAL" clId="{388EFDEE-447E-42B4-98EF-30C01AB2E8CD}" dt="2022-03-28T18:32:33.280" v="2968"/>
          <ac:spMkLst>
            <pc:docMk/>
            <pc:sldMk cId="3057876422" sldId="1879256067"/>
            <ac:spMk id="713" creationId="{1051DEFA-F8CC-4F23-B7D3-84848FF9FE9E}"/>
          </ac:spMkLst>
        </pc:spChg>
        <pc:spChg chg="add del mod">
          <ac:chgData name="Kebba Jeng" userId="fe4cc296-ba7d-48a2-8799-89b58d218255" providerId="ADAL" clId="{388EFDEE-447E-42B4-98EF-30C01AB2E8CD}" dt="2022-03-28T18:32:33.280" v="2968"/>
          <ac:spMkLst>
            <pc:docMk/>
            <pc:sldMk cId="3057876422" sldId="1879256067"/>
            <ac:spMk id="714" creationId="{D38C6A12-F59C-45A3-ACB6-E6890558F387}"/>
          </ac:spMkLst>
        </pc:spChg>
        <pc:spChg chg="add del mod">
          <ac:chgData name="Kebba Jeng" userId="fe4cc296-ba7d-48a2-8799-89b58d218255" providerId="ADAL" clId="{388EFDEE-447E-42B4-98EF-30C01AB2E8CD}" dt="2022-03-28T18:32:33.280" v="2968"/>
          <ac:spMkLst>
            <pc:docMk/>
            <pc:sldMk cId="3057876422" sldId="1879256067"/>
            <ac:spMk id="715" creationId="{7F4D7AE5-6356-4AF3-994F-E30577F3A53A}"/>
          </ac:spMkLst>
        </pc:spChg>
        <pc:spChg chg="add del mod">
          <ac:chgData name="Kebba Jeng" userId="fe4cc296-ba7d-48a2-8799-89b58d218255" providerId="ADAL" clId="{388EFDEE-447E-42B4-98EF-30C01AB2E8CD}" dt="2022-03-28T18:32:33.280" v="2968"/>
          <ac:spMkLst>
            <pc:docMk/>
            <pc:sldMk cId="3057876422" sldId="1879256067"/>
            <ac:spMk id="716" creationId="{86AFE866-1339-49FC-8589-657AABA623DC}"/>
          </ac:spMkLst>
        </pc:spChg>
        <pc:spChg chg="add del mod">
          <ac:chgData name="Kebba Jeng" userId="fe4cc296-ba7d-48a2-8799-89b58d218255" providerId="ADAL" clId="{388EFDEE-447E-42B4-98EF-30C01AB2E8CD}" dt="2022-03-28T18:32:33.280" v="2968"/>
          <ac:spMkLst>
            <pc:docMk/>
            <pc:sldMk cId="3057876422" sldId="1879256067"/>
            <ac:spMk id="717" creationId="{D6053DFB-D2F2-41AF-B73E-248E219F6688}"/>
          </ac:spMkLst>
        </pc:spChg>
        <pc:spChg chg="add del mod">
          <ac:chgData name="Kebba Jeng" userId="fe4cc296-ba7d-48a2-8799-89b58d218255" providerId="ADAL" clId="{388EFDEE-447E-42B4-98EF-30C01AB2E8CD}" dt="2022-03-28T18:32:33.280" v="2968"/>
          <ac:spMkLst>
            <pc:docMk/>
            <pc:sldMk cId="3057876422" sldId="1879256067"/>
            <ac:spMk id="718" creationId="{E8738A7E-7169-4094-8859-3CCBD572076C}"/>
          </ac:spMkLst>
        </pc:spChg>
        <pc:spChg chg="add del mod">
          <ac:chgData name="Kebba Jeng" userId="fe4cc296-ba7d-48a2-8799-89b58d218255" providerId="ADAL" clId="{388EFDEE-447E-42B4-98EF-30C01AB2E8CD}" dt="2022-03-28T18:32:33.280" v="2968"/>
          <ac:spMkLst>
            <pc:docMk/>
            <pc:sldMk cId="3057876422" sldId="1879256067"/>
            <ac:spMk id="719" creationId="{E03F7981-42D0-4BA8-A77F-E3002400F4FF}"/>
          </ac:spMkLst>
        </pc:spChg>
        <pc:spChg chg="add del mod">
          <ac:chgData name="Kebba Jeng" userId="fe4cc296-ba7d-48a2-8799-89b58d218255" providerId="ADAL" clId="{388EFDEE-447E-42B4-98EF-30C01AB2E8CD}" dt="2022-03-28T18:32:33.280" v="2968"/>
          <ac:spMkLst>
            <pc:docMk/>
            <pc:sldMk cId="3057876422" sldId="1879256067"/>
            <ac:spMk id="720" creationId="{9242507E-FE0A-4220-A172-F2ADD325B51D}"/>
          </ac:spMkLst>
        </pc:spChg>
        <pc:spChg chg="add del mod">
          <ac:chgData name="Kebba Jeng" userId="fe4cc296-ba7d-48a2-8799-89b58d218255" providerId="ADAL" clId="{388EFDEE-447E-42B4-98EF-30C01AB2E8CD}" dt="2022-03-28T18:32:33.280" v="2968"/>
          <ac:spMkLst>
            <pc:docMk/>
            <pc:sldMk cId="3057876422" sldId="1879256067"/>
            <ac:spMk id="721" creationId="{32DA1B49-837C-4E0D-AD47-0916A909BB77}"/>
          </ac:spMkLst>
        </pc:spChg>
        <pc:spChg chg="add del mod">
          <ac:chgData name="Kebba Jeng" userId="fe4cc296-ba7d-48a2-8799-89b58d218255" providerId="ADAL" clId="{388EFDEE-447E-42B4-98EF-30C01AB2E8CD}" dt="2022-03-28T18:32:33.280" v="2968"/>
          <ac:spMkLst>
            <pc:docMk/>
            <pc:sldMk cId="3057876422" sldId="1879256067"/>
            <ac:spMk id="722" creationId="{17F35D62-FE67-4232-B661-6F1B3D74DDA7}"/>
          </ac:spMkLst>
        </pc:spChg>
        <pc:spChg chg="add del mod">
          <ac:chgData name="Kebba Jeng" userId="fe4cc296-ba7d-48a2-8799-89b58d218255" providerId="ADAL" clId="{388EFDEE-447E-42B4-98EF-30C01AB2E8CD}" dt="2022-03-28T18:32:33.280" v="2968"/>
          <ac:spMkLst>
            <pc:docMk/>
            <pc:sldMk cId="3057876422" sldId="1879256067"/>
            <ac:spMk id="723" creationId="{64335FA3-09C6-41F4-94F1-5CF2C4EA4307}"/>
          </ac:spMkLst>
        </pc:spChg>
        <pc:spChg chg="add del mod">
          <ac:chgData name="Kebba Jeng" userId="fe4cc296-ba7d-48a2-8799-89b58d218255" providerId="ADAL" clId="{388EFDEE-447E-42B4-98EF-30C01AB2E8CD}" dt="2022-03-28T18:32:33.280" v="2968"/>
          <ac:spMkLst>
            <pc:docMk/>
            <pc:sldMk cId="3057876422" sldId="1879256067"/>
            <ac:spMk id="724" creationId="{34F22EFA-69C9-477F-98B9-9C36870C14EE}"/>
          </ac:spMkLst>
        </pc:spChg>
        <pc:spChg chg="add del mod">
          <ac:chgData name="Kebba Jeng" userId="fe4cc296-ba7d-48a2-8799-89b58d218255" providerId="ADAL" clId="{388EFDEE-447E-42B4-98EF-30C01AB2E8CD}" dt="2022-03-28T18:32:33.280" v="2968"/>
          <ac:spMkLst>
            <pc:docMk/>
            <pc:sldMk cId="3057876422" sldId="1879256067"/>
            <ac:spMk id="725" creationId="{DD1A87B0-E886-4EF2-93BE-6608B9B418EE}"/>
          </ac:spMkLst>
        </pc:spChg>
        <pc:spChg chg="add del mod">
          <ac:chgData name="Kebba Jeng" userId="fe4cc296-ba7d-48a2-8799-89b58d218255" providerId="ADAL" clId="{388EFDEE-447E-42B4-98EF-30C01AB2E8CD}" dt="2022-03-28T18:32:33.280" v="2968"/>
          <ac:spMkLst>
            <pc:docMk/>
            <pc:sldMk cId="3057876422" sldId="1879256067"/>
            <ac:spMk id="726" creationId="{15BBC6E5-99BA-45E8-9F27-E3A4CF345E6B}"/>
          </ac:spMkLst>
        </pc:spChg>
        <pc:spChg chg="add del mod">
          <ac:chgData name="Kebba Jeng" userId="fe4cc296-ba7d-48a2-8799-89b58d218255" providerId="ADAL" clId="{388EFDEE-447E-42B4-98EF-30C01AB2E8CD}" dt="2022-03-28T18:32:33.280" v="2968"/>
          <ac:spMkLst>
            <pc:docMk/>
            <pc:sldMk cId="3057876422" sldId="1879256067"/>
            <ac:spMk id="727" creationId="{AAC1732F-ED06-4E12-B9DC-F219B0237558}"/>
          </ac:spMkLst>
        </pc:spChg>
        <pc:spChg chg="add del mod">
          <ac:chgData name="Kebba Jeng" userId="fe4cc296-ba7d-48a2-8799-89b58d218255" providerId="ADAL" clId="{388EFDEE-447E-42B4-98EF-30C01AB2E8CD}" dt="2022-03-28T18:32:33.280" v="2968"/>
          <ac:spMkLst>
            <pc:docMk/>
            <pc:sldMk cId="3057876422" sldId="1879256067"/>
            <ac:spMk id="728" creationId="{92CCB453-12FF-4AD8-A4D7-0B46E0E187C9}"/>
          </ac:spMkLst>
        </pc:spChg>
        <pc:spChg chg="add del mod">
          <ac:chgData name="Kebba Jeng" userId="fe4cc296-ba7d-48a2-8799-89b58d218255" providerId="ADAL" clId="{388EFDEE-447E-42B4-98EF-30C01AB2E8CD}" dt="2022-03-28T18:32:33.280" v="2968"/>
          <ac:spMkLst>
            <pc:docMk/>
            <pc:sldMk cId="3057876422" sldId="1879256067"/>
            <ac:spMk id="729" creationId="{E51C4BC4-3E23-4521-AD8E-7A5F5BC8476A}"/>
          </ac:spMkLst>
        </pc:spChg>
        <pc:spChg chg="add del mod">
          <ac:chgData name="Kebba Jeng" userId="fe4cc296-ba7d-48a2-8799-89b58d218255" providerId="ADAL" clId="{388EFDEE-447E-42B4-98EF-30C01AB2E8CD}" dt="2022-03-28T18:32:33.280" v="2968"/>
          <ac:spMkLst>
            <pc:docMk/>
            <pc:sldMk cId="3057876422" sldId="1879256067"/>
            <ac:spMk id="730" creationId="{72DBE20B-938C-43A7-BE2A-28BF52105666}"/>
          </ac:spMkLst>
        </pc:spChg>
        <pc:spChg chg="add del mod">
          <ac:chgData name="Kebba Jeng" userId="fe4cc296-ba7d-48a2-8799-89b58d218255" providerId="ADAL" clId="{388EFDEE-447E-42B4-98EF-30C01AB2E8CD}" dt="2022-03-28T18:32:33.280" v="2968"/>
          <ac:spMkLst>
            <pc:docMk/>
            <pc:sldMk cId="3057876422" sldId="1879256067"/>
            <ac:spMk id="731" creationId="{B5BCE212-0021-4072-ABC1-45621361D544}"/>
          </ac:spMkLst>
        </pc:spChg>
        <pc:spChg chg="add del mod">
          <ac:chgData name="Kebba Jeng" userId="fe4cc296-ba7d-48a2-8799-89b58d218255" providerId="ADAL" clId="{388EFDEE-447E-42B4-98EF-30C01AB2E8CD}" dt="2022-03-28T18:32:33.280" v="2968"/>
          <ac:spMkLst>
            <pc:docMk/>
            <pc:sldMk cId="3057876422" sldId="1879256067"/>
            <ac:spMk id="732" creationId="{B797A097-76BD-4A46-9088-E115F9CACB0D}"/>
          </ac:spMkLst>
        </pc:spChg>
        <pc:spChg chg="add del mod">
          <ac:chgData name="Kebba Jeng" userId="fe4cc296-ba7d-48a2-8799-89b58d218255" providerId="ADAL" clId="{388EFDEE-447E-42B4-98EF-30C01AB2E8CD}" dt="2022-03-28T18:32:33.280" v="2968"/>
          <ac:spMkLst>
            <pc:docMk/>
            <pc:sldMk cId="3057876422" sldId="1879256067"/>
            <ac:spMk id="733" creationId="{2DCB8703-EAB1-42D0-847E-F6715281147D}"/>
          </ac:spMkLst>
        </pc:spChg>
        <pc:spChg chg="add del mod">
          <ac:chgData name="Kebba Jeng" userId="fe4cc296-ba7d-48a2-8799-89b58d218255" providerId="ADAL" clId="{388EFDEE-447E-42B4-98EF-30C01AB2E8CD}" dt="2022-03-28T18:32:33.280" v="2968"/>
          <ac:spMkLst>
            <pc:docMk/>
            <pc:sldMk cId="3057876422" sldId="1879256067"/>
            <ac:spMk id="734" creationId="{C10722F2-0EBE-4292-AC10-A0C5D312CC2A}"/>
          </ac:spMkLst>
        </pc:spChg>
        <pc:spChg chg="add del mod">
          <ac:chgData name="Kebba Jeng" userId="fe4cc296-ba7d-48a2-8799-89b58d218255" providerId="ADAL" clId="{388EFDEE-447E-42B4-98EF-30C01AB2E8CD}" dt="2022-03-28T18:32:33.280" v="2968"/>
          <ac:spMkLst>
            <pc:docMk/>
            <pc:sldMk cId="3057876422" sldId="1879256067"/>
            <ac:spMk id="735" creationId="{4F46661F-8FB5-48F8-820D-21C94CEDE77A}"/>
          </ac:spMkLst>
        </pc:spChg>
        <pc:spChg chg="add del mod">
          <ac:chgData name="Kebba Jeng" userId="fe4cc296-ba7d-48a2-8799-89b58d218255" providerId="ADAL" clId="{388EFDEE-447E-42B4-98EF-30C01AB2E8CD}" dt="2022-03-28T18:32:33.280" v="2968"/>
          <ac:spMkLst>
            <pc:docMk/>
            <pc:sldMk cId="3057876422" sldId="1879256067"/>
            <ac:spMk id="736" creationId="{B03787C9-C30D-40A3-8F18-7C7974BF53DA}"/>
          </ac:spMkLst>
        </pc:spChg>
        <pc:spChg chg="add del mod">
          <ac:chgData name="Kebba Jeng" userId="fe4cc296-ba7d-48a2-8799-89b58d218255" providerId="ADAL" clId="{388EFDEE-447E-42B4-98EF-30C01AB2E8CD}" dt="2022-03-28T18:32:33.280" v="2968"/>
          <ac:spMkLst>
            <pc:docMk/>
            <pc:sldMk cId="3057876422" sldId="1879256067"/>
            <ac:spMk id="737" creationId="{3E6E5790-07E4-4393-8801-879D4B9B2A71}"/>
          </ac:spMkLst>
        </pc:spChg>
        <pc:spChg chg="add del mod">
          <ac:chgData name="Kebba Jeng" userId="fe4cc296-ba7d-48a2-8799-89b58d218255" providerId="ADAL" clId="{388EFDEE-447E-42B4-98EF-30C01AB2E8CD}" dt="2022-03-28T18:32:33.280" v="2968"/>
          <ac:spMkLst>
            <pc:docMk/>
            <pc:sldMk cId="3057876422" sldId="1879256067"/>
            <ac:spMk id="738" creationId="{3407C57A-AB17-4477-AD50-C3D1A3740519}"/>
          </ac:spMkLst>
        </pc:spChg>
        <pc:spChg chg="add del mod">
          <ac:chgData name="Kebba Jeng" userId="fe4cc296-ba7d-48a2-8799-89b58d218255" providerId="ADAL" clId="{388EFDEE-447E-42B4-98EF-30C01AB2E8CD}" dt="2022-03-28T18:32:33.280" v="2968"/>
          <ac:spMkLst>
            <pc:docMk/>
            <pc:sldMk cId="3057876422" sldId="1879256067"/>
            <ac:spMk id="739" creationId="{2D17FC14-998B-44B4-82BD-7DB140BABCA3}"/>
          </ac:spMkLst>
        </pc:spChg>
        <pc:spChg chg="add del mod">
          <ac:chgData name="Kebba Jeng" userId="fe4cc296-ba7d-48a2-8799-89b58d218255" providerId="ADAL" clId="{388EFDEE-447E-42B4-98EF-30C01AB2E8CD}" dt="2022-03-28T18:32:33.280" v="2968"/>
          <ac:spMkLst>
            <pc:docMk/>
            <pc:sldMk cId="3057876422" sldId="1879256067"/>
            <ac:spMk id="740" creationId="{C6B58E52-2FAC-4AB2-9801-B93AA12B9AC9}"/>
          </ac:spMkLst>
        </pc:spChg>
        <pc:spChg chg="add del mod">
          <ac:chgData name="Kebba Jeng" userId="fe4cc296-ba7d-48a2-8799-89b58d218255" providerId="ADAL" clId="{388EFDEE-447E-42B4-98EF-30C01AB2E8CD}" dt="2022-03-28T18:32:33.280" v="2968"/>
          <ac:spMkLst>
            <pc:docMk/>
            <pc:sldMk cId="3057876422" sldId="1879256067"/>
            <ac:spMk id="741" creationId="{D1259A0F-25F9-4D35-9B7A-0A4CDE3E90D9}"/>
          </ac:spMkLst>
        </pc:spChg>
        <pc:spChg chg="add del mod">
          <ac:chgData name="Kebba Jeng" userId="fe4cc296-ba7d-48a2-8799-89b58d218255" providerId="ADAL" clId="{388EFDEE-447E-42B4-98EF-30C01AB2E8CD}" dt="2022-03-28T18:32:33.280" v="2968"/>
          <ac:spMkLst>
            <pc:docMk/>
            <pc:sldMk cId="3057876422" sldId="1879256067"/>
            <ac:spMk id="742" creationId="{9106C65D-0678-43CF-9F70-E746587BD49A}"/>
          </ac:spMkLst>
        </pc:spChg>
        <pc:spChg chg="add del mod">
          <ac:chgData name="Kebba Jeng" userId="fe4cc296-ba7d-48a2-8799-89b58d218255" providerId="ADAL" clId="{388EFDEE-447E-42B4-98EF-30C01AB2E8CD}" dt="2022-03-28T18:32:33.280" v="2968"/>
          <ac:spMkLst>
            <pc:docMk/>
            <pc:sldMk cId="3057876422" sldId="1879256067"/>
            <ac:spMk id="743" creationId="{D676CA6E-CAB2-471A-835B-D8C702F16B81}"/>
          </ac:spMkLst>
        </pc:spChg>
        <pc:spChg chg="add del mod">
          <ac:chgData name="Kebba Jeng" userId="fe4cc296-ba7d-48a2-8799-89b58d218255" providerId="ADAL" clId="{388EFDEE-447E-42B4-98EF-30C01AB2E8CD}" dt="2022-03-28T18:32:33.280" v="2968"/>
          <ac:spMkLst>
            <pc:docMk/>
            <pc:sldMk cId="3057876422" sldId="1879256067"/>
            <ac:spMk id="744" creationId="{E4B45674-8AA3-4690-B0F2-40E843A61B1C}"/>
          </ac:spMkLst>
        </pc:spChg>
        <pc:spChg chg="add del mod">
          <ac:chgData name="Kebba Jeng" userId="fe4cc296-ba7d-48a2-8799-89b58d218255" providerId="ADAL" clId="{388EFDEE-447E-42B4-98EF-30C01AB2E8CD}" dt="2022-03-28T18:32:33.280" v="2968"/>
          <ac:spMkLst>
            <pc:docMk/>
            <pc:sldMk cId="3057876422" sldId="1879256067"/>
            <ac:spMk id="745" creationId="{D3597478-D7EB-4664-A46C-3BAE1F146052}"/>
          </ac:spMkLst>
        </pc:spChg>
        <pc:spChg chg="add del mod">
          <ac:chgData name="Kebba Jeng" userId="fe4cc296-ba7d-48a2-8799-89b58d218255" providerId="ADAL" clId="{388EFDEE-447E-42B4-98EF-30C01AB2E8CD}" dt="2022-03-28T18:32:33.280" v="2968"/>
          <ac:spMkLst>
            <pc:docMk/>
            <pc:sldMk cId="3057876422" sldId="1879256067"/>
            <ac:spMk id="746" creationId="{112A4410-21BD-4B8D-9E08-20839C7C9E01}"/>
          </ac:spMkLst>
        </pc:spChg>
        <pc:spChg chg="add del mod">
          <ac:chgData name="Kebba Jeng" userId="fe4cc296-ba7d-48a2-8799-89b58d218255" providerId="ADAL" clId="{388EFDEE-447E-42B4-98EF-30C01AB2E8CD}" dt="2022-03-28T18:32:33.280" v="2968"/>
          <ac:spMkLst>
            <pc:docMk/>
            <pc:sldMk cId="3057876422" sldId="1879256067"/>
            <ac:spMk id="747" creationId="{1A9F6BE7-30C8-47F4-AAB6-538FF510A00C}"/>
          </ac:spMkLst>
        </pc:spChg>
        <pc:spChg chg="add del mod">
          <ac:chgData name="Kebba Jeng" userId="fe4cc296-ba7d-48a2-8799-89b58d218255" providerId="ADAL" clId="{388EFDEE-447E-42B4-98EF-30C01AB2E8CD}" dt="2022-03-28T18:32:33.280" v="2968"/>
          <ac:spMkLst>
            <pc:docMk/>
            <pc:sldMk cId="3057876422" sldId="1879256067"/>
            <ac:spMk id="748" creationId="{54377F45-3F29-4A06-A5F1-0BE5EB1AAE1A}"/>
          </ac:spMkLst>
        </pc:spChg>
        <pc:spChg chg="add del mod">
          <ac:chgData name="Kebba Jeng" userId="fe4cc296-ba7d-48a2-8799-89b58d218255" providerId="ADAL" clId="{388EFDEE-447E-42B4-98EF-30C01AB2E8CD}" dt="2022-03-28T18:32:33.280" v="2968"/>
          <ac:spMkLst>
            <pc:docMk/>
            <pc:sldMk cId="3057876422" sldId="1879256067"/>
            <ac:spMk id="749" creationId="{84A7F617-4362-412D-9BF8-987BDB519E8B}"/>
          </ac:spMkLst>
        </pc:spChg>
        <pc:spChg chg="add del mod">
          <ac:chgData name="Kebba Jeng" userId="fe4cc296-ba7d-48a2-8799-89b58d218255" providerId="ADAL" clId="{388EFDEE-447E-42B4-98EF-30C01AB2E8CD}" dt="2022-03-28T18:32:33.280" v="2968"/>
          <ac:spMkLst>
            <pc:docMk/>
            <pc:sldMk cId="3057876422" sldId="1879256067"/>
            <ac:spMk id="750" creationId="{2054BAD5-2153-49F9-A050-5670617D444E}"/>
          </ac:spMkLst>
        </pc:spChg>
        <pc:spChg chg="add del mod">
          <ac:chgData name="Kebba Jeng" userId="fe4cc296-ba7d-48a2-8799-89b58d218255" providerId="ADAL" clId="{388EFDEE-447E-42B4-98EF-30C01AB2E8CD}" dt="2022-03-28T18:32:33.280" v="2968"/>
          <ac:spMkLst>
            <pc:docMk/>
            <pc:sldMk cId="3057876422" sldId="1879256067"/>
            <ac:spMk id="751" creationId="{77926681-97AD-4BAD-88F8-7175A8DAABF1}"/>
          </ac:spMkLst>
        </pc:spChg>
        <pc:spChg chg="add del mod">
          <ac:chgData name="Kebba Jeng" userId="fe4cc296-ba7d-48a2-8799-89b58d218255" providerId="ADAL" clId="{388EFDEE-447E-42B4-98EF-30C01AB2E8CD}" dt="2022-03-28T18:32:33.280" v="2968"/>
          <ac:spMkLst>
            <pc:docMk/>
            <pc:sldMk cId="3057876422" sldId="1879256067"/>
            <ac:spMk id="752" creationId="{957B49AC-B825-49A4-AF81-C391E72070EB}"/>
          </ac:spMkLst>
        </pc:spChg>
        <pc:spChg chg="add del mod">
          <ac:chgData name="Kebba Jeng" userId="fe4cc296-ba7d-48a2-8799-89b58d218255" providerId="ADAL" clId="{388EFDEE-447E-42B4-98EF-30C01AB2E8CD}" dt="2022-03-28T18:32:33.280" v="2968"/>
          <ac:spMkLst>
            <pc:docMk/>
            <pc:sldMk cId="3057876422" sldId="1879256067"/>
            <ac:spMk id="753" creationId="{DF93E304-F494-4899-937B-9905352A4426}"/>
          </ac:spMkLst>
        </pc:spChg>
        <pc:spChg chg="add del mod">
          <ac:chgData name="Kebba Jeng" userId="fe4cc296-ba7d-48a2-8799-89b58d218255" providerId="ADAL" clId="{388EFDEE-447E-42B4-98EF-30C01AB2E8CD}" dt="2022-03-28T18:32:33.280" v="2968"/>
          <ac:spMkLst>
            <pc:docMk/>
            <pc:sldMk cId="3057876422" sldId="1879256067"/>
            <ac:spMk id="754" creationId="{8E431041-CCB0-4FCD-8D55-4D790A8D57E1}"/>
          </ac:spMkLst>
        </pc:spChg>
        <pc:spChg chg="add del mod">
          <ac:chgData name="Kebba Jeng" userId="fe4cc296-ba7d-48a2-8799-89b58d218255" providerId="ADAL" clId="{388EFDEE-447E-42B4-98EF-30C01AB2E8CD}" dt="2022-03-28T18:32:33.280" v="2968"/>
          <ac:spMkLst>
            <pc:docMk/>
            <pc:sldMk cId="3057876422" sldId="1879256067"/>
            <ac:spMk id="755" creationId="{673AB093-B58A-4CF2-A121-C34088515BFC}"/>
          </ac:spMkLst>
        </pc:spChg>
        <pc:spChg chg="add del mod">
          <ac:chgData name="Kebba Jeng" userId="fe4cc296-ba7d-48a2-8799-89b58d218255" providerId="ADAL" clId="{388EFDEE-447E-42B4-98EF-30C01AB2E8CD}" dt="2022-03-28T18:32:33.280" v="2968"/>
          <ac:spMkLst>
            <pc:docMk/>
            <pc:sldMk cId="3057876422" sldId="1879256067"/>
            <ac:spMk id="756" creationId="{DE1FC528-3AC3-4B37-9156-F5F9D43605B2}"/>
          </ac:spMkLst>
        </pc:spChg>
        <pc:spChg chg="add del mod">
          <ac:chgData name="Kebba Jeng" userId="fe4cc296-ba7d-48a2-8799-89b58d218255" providerId="ADAL" clId="{388EFDEE-447E-42B4-98EF-30C01AB2E8CD}" dt="2022-03-28T18:32:33.280" v="2968"/>
          <ac:spMkLst>
            <pc:docMk/>
            <pc:sldMk cId="3057876422" sldId="1879256067"/>
            <ac:spMk id="757" creationId="{9BDB1314-D4B2-4200-8230-F48765FD5AE7}"/>
          </ac:spMkLst>
        </pc:spChg>
        <pc:spChg chg="add del mod">
          <ac:chgData name="Kebba Jeng" userId="fe4cc296-ba7d-48a2-8799-89b58d218255" providerId="ADAL" clId="{388EFDEE-447E-42B4-98EF-30C01AB2E8CD}" dt="2022-03-28T18:32:33.280" v="2968"/>
          <ac:spMkLst>
            <pc:docMk/>
            <pc:sldMk cId="3057876422" sldId="1879256067"/>
            <ac:spMk id="758" creationId="{D4E1470E-47FD-4314-A202-D15C292C6FC8}"/>
          </ac:spMkLst>
        </pc:spChg>
        <pc:spChg chg="add del mod">
          <ac:chgData name="Kebba Jeng" userId="fe4cc296-ba7d-48a2-8799-89b58d218255" providerId="ADAL" clId="{388EFDEE-447E-42B4-98EF-30C01AB2E8CD}" dt="2022-03-28T18:32:33.280" v="2968"/>
          <ac:spMkLst>
            <pc:docMk/>
            <pc:sldMk cId="3057876422" sldId="1879256067"/>
            <ac:spMk id="759" creationId="{0B600F64-8D62-4B9E-9F7C-C4B53DAB2595}"/>
          </ac:spMkLst>
        </pc:spChg>
        <pc:spChg chg="add del mod">
          <ac:chgData name="Kebba Jeng" userId="fe4cc296-ba7d-48a2-8799-89b58d218255" providerId="ADAL" clId="{388EFDEE-447E-42B4-98EF-30C01AB2E8CD}" dt="2022-03-28T18:32:33.280" v="2968"/>
          <ac:spMkLst>
            <pc:docMk/>
            <pc:sldMk cId="3057876422" sldId="1879256067"/>
            <ac:spMk id="760" creationId="{34DCC71D-F401-4314-BF8E-5CB36D3B4E1E}"/>
          </ac:spMkLst>
        </pc:spChg>
        <pc:spChg chg="add del mod">
          <ac:chgData name="Kebba Jeng" userId="fe4cc296-ba7d-48a2-8799-89b58d218255" providerId="ADAL" clId="{388EFDEE-447E-42B4-98EF-30C01AB2E8CD}" dt="2022-03-28T18:32:33.280" v="2968"/>
          <ac:spMkLst>
            <pc:docMk/>
            <pc:sldMk cId="3057876422" sldId="1879256067"/>
            <ac:spMk id="761" creationId="{09F7BAEC-9FDE-4111-8509-7CBF676F20CD}"/>
          </ac:spMkLst>
        </pc:spChg>
        <pc:spChg chg="add del mod">
          <ac:chgData name="Kebba Jeng" userId="fe4cc296-ba7d-48a2-8799-89b58d218255" providerId="ADAL" clId="{388EFDEE-447E-42B4-98EF-30C01AB2E8CD}" dt="2022-03-28T18:32:33.280" v="2968"/>
          <ac:spMkLst>
            <pc:docMk/>
            <pc:sldMk cId="3057876422" sldId="1879256067"/>
            <ac:spMk id="762" creationId="{33BE96A7-08D5-49DA-8A15-4D1C79D76C3A}"/>
          </ac:spMkLst>
        </pc:spChg>
        <pc:spChg chg="add del mod">
          <ac:chgData name="Kebba Jeng" userId="fe4cc296-ba7d-48a2-8799-89b58d218255" providerId="ADAL" clId="{388EFDEE-447E-42B4-98EF-30C01AB2E8CD}" dt="2022-03-28T18:32:33.280" v="2968"/>
          <ac:spMkLst>
            <pc:docMk/>
            <pc:sldMk cId="3057876422" sldId="1879256067"/>
            <ac:spMk id="763" creationId="{3C828F78-D25F-41CB-93B6-D667D08D9853}"/>
          </ac:spMkLst>
        </pc:spChg>
        <pc:spChg chg="add del mod">
          <ac:chgData name="Kebba Jeng" userId="fe4cc296-ba7d-48a2-8799-89b58d218255" providerId="ADAL" clId="{388EFDEE-447E-42B4-98EF-30C01AB2E8CD}" dt="2022-03-28T18:32:33.280" v="2968"/>
          <ac:spMkLst>
            <pc:docMk/>
            <pc:sldMk cId="3057876422" sldId="1879256067"/>
            <ac:spMk id="764" creationId="{E2279775-16F9-4A56-8221-939DFE8DC819}"/>
          </ac:spMkLst>
        </pc:spChg>
        <pc:spChg chg="add del mod">
          <ac:chgData name="Kebba Jeng" userId="fe4cc296-ba7d-48a2-8799-89b58d218255" providerId="ADAL" clId="{388EFDEE-447E-42B4-98EF-30C01AB2E8CD}" dt="2022-03-28T18:32:33.280" v="2968"/>
          <ac:spMkLst>
            <pc:docMk/>
            <pc:sldMk cId="3057876422" sldId="1879256067"/>
            <ac:spMk id="765" creationId="{37D390A5-B548-4D02-AFBE-6F8E3B83B292}"/>
          </ac:spMkLst>
        </pc:spChg>
        <pc:spChg chg="add del mod">
          <ac:chgData name="Kebba Jeng" userId="fe4cc296-ba7d-48a2-8799-89b58d218255" providerId="ADAL" clId="{388EFDEE-447E-42B4-98EF-30C01AB2E8CD}" dt="2022-03-28T18:32:33.280" v="2968"/>
          <ac:spMkLst>
            <pc:docMk/>
            <pc:sldMk cId="3057876422" sldId="1879256067"/>
            <ac:spMk id="766" creationId="{48BE29DC-2C52-4AA5-AAEB-4286BBE3AA8B}"/>
          </ac:spMkLst>
        </pc:spChg>
        <pc:spChg chg="add del mod">
          <ac:chgData name="Kebba Jeng" userId="fe4cc296-ba7d-48a2-8799-89b58d218255" providerId="ADAL" clId="{388EFDEE-447E-42B4-98EF-30C01AB2E8CD}" dt="2022-03-28T18:32:33.280" v="2968"/>
          <ac:spMkLst>
            <pc:docMk/>
            <pc:sldMk cId="3057876422" sldId="1879256067"/>
            <ac:spMk id="767" creationId="{69BAE565-76D6-4B6B-8026-32A1B29766C8}"/>
          </ac:spMkLst>
        </pc:spChg>
        <pc:spChg chg="add del mod">
          <ac:chgData name="Kebba Jeng" userId="fe4cc296-ba7d-48a2-8799-89b58d218255" providerId="ADAL" clId="{388EFDEE-447E-42B4-98EF-30C01AB2E8CD}" dt="2022-03-28T18:32:33.280" v="2968"/>
          <ac:spMkLst>
            <pc:docMk/>
            <pc:sldMk cId="3057876422" sldId="1879256067"/>
            <ac:spMk id="768" creationId="{E36EB0C6-1A4C-4851-BA05-17D1290C8A18}"/>
          </ac:spMkLst>
        </pc:spChg>
        <pc:spChg chg="add del mod">
          <ac:chgData name="Kebba Jeng" userId="fe4cc296-ba7d-48a2-8799-89b58d218255" providerId="ADAL" clId="{388EFDEE-447E-42B4-98EF-30C01AB2E8CD}" dt="2022-03-28T18:32:33.280" v="2968"/>
          <ac:spMkLst>
            <pc:docMk/>
            <pc:sldMk cId="3057876422" sldId="1879256067"/>
            <ac:spMk id="769" creationId="{571AC261-FD26-4544-92F5-D891C1376766}"/>
          </ac:spMkLst>
        </pc:spChg>
        <pc:spChg chg="add del mod">
          <ac:chgData name="Kebba Jeng" userId="fe4cc296-ba7d-48a2-8799-89b58d218255" providerId="ADAL" clId="{388EFDEE-447E-42B4-98EF-30C01AB2E8CD}" dt="2022-03-28T18:32:33.280" v="2968"/>
          <ac:spMkLst>
            <pc:docMk/>
            <pc:sldMk cId="3057876422" sldId="1879256067"/>
            <ac:spMk id="770" creationId="{11887137-93B2-4E6E-A5CF-13A12F71D4BD}"/>
          </ac:spMkLst>
        </pc:spChg>
        <pc:spChg chg="add del mod">
          <ac:chgData name="Kebba Jeng" userId="fe4cc296-ba7d-48a2-8799-89b58d218255" providerId="ADAL" clId="{388EFDEE-447E-42B4-98EF-30C01AB2E8CD}" dt="2022-03-28T18:32:33.280" v="2968"/>
          <ac:spMkLst>
            <pc:docMk/>
            <pc:sldMk cId="3057876422" sldId="1879256067"/>
            <ac:spMk id="771" creationId="{9E1FD770-284D-48EA-A008-9EE1645788FF}"/>
          </ac:spMkLst>
        </pc:spChg>
        <pc:spChg chg="add del mod">
          <ac:chgData name="Kebba Jeng" userId="fe4cc296-ba7d-48a2-8799-89b58d218255" providerId="ADAL" clId="{388EFDEE-447E-42B4-98EF-30C01AB2E8CD}" dt="2022-03-28T18:32:33.280" v="2968"/>
          <ac:spMkLst>
            <pc:docMk/>
            <pc:sldMk cId="3057876422" sldId="1879256067"/>
            <ac:spMk id="772" creationId="{456873B3-32C7-4E73-9208-AC9589FC6B2F}"/>
          </ac:spMkLst>
        </pc:spChg>
        <pc:spChg chg="add del mod">
          <ac:chgData name="Kebba Jeng" userId="fe4cc296-ba7d-48a2-8799-89b58d218255" providerId="ADAL" clId="{388EFDEE-447E-42B4-98EF-30C01AB2E8CD}" dt="2022-03-28T18:32:33.280" v="2968"/>
          <ac:spMkLst>
            <pc:docMk/>
            <pc:sldMk cId="3057876422" sldId="1879256067"/>
            <ac:spMk id="773" creationId="{AC15ADBD-AC8C-440A-977C-1D7EED543FE8}"/>
          </ac:spMkLst>
        </pc:spChg>
        <pc:spChg chg="add del mod">
          <ac:chgData name="Kebba Jeng" userId="fe4cc296-ba7d-48a2-8799-89b58d218255" providerId="ADAL" clId="{388EFDEE-447E-42B4-98EF-30C01AB2E8CD}" dt="2022-03-28T18:32:33.280" v="2968"/>
          <ac:spMkLst>
            <pc:docMk/>
            <pc:sldMk cId="3057876422" sldId="1879256067"/>
            <ac:spMk id="774" creationId="{C435785D-DC9E-42B0-8137-7602FB099B83}"/>
          </ac:spMkLst>
        </pc:spChg>
        <pc:spChg chg="add del mod">
          <ac:chgData name="Kebba Jeng" userId="fe4cc296-ba7d-48a2-8799-89b58d218255" providerId="ADAL" clId="{388EFDEE-447E-42B4-98EF-30C01AB2E8CD}" dt="2022-03-28T18:32:33.280" v="2968"/>
          <ac:spMkLst>
            <pc:docMk/>
            <pc:sldMk cId="3057876422" sldId="1879256067"/>
            <ac:spMk id="775" creationId="{C1F8956B-DB29-41C7-B559-FD4C8B667DE1}"/>
          </ac:spMkLst>
        </pc:spChg>
        <pc:spChg chg="add del mod">
          <ac:chgData name="Kebba Jeng" userId="fe4cc296-ba7d-48a2-8799-89b58d218255" providerId="ADAL" clId="{388EFDEE-447E-42B4-98EF-30C01AB2E8CD}" dt="2022-03-28T18:32:33.280" v="2968"/>
          <ac:spMkLst>
            <pc:docMk/>
            <pc:sldMk cId="3057876422" sldId="1879256067"/>
            <ac:spMk id="776" creationId="{03727E60-9254-4AAF-B54F-6C3F44E2D5A9}"/>
          </ac:spMkLst>
        </pc:spChg>
        <pc:spChg chg="add del mod">
          <ac:chgData name="Kebba Jeng" userId="fe4cc296-ba7d-48a2-8799-89b58d218255" providerId="ADAL" clId="{388EFDEE-447E-42B4-98EF-30C01AB2E8CD}" dt="2022-03-28T18:32:33.280" v="2968"/>
          <ac:spMkLst>
            <pc:docMk/>
            <pc:sldMk cId="3057876422" sldId="1879256067"/>
            <ac:spMk id="777" creationId="{A580EEC4-5C08-45BD-9013-6B23BB0822BD}"/>
          </ac:spMkLst>
        </pc:spChg>
        <pc:spChg chg="add del mod">
          <ac:chgData name="Kebba Jeng" userId="fe4cc296-ba7d-48a2-8799-89b58d218255" providerId="ADAL" clId="{388EFDEE-447E-42B4-98EF-30C01AB2E8CD}" dt="2022-03-28T18:32:33.280" v="2968"/>
          <ac:spMkLst>
            <pc:docMk/>
            <pc:sldMk cId="3057876422" sldId="1879256067"/>
            <ac:spMk id="778" creationId="{D4E55134-302B-4893-BD2E-E76EBCF71480}"/>
          </ac:spMkLst>
        </pc:spChg>
        <pc:spChg chg="add del mod">
          <ac:chgData name="Kebba Jeng" userId="fe4cc296-ba7d-48a2-8799-89b58d218255" providerId="ADAL" clId="{388EFDEE-447E-42B4-98EF-30C01AB2E8CD}" dt="2022-03-28T18:32:33.280" v="2968"/>
          <ac:spMkLst>
            <pc:docMk/>
            <pc:sldMk cId="3057876422" sldId="1879256067"/>
            <ac:spMk id="779" creationId="{32FD8187-83FD-492D-AA8D-C94AC0266391}"/>
          </ac:spMkLst>
        </pc:spChg>
        <pc:spChg chg="add del mod">
          <ac:chgData name="Kebba Jeng" userId="fe4cc296-ba7d-48a2-8799-89b58d218255" providerId="ADAL" clId="{388EFDEE-447E-42B4-98EF-30C01AB2E8CD}" dt="2022-03-28T18:32:33.280" v="2968"/>
          <ac:spMkLst>
            <pc:docMk/>
            <pc:sldMk cId="3057876422" sldId="1879256067"/>
            <ac:spMk id="780" creationId="{56EBB7E0-39B4-4B0D-A231-AB19A0BE2656}"/>
          </ac:spMkLst>
        </pc:spChg>
        <pc:spChg chg="add del mod">
          <ac:chgData name="Kebba Jeng" userId="fe4cc296-ba7d-48a2-8799-89b58d218255" providerId="ADAL" clId="{388EFDEE-447E-42B4-98EF-30C01AB2E8CD}" dt="2022-03-28T18:32:33.280" v="2968"/>
          <ac:spMkLst>
            <pc:docMk/>
            <pc:sldMk cId="3057876422" sldId="1879256067"/>
            <ac:spMk id="781" creationId="{B536317A-9BE4-49B1-9A4E-EADBD0A002C0}"/>
          </ac:spMkLst>
        </pc:spChg>
        <pc:spChg chg="add del mod">
          <ac:chgData name="Kebba Jeng" userId="fe4cc296-ba7d-48a2-8799-89b58d218255" providerId="ADAL" clId="{388EFDEE-447E-42B4-98EF-30C01AB2E8CD}" dt="2022-03-28T18:32:33.280" v="2968"/>
          <ac:spMkLst>
            <pc:docMk/>
            <pc:sldMk cId="3057876422" sldId="1879256067"/>
            <ac:spMk id="782" creationId="{6A4D44E2-5772-4E51-987C-3DD53B225746}"/>
          </ac:spMkLst>
        </pc:spChg>
        <pc:spChg chg="add del mod">
          <ac:chgData name="Kebba Jeng" userId="fe4cc296-ba7d-48a2-8799-89b58d218255" providerId="ADAL" clId="{388EFDEE-447E-42B4-98EF-30C01AB2E8CD}" dt="2022-03-28T18:32:42.990" v="2973"/>
          <ac:spMkLst>
            <pc:docMk/>
            <pc:sldMk cId="3057876422" sldId="1879256067"/>
            <ac:spMk id="784" creationId="{C509F571-63C4-4DFA-9C46-EA5CC238DDBC}"/>
          </ac:spMkLst>
        </pc:spChg>
        <pc:spChg chg="add del mod">
          <ac:chgData name="Kebba Jeng" userId="fe4cc296-ba7d-48a2-8799-89b58d218255" providerId="ADAL" clId="{388EFDEE-447E-42B4-98EF-30C01AB2E8CD}" dt="2022-03-28T18:32:42.990" v="2973"/>
          <ac:spMkLst>
            <pc:docMk/>
            <pc:sldMk cId="3057876422" sldId="1879256067"/>
            <ac:spMk id="785" creationId="{DE3B2E04-8511-4752-AB03-6ECB7038E372}"/>
          </ac:spMkLst>
        </pc:spChg>
        <pc:spChg chg="add del mod">
          <ac:chgData name="Kebba Jeng" userId="fe4cc296-ba7d-48a2-8799-89b58d218255" providerId="ADAL" clId="{388EFDEE-447E-42B4-98EF-30C01AB2E8CD}" dt="2022-03-28T18:32:42.990" v="2973"/>
          <ac:spMkLst>
            <pc:docMk/>
            <pc:sldMk cId="3057876422" sldId="1879256067"/>
            <ac:spMk id="786" creationId="{AD45B5E0-E3D1-42F5-A51A-2B74BEAA743C}"/>
          </ac:spMkLst>
        </pc:spChg>
        <pc:spChg chg="add del mod">
          <ac:chgData name="Kebba Jeng" userId="fe4cc296-ba7d-48a2-8799-89b58d218255" providerId="ADAL" clId="{388EFDEE-447E-42B4-98EF-30C01AB2E8CD}" dt="2022-03-28T18:32:42.990" v="2973"/>
          <ac:spMkLst>
            <pc:docMk/>
            <pc:sldMk cId="3057876422" sldId="1879256067"/>
            <ac:spMk id="787" creationId="{9CD7791E-B828-4A81-AFFF-9FB8A423AAB7}"/>
          </ac:spMkLst>
        </pc:spChg>
        <pc:spChg chg="add del mod">
          <ac:chgData name="Kebba Jeng" userId="fe4cc296-ba7d-48a2-8799-89b58d218255" providerId="ADAL" clId="{388EFDEE-447E-42B4-98EF-30C01AB2E8CD}" dt="2022-03-28T18:32:42.990" v="2973"/>
          <ac:spMkLst>
            <pc:docMk/>
            <pc:sldMk cId="3057876422" sldId="1879256067"/>
            <ac:spMk id="788" creationId="{02363075-98FA-4CDE-952E-1C6A6A826167}"/>
          </ac:spMkLst>
        </pc:spChg>
        <pc:spChg chg="add del mod">
          <ac:chgData name="Kebba Jeng" userId="fe4cc296-ba7d-48a2-8799-89b58d218255" providerId="ADAL" clId="{388EFDEE-447E-42B4-98EF-30C01AB2E8CD}" dt="2022-03-28T18:32:42.990" v="2973"/>
          <ac:spMkLst>
            <pc:docMk/>
            <pc:sldMk cId="3057876422" sldId="1879256067"/>
            <ac:spMk id="789" creationId="{E4A84A23-F627-4EF9-8AEB-905923C9421C}"/>
          </ac:spMkLst>
        </pc:spChg>
        <pc:spChg chg="add del mod">
          <ac:chgData name="Kebba Jeng" userId="fe4cc296-ba7d-48a2-8799-89b58d218255" providerId="ADAL" clId="{388EFDEE-447E-42B4-98EF-30C01AB2E8CD}" dt="2022-03-28T18:32:42.990" v="2973"/>
          <ac:spMkLst>
            <pc:docMk/>
            <pc:sldMk cId="3057876422" sldId="1879256067"/>
            <ac:spMk id="790" creationId="{104FEF03-B461-4110-B248-4D01DD20B9FC}"/>
          </ac:spMkLst>
        </pc:spChg>
        <pc:spChg chg="add del mod">
          <ac:chgData name="Kebba Jeng" userId="fe4cc296-ba7d-48a2-8799-89b58d218255" providerId="ADAL" clId="{388EFDEE-447E-42B4-98EF-30C01AB2E8CD}" dt="2022-03-28T18:32:42.990" v="2973"/>
          <ac:spMkLst>
            <pc:docMk/>
            <pc:sldMk cId="3057876422" sldId="1879256067"/>
            <ac:spMk id="791" creationId="{FB6D6659-D117-469A-B18B-71DB2699DA62}"/>
          </ac:spMkLst>
        </pc:spChg>
        <pc:spChg chg="add del mod">
          <ac:chgData name="Kebba Jeng" userId="fe4cc296-ba7d-48a2-8799-89b58d218255" providerId="ADAL" clId="{388EFDEE-447E-42B4-98EF-30C01AB2E8CD}" dt="2022-03-28T18:32:42.990" v="2973"/>
          <ac:spMkLst>
            <pc:docMk/>
            <pc:sldMk cId="3057876422" sldId="1879256067"/>
            <ac:spMk id="792" creationId="{86B4E369-7587-4192-AC45-1DB77BBE750C}"/>
          </ac:spMkLst>
        </pc:spChg>
        <pc:spChg chg="add del mod">
          <ac:chgData name="Kebba Jeng" userId="fe4cc296-ba7d-48a2-8799-89b58d218255" providerId="ADAL" clId="{388EFDEE-447E-42B4-98EF-30C01AB2E8CD}" dt="2022-03-28T18:32:42.990" v="2973"/>
          <ac:spMkLst>
            <pc:docMk/>
            <pc:sldMk cId="3057876422" sldId="1879256067"/>
            <ac:spMk id="793" creationId="{8C935D19-372D-4967-874C-AF4A9578574B}"/>
          </ac:spMkLst>
        </pc:spChg>
        <pc:spChg chg="add del mod">
          <ac:chgData name="Kebba Jeng" userId="fe4cc296-ba7d-48a2-8799-89b58d218255" providerId="ADAL" clId="{388EFDEE-447E-42B4-98EF-30C01AB2E8CD}" dt="2022-03-28T18:32:42.990" v="2973"/>
          <ac:spMkLst>
            <pc:docMk/>
            <pc:sldMk cId="3057876422" sldId="1879256067"/>
            <ac:spMk id="794" creationId="{1E8A3910-1753-4765-923C-96756C5B8AE9}"/>
          </ac:spMkLst>
        </pc:spChg>
        <pc:spChg chg="add del mod">
          <ac:chgData name="Kebba Jeng" userId="fe4cc296-ba7d-48a2-8799-89b58d218255" providerId="ADAL" clId="{388EFDEE-447E-42B4-98EF-30C01AB2E8CD}" dt="2022-03-28T18:32:42.990" v="2973"/>
          <ac:spMkLst>
            <pc:docMk/>
            <pc:sldMk cId="3057876422" sldId="1879256067"/>
            <ac:spMk id="795" creationId="{275E1650-62C4-4079-8FC5-E4FC3B805E6B}"/>
          </ac:spMkLst>
        </pc:spChg>
        <pc:spChg chg="add del mod">
          <ac:chgData name="Kebba Jeng" userId="fe4cc296-ba7d-48a2-8799-89b58d218255" providerId="ADAL" clId="{388EFDEE-447E-42B4-98EF-30C01AB2E8CD}" dt="2022-03-28T18:32:42.990" v="2973"/>
          <ac:spMkLst>
            <pc:docMk/>
            <pc:sldMk cId="3057876422" sldId="1879256067"/>
            <ac:spMk id="796" creationId="{A1B9ED25-203E-4EE0-B289-FFD4DB2F9C9D}"/>
          </ac:spMkLst>
        </pc:spChg>
        <pc:spChg chg="add del mod">
          <ac:chgData name="Kebba Jeng" userId="fe4cc296-ba7d-48a2-8799-89b58d218255" providerId="ADAL" clId="{388EFDEE-447E-42B4-98EF-30C01AB2E8CD}" dt="2022-03-28T18:32:42.990" v="2973"/>
          <ac:spMkLst>
            <pc:docMk/>
            <pc:sldMk cId="3057876422" sldId="1879256067"/>
            <ac:spMk id="797" creationId="{7E97320A-943D-45B9-B15D-B2FD5BA9AB2D}"/>
          </ac:spMkLst>
        </pc:spChg>
        <pc:spChg chg="add del mod">
          <ac:chgData name="Kebba Jeng" userId="fe4cc296-ba7d-48a2-8799-89b58d218255" providerId="ADAL" clId="{388EFDEE-447E-42B4-98EF-30C01AB2E8CD}" dt="2022-03-28T18:32:42.990" v="2973"/>
          <ac:spMkLst>
            <pc:docMk/>
            <pc:sldMk cId="3057876422" sldId="1879256067"/>
            <ac:spMk id="798" creationId="{F7B5AB4C-1682-414A-993F-21D118303F0D}"/>
          </ac:spMkLst>
        </pc:spChg>
        <pc:spChg chg="add del mod">
          <ac:chgData name="Kebba Jeng" userId="fe4cc296-ba7d-48a2-8799-89b58d218255" providerId="ADAL" clId="{388EFDEE-447E-42B4-98EF-30C01AB2E8CD}" dt="2022-03-28T18:32:42.990" v="2973"/>
          <ac:spMkLst>
            <pc:docMk/>
            <pc:sldMk cId="3057876422" sldId="1879256067"/>
            <ac:spMk id="799" creationId="{424CBCAB-9290-41F1-85F8-21C1B4C28D18}"/>
          </ac:spMkLst>
        </pc:spChg>
        <pc:spChg chg="add del mod">
          <ac:chgData name="Kebba Jeng" userId="fe4cc296-ba7d-48a2-8799-89b58d218255" providerId="ADAL" clId="{388EFDEE-447E-42B4-98EF-30C01AB2E8CD}" dt="2022-03-28T18:32:42.990" v="2973"/>
          <ac:spMkLst>
            <pc:docMk/>
            <pc:sldMk cId="3057876422" sldId="1879256067"/>
            <ac:spMk id="800" creationId="{D82975B3-D75C-4D14-8321-1CE2766CF754}"/>
          </ac:spMkLst>
        </pc:spChg>
        <pc:spChg chg="add del mod">
          <ac:chgData name="Kebba Jeng" userId="fe4cc296-ba7d-48a2-8799-89b58d218255" providerId="ADAL" clId="{388EFDEE-447E-42B4-98EF-30C01AB2E8CD}" dt="2022-03-28T18:32:42.990" v="2973"/>
          <ac:spMkLst>
            <pc:docMk/>
            <pc:sldMk cId="3057876422" sldId="1879256067"/>
            <ac:spMk id="801" creationId="{785E6C7A-7C34-4395-BA73-E93DEFC89FF2}"/>
          </ac:spMkLst>
        </pc:spChg>
        <pc:spChg chg="add del mod">
          <ac:chgData name="Kebba Jeng" userId="fe4cc296-ba7d-48a2-8799-89b58d218255" providerId="ADAL" clId="{388EFDEE-447E-42B4-98EF-30C01AB2E8CD}" dt="2022-03-28T18:32:42.990" v="2973"/>
          <ac:spMkLst>
            <pc:docMk/>
            <pc:sldMk cId="3057876422" sldId="1879256067"/>
            <ac:spMk id="802" creationId="{30B23E8E-D1E1-4B7C-AD8E-50BC3B8275A9}"/>
          </ac:spMkLst>
        </pc:spChg>
        <pc:spChg chg="add del mod">
          <ac:chgData name="Kebba Jeng" userId="fe4cc296-ba7d-48a2-8799-89b58d218255" providerId="ADAL" clId="{388EFDEE-447E-42B4-98EF-30C01AB2E8CD}" dt="2022-03-28T18:32:42.990" v="2973"/>
          <ac:spMkLst>
            <pc:docMk/>
            <pc:sldMk cId="3057876422" sldId="1879256067"/>
            <ac:spMk id="803" creationId="{8A4CC075-8A1A-4AEE-B456-ED168DEADFF1}"/>
          </ac:spMkLst>
        </pc:spChg>
        <pc:spChg chg="add del mod">
          <ac:chgData name="Kebba Jeng" userId="fe4cc296-ba7d-48a2-8799-89b58d218255" providerId="ADAL" clId="{388EFDEE-447E-42B4-98EF-30C01AB2E8CD}" dt="2022-03-28T18:32:42.990" v="2973"/>
          <ac:spMkLst>
            <pc:docMk/>
            <pc:sldMk cId="3057876422" sldId="1879256067"/>
            <ac:spMk id="804" creationId="{5E557AEF-C691-44B0-B87D-462AE657323E}"/>
          </ac:spMkLst>
        </pc:spChg>
        <pc:spChg chg="add del mod">
          <ac:chgData name="Kebba Jeng" userId="fe4cc296-ba7d-48a2-8799-89b58d218255" providerId="ADAL" clId="{388EFDEE-447E-42B4-98EF-30C01AB2E8CD}" dt="2022-03-28T18:32:42.990" v="2973"/>
          <ac:spMkLst>
            <pc:docMk/>
            <pc:sldMk cId="3057876422" sldId="1879256067"/>
            <ac:spMk id="805" creationId="{A4F2A066-5BBD-4B8A-BD87-0119E66131A3}"/>
          </ac:spMkLst>
        </pc:spChg>
        <pc:spChg chg="add del mod">
          <ac:chgData name="Kebba Jeng" userId="fe4cc296-ba7d-48a2-8799-89b58d218255" providerId="ADAL" clId="{388EFDEE-447E-42B4-98EF-30C01AB2E8CD}" dt="2022-03-28T18:32:42.990" v="2973"/>
          <ac:spMkLst>
            <pc:docMk/>
            <pc:sldMk cId="3057876422" sldId="1879256067"/>
            <ac:spMk id="806" creationId="{002C9847-6C21-4165-A290-98F8C5CCFD13}"/>
          </ac:spMkLst>
        </pc:spChg>
        <pc:spChg chg="add del mod">
          <ac:chgData name="Kebba Jeng" userId="fe4cc296-ba7d-48a2-8799-89b58d218255" providerId="ADAL" clId="{388EFDEE-447E-42B4-98EF-30C01AB2E8CD}" dt="2022-03-28T18:32:42.990" v="2973"/>
          <ac:spMkLst>
            <pc:docMk/>
            <pc:sldMk cId="3057876422" sldId="1879256067"/>
            <ac:spMk id="807" creationId="{134662D2-14E8-417F-9AA2-FF99AB2B3C0B}"/>
          </ac:spMkLst>
        </pc:spChg>
        <pc:spChg chg="add del mod">
          <ac:chgData name="Kebba Jeng" userId="fe4cc296-ba7d-48a2-8799-89b58d218255" providerId="ADAL" clId="{388EFDEE-447E-42B4-98EF-30C01AB2E8CD}" dt="2022-03-28T18:32:42.990" v="2973"/>
          <ac:spMkLst>
            <pc:docMk/>
            <pc:sldMk cId="3057876422" sldId="1879256067"/>
            <ac:spMk id="808" creationId="{D0A605D7-7600-4CFA-88F0-F89E0DC1E037}"/>
          </ac:spMkLst>
        </pc:spChg>
        <pc:spChg chg="add del mod">
          <ac:chgData name="Kebba Jeng" userId="fe4cc296-ba7d-48a2-8799-89b58d218255" providerId="ADAL" clId="{388EFDEE-447E-42B4-98EF-30C01AB2E8CD}" dt="2022-03-28T18:32:42.990" v="2973"/>
          <ac:spMkLst>
            <pc:docMk/>
            <pc:sldMk cId="3057876422" sldId="1879256067"/>
            <ac:spMk id="809" creationId="{27ED3FAC-AB12-464B-8C17-7B0DF25D6DD0}"/>
          </ac:spMkLst>
        </pc:spChg>
        <pc:spChg chg="add del mod">
          <ac:chgData name="Kebba Jeng" userId="fe4cc296-ba7d-48a2-8799-89b58d218255" providerId="ADAL" clId="{388EFDEE-447E-42B4-98EF-30C01AB2E8CD}" dt="2022-03-28T18:32:42.990" v="2973"/>
          <ac:spMkLst>
            <pc:docMk/>
            <pc:sldMk cId="3057876422" sldId="1879256067"/>
            <ac:spMk id="810" creationId="{26A4E785-01B2-4563-84DA-8BB596CDD92B}"/>
          </ac:spMkLst>
        </pc:spChg>
        <pc:spChg chg="add del mod">
          <ac:chgData name="Kebba Jeng" userId="fe4cc296-ba7d-48a2-8799-89b58d218255" providerId="ADAL" clId="{388EFDEE-447E-42B4-98EF-30C01AB2E8CD}" dt="2022-03-28T18:32:42.990" v="2973"/>
          <ac:spMkLst>
            <pc:docMk/>
            <pc:sldMk cId="3057876422" sldId="1879256067"/>
            <ac:spMk id="811" creationId="{9DE332F3-AAA8-4476-A17D-7EFCB0CCEA0C}"/>
          </ac:spMkLst>
        </pc:spChg>
        <pc:spChg chg="add del mod">
          <ac:chgData name="Kebba Jeng" userId="fe4cc296-ba7d-48a2-8799-89b58d218255" providerId="ADAL" clId="{388EFDEE-447E-42B4-98EF-30C01AB2E8CD}" dt="2022-03-28T18:32:42.990" v="2973"/>
          <ac:spMkLst>
            <pc:docMk/>
            <pc:sldMk cId="3057876422" sldId="1879256067"/>
            <ac:spMk id="812" creationId="{AC2231F6-1B72-4B01-83E0-3AC9289321AF}"/>
          </ac:spMkLst>
        </pc:spChg>
        <pc:spChg chg="add del mod">
          <ac:chgData name="Kebba Jeng" userId="fe4cc296-ba7d-48a2-8799-89b58d218255" providerId="ADAL" clId="{388EFDEE-447E-42B4-98EF-30C01AB2E8CD}" dt="2022-03-28T18:32:42.990" v="2973"/>
          <ac:spMkLst>
            <pc:docMk/>
            <pc:sldMk cId="3057876422" sldId="1879256067"/>
            <ac:spMk id="813" creationId="{5C808F59-C10B-4545-A143-BDA40D07858B}"/>
          </ac:spMkLst>
        </pc:spChg>
        <pc:spChg chg="add del mod">
          <ac:chgData name="Kebba Jeng" userId="fe4cc296-ba7d-48a2-8799-89b58d218255" providerId="ADAL" clId="{388EFDEE-447E-42B4-98EF-30C01AB2E8CD}" dt="2022-03-28T18:32:42.990" v="2973"/>
          <ac:spMkLst>
            <pc:docMk/>
            <pc:sldMk cId="3057876422" sldId="1879256067"/>
            <ac:spMk id="814" creationId="{97C9B52E-20E6-47D1-A03B-4C71F84ECAB7}"/>
          </ac:spMkLst>
        </pc:spChg>
        <pc:spChg chg="add del mod">
          <ac:chgData name="Kebba Jeng" userId="fe4cc296-ba7d-48a2-8799-89b58d218255" providerId="ADAL" clId="{388EFDEE-447E-42B4-98EF-30C01AB2E8CD}" dt="2022-03-28T18:32:42.990" v="2973"/>
          <ac:spMkLst>
            <pc:docMk/>
            <pc:sldMk cId="3057876422" sldId="1879256067"/>
            <ac:spMk id="815" creationId="{B87E599B-2FDE-4F82-A50E-E9C2E26CD571}"/>
          </ac:spMkLst>
        </pc:spChg>
        <pc:spChg chg="add del mod">
          <ac:chgData name="Kebba Jeng" userId="fe4cc296-ba7d-48a2-8799-89b58d218255" providerId="ADAL" clId="{388EFDEE-447E-42B4-98EF-30C01AB2E8CD}" dt="2022-03-28T18:32:42.990" v="2973"/>
          <ac:spMkLst>
            <pc:docMk/>
            <pc:sldMk cId="3057876422" sldId="1879256067"/>
            <ac:spMk id="816" creationId="{BA098AFE-AFBA-49D6-A3E0-23CDC20222EA}"/>
          </ac:spMkLst>
        </pc:spChg>
        <pc:spChg chg="add del mod">
          <ac:chgData name="Kebba Jeng" userId="fe4cc296-ba7d-48a2-8799-89b58d218255" providerId="ADAL" clId="{388EFDEE-447E-42B4-98EF-30C01AB2E8CD}" dt="2022-03-28T18:32:42.990" v="2973"/>
          <ac:spMkLst>
            <pc:docMk/>
            <pc:sldMk cId="3057876422" sldId="1879256067"/>
            <ac:spMk id="817" creationId="{DC190E00-A555-4761-9CAD-D384FE7ED9FF}"/>
          </ac:spMkLst>
        </pc:spChg>
        <pc:spChg chg="add del mod">
          <ac:chgData name="Kebba Jeng" userId="fe4cc296-ba7d-48a2-8799-89b58d218255" providerId="ADAL" clId="{388EFDEE-447E-42B4-98EF-30C01AB2E8CD}" dt="2022-03-28T18:32:42.990" v="2973"/>
          <ac:spMkLst>
            <pc:docMk/>
            <pc:sldMk cId="3057876422" sldId="1879256067"/>
            <ac:spMk id="818" creationId="{65CAC9AF-5199-4B7C-BD31-471AED18A691}"/>
          </ac:spMkLst>
        </pc:spChg>
        <pc:spChg chg="add del mod">
          <ac:chgData name="Kebba Jeng" userId="fe4cc296-ba7d-48a2-8799-89b58d218255" providerId="ADAL" clId="{388EFDEE-447E-42B4-98EF-30C01AB2E8CD}" dt="2022-03-28T18:32:42.990" v="2973"/>
          <ac:spMkLst>
            <pc:docMk/>
            <pc:sldMk cId="3057876422" sldId="1879256067"/>
            <ac:spMk id="819" creationId="{9855EC5A-3AD1-4B64-B7E1-14DCE1D60199}"/>
          </ac:spMkLst>
        </pc:spChg>
        <pc:spChg chg="add del mod">
          <ac:chgData name="Kebba Jeng" userId="fe4cc296-ba7d-48a2-8799-89b58d218255" providerId="ADAL" clId="{388EFDEE-447E-42B4-98EF-30C01AB2E8CD}" dt="2022-03-28T18:32:42.990" v="2973"/>
          <ac:spMkLst>
            <pc:docMk/>
            <pc:sldMk cId="3057876422" sldId="1879256067"/>
            <ac:spMk id="820" creationId="{DFC4D1CE-5C6C-4629-9667-ED4F9C5FE5F0}"/>
          </ac:spMkLst>
        </pc:spChg>
        <pc:spChg chg="add del mod">
          <ac:chgData name="Kebba Jeng" userId="fe4cc296-ba7d-48a2-8799-89b58d218255" providerId="ADAL" clId="{388EFDEE-447E-42B4-98EF-30C01AB2E8CD}" dt="2022-03-28T18:32:42.990" v="2973"/>
          <ac:spMkLst>
            <pc:docMk/>
            <pc:sldMk cId="3057876422" sldId="1879256067"/>
            <ac:spMk id="821" creationId="{410B5C06-D438-422A-92CA-490143D8AEC8}"/>
          </ac:spMkLst>
        </pc:spChg>
        <pc:spChg chg="add del mod">
          <ac:chgData name="Kebba Jeng" userId="fe4cc296-ba7d-48a2-8799-89b58d218255" providerId="ADAL" clId="{388EFDEE-447E-42B4-98EF-30C01AB2E8CD}" dt="2022-03-28T18:32:42.990" v="2973"/>
          <ac:spMkLst>
            <pc:docMk/>
            <pc:sldMk cId="3057876422" sldId="1879256067"/>
            <ac:spMk id="822" creationId="{73438F42-B58B-454B-A3EE-D84C25595B91}"/>
          </ac:spMkLst>
        </pc:spChg>
        <pc:spChg chg="add del mod">
          <ac:chgData name="Kebba Jeng" userId="fe4cc296-ba7d-48a2-8799-89b58d218255" providerId="ADAL" clId="{388EFDEE-447E-42B4-98EF-30C01AB2E8CD}" dt="2022-03-28T18:32:42.990" v="2973"/>
          <ac:spMkLst>
            <pc:docMk/>
            <pc:sldMk cId="3057876422" sldId="1879256067"/>
            <ac:spMk id="823" creationId="{E2EED5AF-E192-4B2F-9956-F52A507575CF}"/>
          </ac:spMkLst>
        </pc:spChg>
        <pc:spChg chg="add del mod">
          <ac:chgData name="Kebba Jeng" userId="fe4cc296-ba7d-48a2-8799-89b58d218255" providerId="ADAL" clId="{388EFDEE-447E-42B4-98EF-30C01AB2E8CD}" dt="2022-03-28T18:32:42.990" v="2973"/>
          <ac:spMkLst>
            <pc:docMk/>
            <pc:sldMk cId="3057876422" sldId="1879256067"/>
            <ac:spMk id="824" creationId="{3B6AA27C-9365-4B58-ACDA-061808682C9D}"/>
          </ac:spMkLst>
        </pc:spChg>
        <pc:spChg chg="add del mod">
          <ac:chgData name="Kebba Jeng" userId="fe4cc296-ba7d-48a2-8799-89b58d218255" providerId="ADAL" clId="{388EFDEE-447E-42B4-98EF-30C01AB2E8CD}" dt="2022-03-28T18:32:42.990" v="2973"/>
          <ac:spMkLst>
            <pc:docMk/>
            <pc:sldMk cId="3057876422" sldId="1879256067"/>
            <ac:spMk id="825" creationId="{73DBF729-0FB3-4D88-882C-9280349C53FC}"/>
          </ac:spMkLst>
        </pc:spChg>
        <pc:spChg chg="add del mod">
          <ac:chgData name="Kebba Jeng" userId="fe4cc296-ba7d-48a2-8799-89b58d218255" providerId="ADAL" clId="{388EFDEE-447E-42B4-98EF-30C01AB2E8CD}" dt="2022-03-28T18:32:42.990" v="2973"/>
          <ac:spMkLst>
            <pc:docMk/>
            <pc:sldMk cId="3057876422" sldId="1879256067"/>
            <ac:spMk id="826" creationId="{D38CDEFB-87CE-46DC-B41B-F9279FF13F15}"/>
          </ac:spMkLst>
        </pc:spChg>
        <pc:spChg chg="add del mod">
          <ac:chgData name="Kebba Jeng" userId="fe4cc296-ba7d-48a2-8799-89b58d218255" providerId="ADAL" clId="{388EFDEE-447E-42B4-98EF-30C01AB2E8CD}" dt="2022-03-28T18:32:42.990" v="2973"/>
          <ac:spMkLst>
            <pc:docMk/>
            <pc:sldMk cId="3057876422" sldId="1879256067"/>
            <ac:spMk id="827" creationId="{2D9CCA1E-A5AA-4F8F-9B13-095EF8A80144}"/>
          </ac:spMkLst>
        </pc:spChg>
        <pc:spChg chg="add del mod">
          <ac:chgData name="Kebba Jeng" userId="fe4cc296-ba7d-48a2-8799-89b58d218255" providerId="ADAL" clId="{388EFDEE-447E-42B4-98EF-30C01AB2E8CD}" dt="2022-03-28T18:32:42.990" v="2973"/>
          <ac:spMkLst>
            <pc:docMk/>
            <pc:sldMk cId="3057876422" sldId="1879256067"/>
            <ac:spMk id="828" creationId="{68FCE84A-E345-4E9D-8115-367812C31863}"/>
          </ac:spMkLst>
        </pc:spChg>
        <pc:spChg chg="add del mod">
          <ac:chgData name="Kebba Jeng" userId="fe4cc296-ba7d-48a2-8799-89b58d218255" providerId="ADAL" clId="{388EFDEE-447E-42B4-98EF-30C01AB2E8CD}" dt="2022-03-28T18:32:42.990" v="2973"/>
          <ac:spMkLst>
            <pc:docMk/>
            <pc:sldMk cId="3057876422" sldId="1879256067"/>
            <ac:spMk id="829" creationId="{D600CCF5-1E3D-430D-99D4-244D025E4523}"/>
          </ac:spMkLst>
        </pc:spChg>
        <pc:spChg chg="add del mod">
          <ac:chgData name="Kebba Jeng" userId="fe4cc296-ba7d-48a2-8799-89b58d218255" providerId="ADAL" clId="{388EFDEE-447E-42B4-98EF-30C01AB2E8CD}" dt="2022-03-28T18:32:42.990" v="2973"/>
          <ac:spMkLst>
            <pc:docMk/>
            <pc:sldMk cId="3057876422" sldId="1879256067"/>
            <ac:spMk id="830" creationId="{B7CA4FC8-E6CE-4892-879A-D23BA25B57FD}"/>
          </ac:spMkLst>
        </pc:spChg>
        <pc:spChg chg="add del mod">
          <ac:chgData name="Kebba Jeng" userId="fe4cc296-ba7d-48a2-8799-89b58d218255" providerId="ADAL" clId="{388EFDEE-447E-42B4-98EF-30C01AB2E8CD}" dt="2022-03-28T18:32:42.990" v="2973"/>
          <ac:spMkLst>
            <pc:docMk/>
            <pc:sldMk cId="3057876422" sldId="1879256067"/>
            <ac:spMk id="831" creationId="{8E980AA3-5544-444B-B7DB-DA57BC54464C}"/>
          </ac:spMkLst>
        </pc:spChg>
        <pc:spChg chg="add del mod">
          <ac:chgData name="Kebba Jeng" userId="fe4cc296-ba7d-48a2-8799-89b58d218255" providerId="ADAL" clId="{388EFDEE-447E-42B4-98EF-30C01AB2E8CD}" dt="2022-03-28T18:32:42.990" v="2973"/>
          <ac:spMkLst>
            <pc:docMk/>
            <pc:sldMk cId="3057876422" sldId="1879256067"/>
            <ac:spMk id="832" creationId="{3692A3FA-E833-421F-9276-3CF343839C85}"/>
          </ac:spMkLst>
        </pc:spChg>
        <pc:spChg chg="add del mod">
          <ac:chgData name="Kebba Jeng" userId="fe4cc296-ba7d-48a2-8799-89b58d218255" providerId="ADAL" clId="{388EFDEE-447E-42B4-98EF-30C01AB2E8CD}" dt="2022-03-28T18:32:42.990" v="2973"/>
          <ac:spMkLst>
            <pc:docMk/>
            <pc:sldMk cId="3057876422" sldId="1879256067"/>
            <ac:spMk id="833" creationId="{1A50BB02-EF55-4794-8EAD-8B696A0EE99A}"/>
          </ac:spMkLst>
        </pc:spChg>
        <pc:spChg chg="add del mod">
          <ac:chgData name="Kebba Jeng" userId="fe4cc296-ba7d-48a2-8799-89b58d218255" providerId="ADAL" clId="{388EFDEE-447E-42B4-98EF-30C01AB2E8CD}" dt="2022-03-28T18:32:42.990" v="2973"/>
          <ac:spMkLst>
            <pc:docMk/>
            <pc:sldMk cId="3057876422" sldId="1879256067"/>
            <ac:spMk id="834" creationId="{668AADE8-9CB8-407D-B605-D4BFA943A6EA}"/>
          </ac:spMkLst>
        </pc:spChg>
        <pc:spChg chg="add del mod">
          <ac:chgData name="Kebba Jeng" userId="fe4cc296-ba7d-48a2-8799-89b58d218255" providerId="ADAL" clId="{388EFDEE-447E-42B4-98EF-30C01AB2E8CD}" dt="2022-03-28T18:32:42.990" v="2973"/>
          <ac:spMkLst>
            <pc:docMk/>
            <pc:sldMk cId="3057876422" sldId="1879256067"/>
            <ac:spMk id="835" creationId="{3D67D7A2-016B-4807-8520-ECDBD7669B39}"/>
          </ac:spMkLst>
        </pc:spChg>
        <pc:spChg chg="add del mod">
          <ac:chgData name="Kebba Jeng" userId="fe4cc296-ba7d-48a2-8799-89b58d218255" providerId="ADAL" clId="{388EFDEE-447E-42B4-98EF-30C01AB2E8CD}" dt="2022-03-28T18:32:42.990" v="2973"/>
          <ac:spMkLst>
            <pc:docMk/>
            <pc:sldMk cId="3057876422" sldId="1879256067"/>
            <ac:spMk id="836" creationId="{34CF2C81-43DA-4DA6-8B50-F00292AFCCAC}"/>
          </ac:spMkLst>
        </pc:spChg>
        <pc:spChg chg="add del mod">
          <ac:chgData name="Kebba Jeng" userId="fe4cc296-ba7d-48a2-8799-89b58d218255" providerId="ADAL" clId="{388EFDEE-447E-42B4-98EF-30C01AB2E8CD}" dt="2022-03-28T18:32:42.990" v="2973"/>
          <ac:spMkLst>
            <pc:docMk/>
            <pc:sldMk cId="3057876422" sldId="1879256067"/>
            <ac:spMk id="837" creationId="{380B6118-BC7F-47EC-A055-D8EA0CDCF54A}"/>
          </ac:spMkLst>
        </pc:spChg>
        <pc:spChg chg="add del mod">
          <ac:chgData name="Kebba Jeng" userId="fe4cc296-ba7d-48a2-8799-89b58d218255" providerId="ADAL" clId="{388EFDEE-447E-42B4-98EF-30C01AB2E8CD}" dt="2022-03-28T18:32:42.990" v="2973"/>
          <ac:spMkLst>
            <pc:docMk/>
            <pc:sldMk cId="3057876422" sldId="1879256067"/>
            <ac:spMk id="838" creationId="{0190ABD5-18B7-47D3-AAC8-20DAB4FB3C9F}"/>
          </ac:spMkLst>
        </pc:spChg>
        <pc:spChg chg="add del mod">
          <ac:chgData name="Kebba Jeng" userId="fe4cc296-ba7d-48a2-8799-89b58d218255" providerId="ADAL" clId="{388EFDEE-447E-42B4-98EF-30C01AB2E8CD}" dt="2022-03-28T18:32:42.990" v="2973"/>
          <ac:spMkLst>
            <pc:docMk/>
            <pc:sldMk cId="3057876422" sldId="1879256067"/>
            <ac:spMk id="839" creationId="{D2AE932E-DF8A-403C-9ED5-DA56CDA14E3C}"/>
          </ac:spMkLst>
        </pc:spChg>
        <pc:spChg chg="add del mod">
          <ac:chgData name="Kebba Jeng" userId="fe4cc296-ba7d-48a2-8799-89b58d218255" providerId="ADAL" clId="{388EFDEE-447E-42B4-98EF-30C01AB2E8CD}" dt="2022-03-28T18:32:42.990" v="2973"/>
          <ac:spMkLst>
            <pc:docMk/>
            <pc:sldMk cId="3057876422" sldId="1879256067"/>
            <ac:spMk id="840" creationId="{7131CBC2-FCE1-4C65-8FEB-7479F3BA25F2}"/>
          </ac:spMkLst>
        </pc:spChg>
        <pc:spChg chg="add del mod">
          <ac:chgData name="Kebba Jeng" userId="fe4cc296-ba7d-48a2-8799-89b58d218255" providerId="ADAL" clId="{388EFDEE-447E-42B4-98EF-30C01AB2E8CD}" dt="2022-03-28T18:32:42.990" v="2973"/>
          <ac:spMkLst>
            <pc:docMk/>
            <pc:sldMk cId="3057876422" sldId="1879256067"/>
            <ac:spMk id="841" creationId="{6D94A0C3-3B15-416B-91ED-C692F4DA25AC}"/>
          </ac:spMkLst>
        </pc:spChg>
        <pc:spChg chg="add del mod">
          <ac:chgData name="Kebba Jeng" userId="fe4cc296-ba7d-48a2-8799-89b58d218255" providerId="ADAL" clId="{388EFDEE-447E-42B4-98EF-30C01AB2E8CD}" dt="2022-03-28T18:32:42.990" v="2973"/>
          <ac:spMkLst>
            <pc:docMk/>
            <pc:sldMk cId="3057876422" sldId="1879256067"/>
            <ac:spMk id="842" creationId="{4C14E016-9DE9-467C-A60D-B5D2AC9A79C6}"/>
          </ac:spMkLst>
        </pc:spChg>
        <pc:spChg chg="add del mod">
          <ac:chgData name="Kebba Jeng" userId="fe4cc296-ba7d-48a2-8799-89b58d218255" providerId="ADAL" clId="{388EFDEE-447E-42B4-98EF-30C01AB2E8CD}" dt="2022-03-28T18:32:42.990" v="2973"/>
          <ac:spMkLst>
            <pc:docMk/>
            <pc:sldMk cId="3057876422" sldId="1879256067"/>
            <ac:spMk id="843" creationId="{BB7D1468-D69D-4D09-A596-43D645F008AE}"/>
          </ac:spMkLst>
        </pc:spChg>
        <pc:spChg chg="add del mod">
          <ac:chgData name="Kebba Jeng" userId="fe4cc296-ba7d-48a2-8799-89b58d218255" providerId="ADAL" clId="{388EFDEE-447E-42B4-98EF-30C01AB2E8CD}" dt="2022-03-28T18:32:42.990" v="2973"/>
          <ac:spMkLst>
            <pc:docMk/>
            <pc:sldMk cId="3057876422" sldId="1879256067"/>
            <ac:spMk id="844" creationId="{3BAFCE1C-927C-4920-A5B6-19A534C69692}"/>
          </ac:spMkLst>
        </pc:spChg>
        <pc:spChg chg="add del mod">
          <ac:chgData name="Kebba Jeng" userId="fe4cc296-ba7d-48a2-8799-89b58d218255" providerId="ADAL" clId="{388EFDEE-447E-42B4-98EF-30C01AB2E8CD}" dt="2022-03-28T18:32:42.990" v="2973"/>
          <ac:spMkLst>
            <pc:docMk/>
            <pc:sldMk cId="3057876422" sldId="1879256067"/>
            <ac:spMk id="845" creationId="{812D6EBA-644A-484B-A974-2A4307892F19}"/>
          </ac:spMkLst>
        </pc:spChg>
        <pc:spChg chg="add del mod">
          <ac:chgData name="Kebba Jeng" userId="fe4cc296-ba7d-48a2-8799-89b58d218255" providerId="ADAL" clId="{388EFDEE-447E-42B4-98EF-30C01AB2E8CD}" dt="2022-03-28T18:32:42.990" v="2973"/>
          <ac:spMkLst>
            <pc:docMk/>
            <pc:sldMk cId="3057876422" sldId="1879256067"/>
            <ac:spMk id="846" creationId="{1F39F829-7B0F-4978-9405-17DB693DB075}"/>
          </ac:spMkLst>
        </pc:spChg>
        <pc:spChg chg="add del mod">
          <ac:chgData name="Kebba Jeng" userId="fe4cc296-ba7d-48a2-8799-89b58d218255" providerId="ADAL" clId="{388EFDEE-447E-42B4-98EF-30C01AB2E8CD}" dt="2022-03-28T18:32:42.990" v="2973"/>
          <ac:spMkLst>
            <pc:docMk/>
            <pc:sldMk cId="3057876422" sldId="1879256067"/>
            <ac:spMk id="847" creationId="{54B14486-118C-44F9-ACED-7A25170FEE63}"/>
          </ac:spMkLst>
        </pc:spChg>
        <pc:spChg chg="add del mod">
          <ac:chgData name="Kebba Jeng" userId="fe4cc296-ba7d-48a2-8799-89b58d218255" providerId="ADAL" clId="{388EFDEE-447E-42B4-98EF-30C01AB2E8CD}" dt="2022-03-28T18:32:42.990" v="2973"/>
          <ac:spMkLst>
            <pc:docMk/>
            <pc:sldMk cId="3057876422" sldId="1879256067"/>
            <ac:spMk id="848" creationId="{CE419044-569A-4A1F-9EDC-EC679D5252E1}"/>
          </ac:spMkLst>
        </pc:spChg>
        <pc:spChg chg="add del mod">
          <ac:chgData name="Kebba Jeng" userId="fe4cc296-ba7d-48a2-8799-89b58d218255" providerId="ADAL" clId="{388EFDEE-447E-42B4-98EF-30C01AB2E8CD}" dt="2022-03-28T18:32:42.990" v="2973"/>
          <ac:spMkLst>
            <pc:docMk/>
            <pc:sldMk cId="3057876422" sldId="1879256067"/>
            <ac:spMk id="849" creationId="{5199280D-FCCB-4B4C-AABD-42133AF72745}"/>
          </ac:spMkLst>
        </pc:spChg>
        <pc:spChg chg="add del mod">
          <ac:chgData name="Kebba Jeng" userId="fe4cc296-ba7d-48a2-8799-89b58d218255" providerId="ADAL" clId="{388EFDEE-447E-42B4-98EF-30C01AB2E8CD}" dt="2022-03-28T18:32:42.990" v="2973"/>
          <ac:spMkLst>
            <pc:docMk/>
            <pc:sldMk cId="3057876422" sldId="1879256067"/>
            <ac:spMk id="850" creationId="{E2B35CA8-ADFD-43CD-ACFF-1816D7E821A2}"/>
          </ac:spMkLst>
        </pc:spChg>
        <pc:spChg chg="add del mod">
          <ac:chgData name="Kebba Jeng" userId="fe4cc296-ba7d-48a2-8799-89b58d218255" providerId="ADAL" clId="{388EFDEE-447E-42B4-98EF-30C01AB2E8CD}" dt="2022-03-28T18:32:42.990" v="2973"/>
          <ac:spMkLst>
            <pc:docMk/>
            <pc:sldMk cId="3057876422" sldId="1879256067"/>
            <ac:spMk id="851" creationId="{0BB47C43-C7E0-419F-BFEC-4CA1C24C6158}"/>
          </ac:spMkLst>
        </pc:spChg>
        <pc:spChg chg="add del mod">
          <ac:chgData name="Kebba Jeng" userId="fe4cc296-ba7d-48a2-8799-89b58d218255" providerId="ADAL" clId="{388EFDEE-447E-42B4-98EF-30C01AB2E8CD}" dt="2022-03-28T18:32:42.990" v="2973"/>
          <ac:spMkLst>
            <pc:docMk/>
            <pc:sldMk cId="3057876422" sldId="1879256067"/>
            <ac:spMk id="852" creationId="{D775AA24-9835-415F-A722-A85AA78B5D18}"/>
          </ac:spMkLst>
        </pc:spChg>
        <pc:spChg chg="add del mod">
          <ac:chgData name="Kebba Jeng" userId="fe4cc296-ba7d-48a2-8799-89b58d218255" providerId="ADAL" clId="{388EFDEE-447E-42B4-98EF-30C01AB2E8CD}" dt="2022-03-28T18:32:42.990" v="2973"/>
          <ac:spMkLst>
            <pc:docMk/>
            <pc:sldMk cId="3057876422" sldId="1879256067"/>
            <ac:spMk id="853" creationId="{386F8DA1-36C0-4B6E-AE20-BAE3AA1FF2E8}"/>
          </ac:spMkLst>
        </pc:spChg>
        <pc:spChg chg="add del mod">
          <ac:chgData name="Kebba Jeng" userId="fe4cc296-ba7d-48a2-8799-89b58d218255" providerId="ADAL" clId="{388EFDEE-447E-42B4-98EF-30C01AB2E8CD}" dt="2022-03-28T18:32:42.990" v="2973"/>
          <ac:spMkLst>
            <pc:docMk/>
            <pc:sldMk cId="3057876422" sldId="1879256067"/>
            <ac:spMk id="854" creationId="{938369D2-BD12-417B-B3BD-FE7574C5271E}"/>
          </ac:spMkLst>
        </pc:spChg>
        <pc:spChg chg="add del mod">
          <ac:chgData name="Kebba Jeng" userId="fe4cc296-ba7d-48a2-8799-89b58d218255" providerId="ADAL" clId="{388EFDEE-447E-42B4-98EF-30C01AB2E8CD}" dt="2022-03-28T18:32:42.990" v="2973"/>
          <ac:spMkLst>
            <pc:docMk/>
            <pc:sldMk cId="3057876422" sldId="1879256067"/>
            <ac:spMk id="855" creationId="{DC182E40-CDDF-4259-8768-966588F6CCCA}"/>
          </ac:spMkLst>
        </pc:spChg>
        <pc:spChg chg="add del mod">
          <ac:chgData name="Kebba Jeng" userId="fe4cc296-ba7d-48a2-8799-89b58d218255" providerId="ADAL" clId="{388EFDEE-447E-42B4-98EF-30C01AB2E8CD}" dt="2022-03-28T18:32:42.990" v="2973"/>
          <ac:spMkLst>
            <pc:docMk/>
            <pc:sldMk cId="3057876422" sldId="1879256067"/>
            <ac:spMk id="856" creationId="{A1AAFE98-6FE4-4C19-8410-16C41684EF09}"/>
          </ac:spMkLst>
        </pc:spChg>
        <pc:spChg chg="add del mod">
          <ac:chgData name="Kebba Jeng" userId="fe4cc296-ba7d-48a2-8799-89b58d218255" providerId="ADAL" clId="{388EFDEE-447E-42B4-98EF-30C01AB2E8CD}" dt="2022-03-28T18:32:42.990" v="2973"/>
          <ac:spMkLst>
            <pc:docMk/>
            <pc:sldMk cId="3057876422" sldId="1879256067"/>
            <ac:spMk id="857" creationId="{8210EE27-3293-4FCE-882E-52E1D70C6A2D}"/>
          </ac:spMkLst>
        </pc:spChg>
        <pc:spChg chg="add del mod">
          <ac:chgData name="Kebba Jeng" userId="fe4cc296-ba7d-48a2-8799-89b58d218255" providerId="ADAL" clId="{388EFDEE-447E-42B4-98EF-30C01AB2E8CD}" dt="2022-03-28T18:32:42.990" v="2973"/>
          <ac:spMkLst>
            <pc:docMk/>
            <pc:sldMk cId="3057876422" sldId="1879256067"/>
            <ac:spMk id="858" creationId="{0E8ADEC1-C396-4057-ACA4-ABB543E6B15D}"/>
          </ac:spMkLst>
        </pc:spChg>
        <pc:spChg chg="add del mod">
          <ac:chgData name="Kebba Jeng" userId="fe4cc296-ba7d-48a2-8799-89b58d218255" providerId="ADAL" clId="{388EFDEE-447E-42B4-98EF-30C01AB2E8CD}" dt="2022-03-28T18:32:42.990" v="2973"/>
          <ac:spMkLst>
            <pc:docMk/>
            <pc:sldMk cId="3057876422" sldId="1879256067"/>
            <ac:spMk id="859" creationId="{CCAA3EA6-0F57-49EE-A255-15B1D60160C9}"/>
          </ac:spMkLst>
        </pc:spChg>
        <pc:spChg chg="add del mod">
          <ac:chgData name="Kebba Jeng" userId="fe4cc296-ba7d-48a2-8799-89b58d218255" providerId="ADAL" clId="{388EFDEE-447E-42B4-98EF-30C01AB2E8CD}" dt="2022-03-28T18:32:42.990" v="2973"/>
          <ac:spMkLst>
            <pc:docMk/>
            <pc:sldMk cId="3057876422" sldId="1879256067"/>
            <ac:spMk id="860" creationId="{8E652FE7-BB7C-43AA-A4CF-075B7F93487A}"/>
          </ac:spMkLst>
        </pc:spChg>
        <pc:spChg chg="add del mod">
          <ac:chgData name="Kebba Jeng" userId="fe4cc296-ba7d-48a2-8799-89b58d218255" providerId="ADAL" clId="{388EFDEE-447E-42B4-98EF-30C01AB2E8CD}" dt="2022-03-28T18:32:42.990" v="2973"/>
          <ac:spMkLst>
            <pc:docMk/>
            <pc:sldMk cId="3057876422" sldId="1879256067"/>
            <ac:spMk id="861" creationId="{B2EE4027-4E1D-4B76-88A9-47E1774D01B5}"/>
          </ac:spMkLst>
        </pc:spChg>
        <pc:spChg chg="add del mod">
          <ac:chgData name="Kebba Jeng" userId="fe4cc296-ba7d-48a2-8799-89b58d218255" providerId="ADAL" clId="{388EFDEE-447E-42B4-98EF-30C01AB2E8CD}" dt="2022-03-28T18:32:42.990" v="2973"/>
          <ac:spMkLst>
            <pc:docMk/>
            <pc:sldMk cId="3057876422" sldId="1879256067"/>
            <ac:spMk id="862" creationId="{4326BAF5-EE25-4D08-A78F-0693DE6CADC0}"/>
          </ac:spMkLst>
        </pc:spChg>
        <pc:spChg chg="add del mod">
          <ac:chgData name="Kebba Jeng" userId="fe4cc296-ba7d-48a2-8799-89b58d218255" providerId="ADAL" clId="{388EFDEE-447E-42B4-98EF-30C01AB2E8CD}" dt="2022-03-28T18:32:42.990" v="2973"/>
          <ac:spMkLst>
            <pc:docMk/>
            <pc:sldMk cId="3057876422" sldId="1879256067"/>
            <ac:spMk id="863" creationId="{86757781-986A-4352-A17F-DE71CB4D301F}"/>
          </ac:spMkLst>
        </pc:spChg>
        <pc:spChg chg="add del mod">
          <ac:chgData name="Kebba Jeng" userId="fe4cc296-ba7d-48a2-8799-89b58d218255" providerId="ADAL" clId="{388EFDEE-447E-42B4-98EF-30C01AB2E8CD}" dt="2022-03-28T18:32:42.990" v="2973"/>
          <ac:spMkLst>
            <pc:docMk/>
            <pc:sldMk cId="3057876422" sldId="1879256067"/>
            <ac:spMk id="864" creationId="{02715847-BC32-47E1-8DEE-51A1A2BE0C2B}"/>
          </ac:spMkLst>
        </pc:spChg>
        <pc:spChg chg="add del mod">
          <ac:chgData name="Kebba Jeng" userId="fe4cc296-ba7d-48a2-8799-89b58d218255" providerId="ADAL" clId="{388EFDEE-447E-42B4-98EF-30C01AB2E8CD}" dt="2022-03-28T18:32:42.990" v="2973"/>
          <ac:spMkLst>
            <pc:docMk/>
            <pc:sldMk cId="3057876422" sldId="1879256067"/>
            <ac:spMk id="865" creationId="{A654DF4A-4B5D-46EA-9554-1A5AAD8E125D}"/>
          </ac:spMkLst>
        </pc:spChg>
        <pc:spChg chg="add del mod">
          <ac:chgData name="Kebba Jeng" userId="fe4cc296-ba7d-48a2-8799-89b58d218255" providerId="ADAL" clId="{388EFDEE-447E-42B4-98EF-30C01AB2E8CD}" dt="2022-03-28T18:32:42.990" v="2973"/>
          <ac:spMkLst>
            <pc:docMk/>
            <pc:sldMk cId="3057876422" sldId="1879256067"/>
            <ac:spMk id="866" creationId="{F5F61E28-D2F3-4FB7-B2C8-71A7E4485A36}"/>
          </ac:spMkLst>
        </pc:spChg>
        <pc:spChg chg="add del mod">
          <ac:chgData name="Kebba Jeng" userId="fe4cc296-ba7d-48a2-8799-89b58d218255" providerId="ADAL" clId="{388EFDEE-447E-42B4-98EF-30C01AB2E8CD}" dt="2022-03-28T18:32:42.990" v="2973"/>
          <ac:spMkLst>
            <pc:docMk/>
            <pc:sldMk cId="3057876422" sldId="1879256067"/>
            <ac:spMk id="867" creationId="{310E8A17-E05D-44B1-ACEA-F5524F76CD24}"/>
          </ac:spMkLst>
        </pc:spChg>
        <pc:spChg chg="del">
          <ac:chgData name="Kebba Jeng" userId="fe4cc296-ba7d-48a2-8799-89b58d218255" providerId="ADAL" clId="{388EFDEE-447E-42B4-98EF-30C01AB2E8CD}" dt="2022-03-28T18:32:30.226" v="2966" actId="21"/>
          <ac:spMkLst>
            <pc:docMk/>
            <pc:sldMk cId="3057876422" sldId="1879256067"/>
            <ac:spMk id="868" creationId="{07367EB4-4BDA-4B43-AB15-5680D274A3C6}"/>
          </ac:spMkLst>
        </pc:spChg>
        <pc:spChg chg="del">
          <ac:chgData name="Kebba Jeng" userId="fe4cc296-ba7d-48a2-8799-89b58d218255" providerId="ADAL" clId="{388EFDEE-447E-42B4-98EF-30C01AB2E8CD}" dt="2022-03-28T18:32:30.226" v="2966" actId="21"/>
          <ac:spMkLst>
            <pc:docMk/>
            <pc:sldMk cId="3057876422" sldId="1879256067"/>
            <ac:spMk id="869" creationId="{710B6941-C6B9-46D8-BD9A-3F20F40C69C1}"/>
          </ac:spMkLst>
        </pc:spChg>
        <pc:spChg chg="del">
          <ac:chgData name="Kebba Jeng" userId="fe4cc296-ba7d-48a2-8799-89b58d218255" providerId="ADAL" clId="{388EFDEE-447E-42B4-98EF-30C01AB2E8CD}" dt="2022-03-28T18:32:30.226" v="2966" actId="21"/>
          <ac:spMkLst>
            <pc:docMk/>
            <pc:sldMk cId="3057876422" sldId="1879256067"/>
            <ac:spMk id="870" creationId="{933F03CC-B330-43AE-8698-B6E37DE8860C}"/>
          </ac:spMkLst>
        </pc:spChg>
        <pc:spChg chg="del">
          <ac:chgData name="Kebba Jeng" userId="fe4cc296-ba7d-48a2-8799-89b58d218255" providerId="ADAL" clId="{388EFDEE-447E-42B4-98EF-30C01AB2E8CD}" dt="2022-03-28T18:32:30.226" v="2966" actId="21"/>
          <ac:spMkLst>
            <pc:docMk/>
            <pc:sldMk cId="3057876422" sldId="1879256067"/>
            <ac:spMk id="871" creationId="{FB84E762-8F42-4771-B6EA-0CF88709B788}"/>
          </ac:spMkLst>
        </pc:spChg>
        <pc:spChg chg="del">
          <ac:chgData name="Kebba Jeng" userId="fe4cc296-ba7d-48a2-8799-89b58d218255" providerId="ADAL" clId="{388EFDEE-447E-42B4-98EF-30C01AB2E8CD}" dt="2022-03-28T18:32:30.226" v="2966" actId="21"/>
          <ac:spMkLst>
            <pc:docMk/>
            <pc:sldMk cId="3057876422" sldId="1879256067"/>
            <ac:spMk id="872" creationId="{8CC9E6B9-FFEE-4F62-B6CA-02DBDFBB1405}"/>
          </ac:spMkLst>
        </pc:spChg>
        <pc:spChg chg="del">
          <ac:chgData name="Kebba Jeng" userId="fe4cc296-ba7d-48a2-8799-89b58d218255" providerId="ADAL" clId="{388EFDEE-447E-42B4-98EF-30C01AB2E8CD}" dt="2022-03-28T18:32:30.226" v="2966" actId="21"/>
          <ac:spMkLst>
            <pc:docMk/>
            <pc:sldMk cId="3057876422" sldId="1879256067"/>
            <ac:spMk id="873" creationId="{33BD6104-08F6-4B9E-9B78-7FED509B73C1}"/>
          </ac:spMkLst>
        </pc:spChg>
        <pc:spChg chg="del">
          <ac:chgData name="Kebba Jeng" userId="fe4cc296-ba7d-48a2-8799-89b58d218255" providerId="ADAL" clId="{388EFDEE-447E-42B4-98EF-30C01AB2E8CD}" dt="2022-03-28T18:32:30.226" v="2966" actId="21"/>
          <ac:spMkLst>
            <pc:docMk/>
            <pc:sldMk cId="3057876422" sldId="1879256067"/>
            <ac:spMk id="874" creationId="{226D36EF-1332-4150-BC37-50E0B3B16FCC}"/>
          </ac:spMkLst>
        </pc:spChg>
        <pc:spChg chg="del">
          <ac:chgData name="Kebba Jeng" userId="fe4cc296-ba7d-48a2-8799-89b58d218255" providerId="ADAL" clId="{388EFDEE-447E-42B4-98EF-30C01AB2E8CD}" dt="2022-03-28T18:32:30.226" v="2966" actId="21"/>
          <ac:spMkLst>
            <pc:docMk/>
            <pc:sldMk cId="3057876422" sldId="1879256067"/>
            <ac:spMk id="875" creationId="{7128B42E-F8D4-447D-82D7-574FBAC26150}"/>
          </ac:spMkLst>
        </pc:spChg>
        <pc:spChg chg="del">
          <ac:chgData name="Kebba Jeng" userId="fe4cc296-ba7d-48a2-8799-89b58d218255" providerId="ADAL" clId="{388EFDEE-447E-42B4-98EF-30C01AB2E8CD}" dt="2022-03-28T18:32:30.226" v="2966" actId="21"/>
          <ac:spMkLst>
            <pc:docMk/>
            <pc:sldMk cId="3057876422" sldId="1879256067"/>
            <ac:spMk id="876" creationId="{A415811F-D51D-4784-85F6-513EDD83278A}"/>
          </ac:spMkLst>
        </pc:spChg>
        <pc:spChg chg="del">
          <ac:chgData name="Kebba Jeng" userId="fe4cc296-ba7d-48a2-8799-89b58d218255" providerId="ADAL" clId="{388EFDEE-447E-42B4-98EF-30C01AB2E8CD}" dt="2022-03-28T18:32:30.226" v="2966" actId="21"/>
          <ac:spMkLst>
            <pc:docMk/>
            <pc:sldMk cId="3057876422" sldId="1879256067"/>
            <ac:spMk id="877" creationId="{74A75AB3-3256-491B-A4B9-5F5683021B1E}"/>
          </ac:spMkLst>
        </pc:spChg>
        <pc:spChg chg="del">
          <ac:chgData name="Kebba Jeng" userId="fe4cc296-ba7d-48a2-8799-89b58d218255" providerId="ADAL" clId="{388EFDEE-447E-42B4-98EF-30C01AB2E8CD}" dt="2022-03-28T18:32:30.226" v="2966" actId="21"/>
          <ac:spMkLst>
            <pc:docMk/>
            <pc:sldMk cId="3057876422" sldId="1879256067"/>
            <ac:spMk id="878" creationId="{D133A1D2-87FE-423E-BF4C-652CC89B693C}"/>
          </ac:spMkLst>
        </pc:spChg>
        <pc:spChg chg="del">
          <ac:chgData name="Kebba Jeng" userId="fe4cc296-ba7d-48a2-8799-89b58d218255" providerId="ADAL" clId="{388EFDEE-447E-42B4-98EF-30C01AB2E8CD}" dt="2022-03-28T18:32:30.226" v="2966" actId="21"/>
          <ac:spMkLst>
            <pc:docMk/>
            <pc:sldMk cId="3057876422" sldId="1879256067"/>
            <ac:spMk id="879" creationId="{A15E53C9-FE89-4D7B-90A8-2E20F378250F}"/>
          </ac:spMkLst>
        </pc:spChg>
        <pc:spChg chg="del">
          <ac:chgData name="Kebba Jeng" userId="fe4cc296-ba7d-48a2-8799-89b58d218255" providerId="ADAL" clId="{388EFDEE-447E-42B4-98EF-30C01AB2E8CD}" dt="2022-03-28T18:32:30.226" v="2966" actId="21"/>
          <ac:spMkLst>
            <pc:docMk/>
            <pc:sldMk cId="3057876422" sldId="1879256067"/>
            <ac:spMk id="880" creationId="{16A14BDB-C9F2-46BB-B0BD-A7DAA1C01EAD}"/>
          </ac:spMkLst>
        </pc:spChg>
        <pc:spChg chg="del">
          <ac:chgData name="Kebba Jeng" userId="fe4cc296-ba7d-48a2-8799-89b58d218255" providerId="ADAL" clId="{388EFDEE-447E-42B4-98EF-30C01AB2E8CD}" dt="2022-03-28T18:32:30.226" v="2966" actId="21"/>
          <ac:spMkLst>
            <pc:docMk/>
            <pc:sldMk cId="3057876422" sldId="1879256067"/>
            <ac:spMk id="881" creationId="{5F8143DD-F728-4D6C-9BE5-A50EB6868971}"/>
          </ac:spMkLst>
        </pc:spChg>
        <pc:spChg chg="del">
          <ac:chgData name="Kebba Jeng" userId="fe4cc296-ba7d-48a2-8799-89b58d218255" providerId="ADAL" clId="{388EFDEE-447E-42B4-98EF-30C01AB2E8CD}" dt="2022-03-28T18:32:30.226" v="2966" actId="21"/>
          <ac:spMkLst>
            <pc:docMk/>
            <pc:sldMk cId="3057876422" sldId="1879256067"/>
            <ac:spMk id="882" creationId="{EE40376E-7E38-4B7E-A47E-3B6DAC669A98}"/>
          </ac:spMkLst>
        </pc:spChg>
        <pc:spChg chg="del">
          <ac:chgData name="Kebba Jeng" userId="fe4cc296-ba7d-48a2-8799-89b58d218255" providerId="ADAL" clId="{388EFDEE-447E-42B4-98EF-30C01AB2E8CD}" dt="2022-03-28T18:32:30.226" v="2966" actId="21"/>
          <ac:spMkLst>
            <pc:docMk/>
            <pc:sldMk cId="3057876422" sldId="1879256067"/>
            <ac:spMk id="883" creationId="{1229C7B9-2396-46B3-ADB4-E204FD5E9C47}"/>
          </ac:spMkLst>
        </pc:spChg>
        <pc:spChg chg="del">
          <ac:chgData name="Kebba Jeng" userId="fe4cc296-ba7d-48a2-8799-89b58d218255" providerId="ADAL" clId="{388EFDEE-447E-42B4-98EF-30C01AB2E8CD}" dt="2022-03-28T18:32:30.226" v="2966" actId="21"/>
          <ac:spMkLst>
            <pc:docMk/>
            <pc:sldMk cId="3057876422" sldId="1879256067"/>
            <ac:spMk id="884" creationId="{10C25FB6-CB1C-4D0E-881E-440DE8743FF5}"/>
          </ac:spMkLst>
        </pc:spChg>
        <pc:spChg chg="del">
          <ac:chgData name="Kebba Jeng" userId="fe4cc296-ba7d-48a2-8799-89b58d218255" providerId="ADAL" clId="{388EFDEE-447E-42B4-98EF-30C01AB2E8CD}" dt="2022-03-28T18:32:30.226" v="2966" actId="21"/>
          <ac:spMkLst>
            <pc:docMk/>
            <pc:sldMk cId="3057876422" sldId="1879256067"/>
            <ac:spMk id="885" creationId="{6E056B9F-3363-44E4-B8F7-E49BE2806E20}"/>
          </ac:spMkLst>
        </pc:spChg>
        <pc:spChg chg="del">
          <ac:chgData name="Kebba Jeng" userId="fe4cc296-ba7d-48a2-8799-89b58d218255" providerId="ADAL" clId="{388EFDEE-447E-42B4-98EF-30C01AB2E8CD}" dt="2022-03-28T18:32:30.226" v="2966" actId="21"/>
          <ac:spMkLst>
            <pc:docMk/>
            <pc:sldMk cId="3057876422" sldId="1879256067"/>
            <ac:spMk id="886" creationId="{0F127BCD-438A-4C91-B5C9-5B14EE972462}"/>
          </ac:spMkLst>
        </pc:spChg>
        <pc:spChg chg="del">
          <ac:chgData name="Kebba Jeng" userId="fe4cc296-ba7d-48a2-8799-89b58d218255" providerId="ADAL" clId="{388EFDEE-447E-42B4-98EF-30C01AB2E8CD}" dt="2022-03-28T18:32:30.226" v="2966" actId="21"/>
          <ac:spMkLst>
            <pc:docMk/>
            <pc:sldMk cId="3057876422" sldId="1879256067"/>
            <ac:spMk id="887" creationId="{08B62266-79A3-4335-8F32-A5944E8F20DE}"/>
          </ac:spMkLst>
        </pc:spChg>
        <pc:spChg chg="del">
          <ac:chgData name="Kebba Jeng" userId="fe4cc296-ba7d-48a2-8799-89b58d218255" providerId="ADAL" clId="{388EFDEE-447E-42B4-98EF-30C01AB2E8CD}" dt="2022-03-28T18:32:30.226" v="2966" actId="21"/>
          <ac:spMkLst>
            <pc:docMk/>
            <pc:sldMk cId="3057876422" sldId="1879256067"/>
            <ac:spMk id="888" creationId="{B18EC24F-4F1A-4A27-BF30-FFE45BB25E69}"/>
          </ac:spMkLst>
        </pc:spChg>
        <pc:spChg chg="del">
          <ac:chgData name="Kebba Jeng" userId="fe4cc296-ba7d-48a2-8799-89b58d218255" providerId="ADAL" clId="{388EFDEE-447E-42B4-98EF-30C01AB2E8CD}" dt="2022-03-28T18:32:30.226" v="2966" actId="21"/>
          <ac:spMkLst>
            <pc:docMk/>
            <pc:sldMk cId="3057876422" sldId="1879256067"/>
            <ac:spMk id="889" creationId="{7E33A716-7DA8-41A0-89E6-1FBA91219C4D}"/>
          </ac:spMkLst>
        </pc:spChg>
        <pc:spChg chg="del">
          <ac:chgData name="Kebba Jeng" userId="fe4cc296-ba7d-48a2-8799-89b58d218255" providerId="ADAL" clId="{388EFDEE-447E-42B4-98EF-30C01AB2E8CD}" dt="2022-03-28T18:32:30.226" v="2966" actId="21"/>
          <ac:spMkLst>
            <pc:docMk/>
            <pc:sldMk cId="3057876422" sldId="1879256067"/>
            <ac:spMk id="890" creationId="{559A7900-8E79-48F4-B7FD-9D5DEFCA1ED1}"/>
          </ac:spMkLst>
        </pc:spChg>
        <pc:spChg chg="del">
          <ac:chgData name="Kebba Jeng" userId="fe4cc296-ba7d-48a2-8799-89b58d218255" providerId="ADAL" clId="{388EFDEE-447E-42B4-98EF-30C01AB2E8CD}" dt="2022-03-28T18:32:30.226" v="2966" actId="21"/>
          <ac:spMkLst>
            <pc:docMk/>
            <pc:sldMk cId="3057876422" sldId="1879256067"/>
            <ac:spMk id="891" creationId="{0FE421F4-B1FF-419E-ADF1-CE51F59EDC8B}"/>
          </ac:spMkLst>
        </pc:spChg>
        <pc:spChg chg="del">
          <ac:chgData name="Kebba Jeng" userId="fe4cc296-ba7d-48a2-8799-89b58d218255" providerId="ADAL" clId="{388EFDEE-447E-42B4-98EF-30C01AB2E8CD}" dt="2022-03-28T18:32:30.226" v="2966" actId="21"/>
          <ac:spMkLst>
            <pc:docMk/>
            <pc:sldMk cId="3057876422" sldId="1879256067"/>
            <ac:spMk id="892" creationId="{FFF94736-4C56-4B1D-980B-469091A9BA58}"/>
          </ac:spMkLst>
        </pc:spChg>
        <pc:spChg chg="del">
          <ac:chgData name="Kebba Jeng" userId="fe4cc296-ba7d-48a2-8799-89b58d218255" providerId="ADAL" clId="{388EFDEE-447E-42B4-98EF-30C01AB2E8CD}" dt="2022-03-28T18:32:30.226" v="2966" actId="21"/>
          <ac:spMkLst>
            <pc:docMk/>
            <pc:sldMk cId="3057876422" sldId="1879256067"/>
            <ac:spMk id="893" creationId="{E9E8E09A-F62C-4D61-B8A2-4190BE3F8DC3}"/>
          </ac:spMkLst>
        </pc:spChg>
        <pc:spChg chg="del">
          <ac:chgData name="Kebba Jeng" userId="fe4cc296-ba7d-48a2-8799-89b58d218255" providerId="ADAL" clId="{388EFDEE-447E-42B4-98EF-30C01AB2E8CD}" dt="2022-03-28T18:32:30.226" v="2966" actId="21"/>
          <ac:spMkLst>
            <pc:docMk/>
            <pc:sldMk cId="3057876422" sldId="1879256067"/>
            <ac:spMk id="894" creationId="{967AD2F3-BBAE-4F3E-8629-D356B5FC5972}"/>
          </ac:spMkLst>
        </pc:spChg>
        <pc:spChg chg="del">
          <ac:chgData name="Kebba Jeng" userId="fe4cc296-ba7d-48a2-8799-89b58d218255" providerId="ADAL" clId="{388EFDEE-447E-42B4-98EF-30C01AB2E8CD}" dt="2022-03-28T18:32:30.226" v="2966" actId="21"/>
          <ac:spMkLst>
            <pc:docMk/>
            <pc:sldMk cId="3057876422" sldId="1879256067"/>
            <ac:spMk id="895" creationId="{BC797A25-24EF-4342-8E87-8EE45F09B99F}"/>
          </ac:spMkLst>
        </pc:spChg>
        <pc:spChg chg="del">
          <ac:chgData name="Kebba Jeng" userId="fe4cc296-ba7d-48a2-8799-89b58d218255" providerId="ADAL" clId="{388EFDEE-447E-42B4-98EF-30C01AB2E8CD}" dt="2022-03-28T18:32:30.226" v="2966" actId="21"/>
          <ac:spMkLst>
            <pc:docMk/>
            <pc:sldMk cId="3057876422" sldId="1879256067"/>
            <ac:spMk id="896" creationId="{ECBFCA02-7CEA-44DE-AC8F-1D7B41EEB7CF}"/>
          </ac:spMkLst>
        </pc:spChg>
        <pc:spChg chg="del">
          <ac:chgData name="Kebba Jeng" userId="fe4cc296-ba7d-48a2-8799-89b58d218255" providerId="ADAL" clId="{388EFDEE-447E-42B4-98EF-30C01AB2E8CD}" dt="2022-03-28T18:32:30.226" v="2966" actId="21"/>
          <ac:spMkLst>
            <pc:docMk/>
            <pc:sldMk cId="3057876422" sldId="1879256067"/>
            <ac:spMk id="897" creationId="{E3130BAA-7C56-4046-AFCF-3FF84320F42B}"/>
          </ac:spMkLst>
        </pc:spChg>
        <pc:spChg chg="del">
          <ac:chgData name="Kebba Jeng" userId="fe4cc296-ba7d-48a2-8799-89b58d218255" providerId="ADAL" clId="{388EFDEE-447E-42B4-98EF-30C01AB2E8CD}" dt="2022-03-28T18:32:30.226" v="2966" actId="21"/>
          <ac:spMkLst>
            <pc:docMk/>
            <pc:sldMk cId="3057876422" sldId="1879256067"/>
            <ac:spMk id="898" creationId="{517AD1DC-36C7-4986-8F4F-E7BE92399354}"/>
          </ac:spMkLst>
        </pc:spChg>
        <pc:spChg chg="del">
          <ac:chgData name="Kebba Jeng" userId="fe4cc296-ba7d-48a2-8799-89b58d218255" providerId="ADAL" clId="{388EFDEE-447E-42B4-98EF-30C01AB2E8CD}" dt="2022-03-28T18:32:30.226" v="2966" actId="21"/>
          <ac:spMkLst>
            <pc:docMk/>
            <pc:sldMk cId="3057876422" sldId="1879256067"/>
            <ac:spMk id="899" creationId="{62119661-0E87-4120-9948-769AEB94FBB3}"/>
          </ac:spMkLst>
        </pc:spChg>
        <pc:spChg chg="del">
          <ac:chgData name="Kebba Jeng" userId="fe4cc296-ba7d-48a2-8799-89b58d218255" providerId="ADAL" clId="{388EFDEE-447E-42B4-98EF-30C01AB2E8CD}" dt="2022-03-28T18:32:30.226" v="2966" actId="21"/>
          <ac:spMkLst>
            <pc:docMk/>
            <pc:sldMk cId="3057876422" sldId="1879256067"/>
            <ac:spMk id="900" creationId="{9693E56E-CB8B-491F-9780-DF15C2BF87D6}"/>
          </ac:spMkLst>
        </pc:spChg>
        <pc:spChg chg="del">
          <ac:chgData name="Kebba Jeng" userId="fe4cc296-ba7d-48a2-8799-89b58d218255" providerId="ADAL" clId="{388EFDEE-447E-42B4-98EF-30C01AB2E8CD}" dt="2022-03-28T18:32:30.226" v="2966" actId="21"/>
          <ac:spMkLst>
            <pc:docMk/>
            <pc:sldMk cId="3057876422" sldId="1879256067"/>
            <ac:spMk id="901" creationId="{5E233163-A732-4EF7-B1E7-FE9F046DE91C}"/>
          </ac:spMkLst>
        </pc:spChg>
        <pc:spChg chg="del">
          <ac:chgData name="Kebba Jeng" userId="fe4cc296-ba7d-48a2-8799-89b58d218255" providerId="ADAL" clId="{388EFDEE-447E-42B4-98EF-30C01AB2E8CD}" dt="2022-03-28T18:32:30.226" v="2966" actId="21"/>
          <ac:spMkLst>
            <pc:docMk/>
            <pc:sldMk cId="3057876422" sldId="1879256067"/>
            <ac:spMk id="902" creationId="{42443AE5-C9B9-42F6-89AA-FCA8EAFCBB6F}"/>
          </ac:spMkLst>
        </pc:spChg>
        <pc:spChg chg="del">
          <ac:chgData name="Kebba Jeng" userId="fe4cc296-ba7d-48a2-8799-89b58d218255" providerId="ADAL" clId="{388EFDEE-447E-42B4-98EF-30C01AB2E8CD}" dt="2022-03-28T18:32:30.226" v="2966" actId="21"/>
          <ac:spMkLst>
            <pc:docMk/>
            <pc:sldMk cId="3057876422" sldId="1879256067"/>
            <ac:spMk id="903" creationId="{24AE8EAC-31A2-46D1-BE75-63894E25E041}"/>
          </ac:spMkLst>
        </pc:spChg>
        <pc:spChg chg="del">
          <ac:chgData name="Kebba Jeng" userId="fe4cc296-ba7d-48a2-8799-89b58d218255" providerId="ADAL" clId="{388EFDEE-447E-42B4-98EF-30C01AB2E8CD}" dt="2022-03-28T18:32:30.226" v="2966" actId="21"/>
          <ac:spMkLst>
            <pc:docMk/>
            <pc:sldMk cId="3057876422" sldId="1879256067"/>
            <ac:spMk id="904" creationId="{E146BEA6-789F-4254-9987-2DAFC46790B3}"/>
          </ac:spMkLst>
        </pc:spChg>
        <pc:spChg chg="del">
          <ac:chgData name="Kebba Jeng" userId="fe4cc296-ba7d-48a2-8799-89b58d218255" providerId="ADAL" clId="{388EFDEE-447E-42B4-98EF-30C01AB2E8CD}" dt="2022-03-28T18:32:30.226" v="2966" actId="21"/>
          <ac:spMkLst>
            <pc:docMk/>
            <pc:sldMk cId="3057876422" sldId="1879256067"/>
            <ac:spMk id="905" creationId="{323043CA-3029-4AF5-96F2-6F12211586FD}"/>
          </ac:spMkLst>
        </pc:spChg>
        <pc:spChg chg="del">
          <ac:chgData name="Kebba Jeng" userId="fe4cc296-ba7d-48a2-8799-89b58d218255" providerId="ADAL" clId="{388EFDEE-447E-42B4-98EF-30C01AB2E8CD}" dt="2022-03-28T18:32:30.226" v="2966" actId="21"/>
          <ac:spMkLst>
            <pc:docMk/>
            <pc:sldMk cId="3057876422" sldId="1879256067"/>
            <ac:spMk id="906" creationId="{3308F702-BB7D-4D7E-BECE-ED9EA837AE19}"/>
          </ac:spMkLst>
        </pc:spChg>
        <pc:spChg chg="del">
          <ac:chgData name="Kebba Jeng" userId="fe4cc296-ba7d-48a2-8799-89b58d218255" providerId="ADAL" clId="{388EFDEE-447E-42B4-98EF-30C01AB2E8CD}" dt="2022-03-28T18:32:30.226" v="2966" actId="21"/>
          <ac:spMkLst>
            <pc:docMk/>
            <pc:sldMk cId="3057876422" sldId="1879256067"/>
            <ac:spMk id="907" creationId="{D8CB0B4A-129F-455F-9E94-70BA941C7081}"/>
          </ac:spMkLst>
        </pc:spChg>
        <pc:spChg chg="del">
          <ac:chgData name="Kebba Jeng" userId="fe4cc296-ba7d-48a2-8799-89b58d218255" providerId="ADAL" clId="{388EFDEE-447E-42B4-98EF-30C01AB2E8CD}" dt="2022-03-28T18:32:30.226" v="2966" actId="21"/>
          <ac:spMkLst>
            <pc:docMk/>
            <pc:sldMk cId="3057876422" sldId="1879256067"/>
            <ac:spMk id="908" creationId="{3B572DF6-7B1B-46D8-AD3C-72455D43B211}"/>
          </ac:spMkLst>
        </pc:spChg>
        <pc:spChg chg="del">
          <ac:chgData name="Kebba Jeng" userId="fe4cc296-ba7d-48a2-8799-89b58d218255" providerId="ADAL" clId="{388EFDEE-447E-42B4-98EF-30C01AB2E8CD}" dt="2022-03-28T18:32:30.226" v="2966" actId="21"/>
          <ac:spMkLst>
            <pc:docMk/>
            <pc:sldMk cId="3057876422" sldId="1879256067"/>
            <ac:spMk id="909" creationId="{88658569-869D-4173-BBB1-695EB0CD6AC2}"/>
          </ac:spMkLst>
        </pc:spChg>
        <pc:spChg chg="del">
          <ac:chgData name="Kebba Jeng" userId="fe4cc296-ba7d-48a2-8799-89b58d218255" providerId="ADAL" clId="{388EFDEE-447E-42B4-98EF-30C01AB2E8CD}" dt="2022-03-28T18:32:30.226" v="2966" actId="21"/>
          <ac:spMkLst>
            <pc:docMk/>
            <pc:sldMk cId="3057876422" sldId="1879256067"/>
            <ac:spMk id="910" creationId="{5AB84ED1-0805-40EE-8FCD-1A3F62A4A63D}"/>
          </ac:spMkLst>
        </pc:spChg>
        <pc:spChg chg="del">
          <ac:chgData name="Kebba Jeng" userId="fe4cc296-ba7d-48a2-8799-89b58d218255" providerId="ADAL" clId="{388EFDEE-447E-42B4-98EF-30C01AB2E8CD}" dt="2022-03-28T18:32:30.226" v="2966" actId="21"/>
          <ac:spMkLst>
            <pc:docMk/>
            <pc:sldMk cId="3057876422" sldId="1879256067"/>
            <ac:spMk id="911" creationId="{0E00DC2C-7E6B-41DE-822B-B3CE2ABAB409}"/>
          </ac:spMkLst>
        </pc:spChg>
        <pc:spChg chg="del">
          <ac:chgData name="Kebba Jeng" userId="fe4cc296-ba7d-48a2-8799-89b58d218255" providerId="ADAL" clId="{388EFDEE-447E-42B4-98EF-30C01AB2E8CD}" dt="2022-03-28T18:32:30.226" v="2966" actId="21"/>
          <ac:spMkLst>
            <pc:docMk/>
            <pc:sldMk cId="3057876422" sldId="1879256067"/>
            <ac:spMk id="912" creationId="{B90765DD-5B27-44DD-B4B6-14D05694BC31}"/>
          </ac:spMkLst>
        </pc:spChg>
        <pc:spChg chg="del">
          <ac:chgData name="Kebba Jeng" userId="fe4cc296-ba7d-48a2-8799-89b58d218255" providerId="ADAL" clId="{388EFDEE-447E-42B4-98EF-30C01AB2E8CD}" dt="2022-03-28T18:32:30.226" v="2966" actId="21"/>
          <ac:spMkLst>
            <pc:docMk/>
            <pc:sldMk cId="3057876422" sldId="1879256067"/>
            <ac:spMk id="913" creationId="{EF495674-A590-438D-9AE3-421D6ED98FE8}"/>
          </ac:spMkLst>
        </pc:spChg>
        <pc:spChg chg="del">
          <ac:chgData name="Kebba Jeng" userId="fe4cc296-ba7d-48a2-8799-89b58d218255" providerId="ADAL" clId="{388EFDEE-447E-42B4-98EF-30C01AB2E8CD}" dt="2022-03-28T18:32:30.226" v="2966" actId="21"/>
          <ac:spMkLst>
            <pc:docMk/>
            <pc:sldMk cId="3057876422" sldId="1879256067"/>
            <ac:spMk id="914" creationId="{75AC730F-95ED-4E8B-BD31-47F545E8588A}"/>
          </ac:spMkLst>
        </pc:spChg>
        <pc:spChg chg="del">
          <ac:chgData name="Kebba Jeng" userId="fe4cc296-ba7d-48a2-8799-89b58d218255" providerId="ADAL" clId="{388EFDEE-447E-42B4-98EF-30C01AB2E8CD}" dt="2022-03-28T18:32:30.226" v="2966" actId="21"/>
          <ac:spMkLst>
            <pc:docMk/>
            <pc:sldMk cId="3057876422" sldId="1879256067"/>
            <ac:spMk id="915" creationId="{C3F149D7-A683-4B6A-A608-8DB2DAB6F330}"/>
          </ac:spMkLst>
        </pc:spChg>
        <pc:spChg chg="del">
          <ac:chgData name="Kebba Jeng" userId="fe4cc296-ba7d-48a2-8799-89b58d218255" providerId="ADAL" clId="{388EFDEE-447E-42B4-98EF-30C01AB2E8CD}" dt="2022-03-28T18:32:30.226" v="2966" actId="21"/>
          <ac:spMkLst>
            <pc:docMk/>
            <pc:sldMk cId="3057876422" sldId="1879256067"/>
            <ac:spMk id="916" creationId="{F5BDAE3F-F99E-471D-B6FD-257ED770AB76}"/>
          </ac:spMkLst>
        </pc:spChg>
        <pc:spChg chg="del">
          <ac:chgData name="Kebba Jeng" userId="fe4cc296-ba7d-48a2-8799-89b58d218255" providerId="ADAL" clId="{388EFDEE-447E-42B4-98EF-30C01AB2E8CD}" dt="2022-03-28T18:32:30.226" v="2966" actId="21"/>
          <ac:spMkLst>
            <pc:docMk/>
            <pc:sldMk cId="3057876422" sldId="1879256067"/>
            <ac:spMk id="917" creationId="{685D8346-8810-4528-9A49-5A71F5876F5A}"/>
          </ac:spMkLst>
        </pc:spChg>
        <pc:spChg chg="del">
          <ac:chgData name="Kebba Jeng" userId="fe4cc296-ba7d-48a2-8799-89b58d218255" providerId="ADAL" clId="{388EFDEE-447E-42B4-98EF-30C01AB2E8CD}" dt="2022-03-28T18:32:30.226" v="2966" actId="21"/>
          <ac:spMkLst>
            <pc:docMk/>
            <pc:sldMk cId="3057876422" sldId="1879256067"/>
            <ac:spMk id="918" creationId="{619E1C35-4779-4454-A85C-DC769CCA52F3}"/>
          </ac:spMkLst>
        </pc:spChg>
        <pc:spChg chg="del">
          <ac:chgData name="Kebba Jeng" userId="fe4cc296-ba7d-48a2-8799-89b58d218255" providerId="ADAL" clId="{388EFDEE-447E-42B4-98EF-30C01AB2E8CD}" dt="2022-03-28T18:32:30.226" v="2966" actId="21"/>
          <ac:spMkLst>
            <pc:docMk/>
            <pc:sldMk cId="3057876422" sldId="1879256067"/>
            <ac:spMk id="919" creationId="{B3D9B8DF-7F51-484D-96B4-EFFFE93C1421}"/>
          </ac:spMkLst>
        </pc:spChg>
        <pc:spChg chg="del">
          <ac:chgData name="Kebba Jeng" userId="fe4cc296-ba7d-48a2-8799-89b58d218255" providerId="ADAL" clId="{388EFDEE-447E-42B4-98EF-30C01AB2E8CD}" dt="2022-03-28T18:32:30.226" v="2966" actId="21"/>
          <ac:spMkLst>
            <pc:docMk/>
            <pc:sldMk cId="3057876422" sldId="1879256067"/>
            <ac:spMk id="920" creationId="{0657AFC7-E88D-486E-B725-4212BB0F5227}"/>
          </ac:spMkLst>
        </pc:spChg>
        <pc:spChg chg="del">
          <ac:chgData name="Kebba Jeng" userId="fe4cc296-ba7d-48a2-8799-89b58d218255" providerId="ADAL" clId="{388EFDEE-447E-42B4-98EF-30C01AB2E8CD}" dt="2022-03-28T18:32:30.226" v="2966" actId="21"/>
          <ac:spMkLst>
            <pc:docMk/>
            <pc:sldMk cId="3057876422" sldId="1879256067"/>
            <ac:spMk id="921" creationId="{681216F0-1F96-4FB8-90FA-D016E1B884B3}"/>
          </ac:spMkLst>
        </pc:spChg>
        <pc:spChg chg="del">
          <ac:chgData name="Kebba Jeng" userId="fe4cc296-ba7d-48a2-8799-89b58d218255" providerId="ADAL" clId="{388EFDEE-447E-42B4-98EF-30C01AB2E8CD}" dt="2022-03-28T18:32:30.226" v="2966" actId="21"/>
          <ac:spMkLst>
            <pc:docMk/>
            <pc:sldMk cId="3057876422" sldId="1879256067"/>
            <ac:spMk id="922" creationId="{903BBF0B-B5C5-4AB5-826C-81A44D317B4B}"/>
          </ac:spMkLst>
        </pc:spChg>
        <pc:spChg chg="del">
          <ac:chgData name="Kebba Jeng" userId="fe4cc296-ba7d-48a2-8799-89b58d218255" providerId="ADAL" clId="{388EFDEE-447E-42B4-98EF-30C01AB2E8CD}" dt="2022-03-28T18:32:30.226" v="2966" actId="21"/>
          <ac:spMkLst>
            <pc:docMk/>
            <pc:sldMk cId="3057876422" sldId="1879256067"/>
            <ac:spMk id="923" creationId="{DE9819B1-396B-4EC6-A44C-7FD3ED6A9B74}"/>
          </ac:spMkLst>
        </pc:spChg>
        <pc:spChg chg="del">
          <ac:chgData name="Kebba Jeng" userId="fe4cc296-ba7d-48a2-8799-89b58d218255" providerId="ADAL" clId="{388EFDEE-447E-42B4-98EF-30C01AB2E8CD}" dt="2022-03-28T18:32:30.226" v="2966" actId="21"/>
          <ac:spMkLst>
            <pc:docMk/>
            <pc:sldMk cId="3057876422" sldId="1879256067"/>
            <ac:spMk id="924" creationId="{E0EEB445-6A09-4771-BBB9-78A2CFFCAA58}"/>
          </ac:spMkLst>
        </pc:spChg>
        <pc:spChg chg="del">
          <ac:chgData name="Kebba Jeng" userId="fe4cc296-ba7d-48a2-8799-89b58d218255" providerId="ADAL" clId="{388EFDEE-447E-42B4-98EF-30C01AB2E8CD}" dt="2022-03-28T18:32:30.226" v="2966" actId="21"/>
          <ac:spMkLst>
            <pc:docMk/>
            <pc:sldMk cId="3057876422" sldId="1879256067"/>
            <ac:spMk id="925" creationId="{C6FE728F-BD8F-4B44-9F85-304E4477AA27}"/>
          </ac:spMkLst>
        </pc:spChg>
        <pc:spChg chg="del">
          <ac:chgData name="Kebba Jeng" userId="fe4cc296-ba7d-48a2-8799-89b58d218255" providerId="ADAL" clId="{388EFDEE-447E-42B4-98EF-30C01AB2E8CD}" dt="2022-03-28T18:32:30.226" v="2966" actId="21"/>
          <ac:spMkLst>
            <pc:docMk/>
            <pc:sldMk cId="3057876422" sldId="1879256067"/>
            <ac:spMk id="926" creationId="{B555E05A-C24B-4539-BFB7-C0245BFB2CFD}"/>
          </ac:spMkLst>
        </pc:spChg>
        <pc:spChg chg="del">
          <ac:chgData name="Kebba Jeng" userId="fe4cc296-ba7d-48a2-8799-89b58d218255" providerId="ADAL" clId="{388EFDEE-447E-42B4-98EF-30C01AB2E8CD}" dt="2022-03-28T18:32:30.226" v="2966" actId="21"/>
          <ac:spMkLst>
            <pc:docMk/>
            <pc:sldMk cId="3057876422" sldId="1879256067"/>
            <ac:spMk id="927" creationId="{FEA160DA-C4CD-4854-BF83-A7368A77BC2F}"/>
          </ac:spMkLst>
        </pc:spChg>
        <pc:spChg chg="del">
          <ac:chgData name="Kebba Jeng" userId="fe4cc296-ba7d-48a2-8799-89b58d218255" providerId="ADAL" clId="{388EFDEE-447E-42B4-98EF-30C01AB2E8CD}" dt="2022-03-28T18:32:30.226" v="2966" actId="21"/>
          <ac:spMkLst>
            <pc:docMk/>
            <pc:sldMk cId="3057876422" sldId="1879256067"/>
            <ac:spMk id="928" creationId="{DF854138-F9D8-4C33-AF56-E35CD6FFEAEF}"/>
          </ac:spMkLst>
        </pc:spChg>
        <pc:spChg chg="del">
          <ac:chgData name="Kebba Jeng" userId="fe4cc296-ba7d-48a2-8799-89b58d218255" providerId="ADAL" clId="{388EFDEE-447E-42B4-98EF-30C01AB2E8CD}" dt="2022-03-28T18:32:30.226" v="2966" actId="21"/>
          <ac:spMkLst>
            <pc:docMk/>
            <pc:sldMk cId="3057876422" sldId="1879256067"/>
            <ac:spMk id="929" creationId="{99C39C49-F8A2-40E4-8706-83BEF77C26CF}"/>
          </ac:spMkLst>
        </pc:spChg>
        <pc:spChg chg="del">
          <ac:chgData name="Kebba Jeng" userId="fe4cc296-ba7d-48a2-8799-89b58d218255" providerId="ADAL" clId="{388EFDEE-447E-42B4-98EF-30C01AB2E8CD}" dt="2022-03-28T18:32:30.226" v="2966" actId="21"/>
          <ac:spMkLst>
            <pc:docMk/>
            <pc:sldMk cId="3057876422" sldId="1879256067"/>
            <ac:spMk id="930" creationId="{EAE9E6E1-9E14-47F1-B680-B4FF7B345688}"/>
          </ac:spMkLst>
        </pc:spChg>
        <pc:spChg chg="del">
          <ac:chgData name="Kebba Jeng" userId="fe4cc296-ba7d-48a2-8799-89b58d218255" providerId="ADAL" clId="{388EFDEE-447E-42B4-98EF-30C01AB2E8CD}" dt="2022-03-28T18:32:30.226" v="2966" actId="21"/>
          <ac:spMkLst>
            <pc:docMk/>
            <pc:sldMk cId="3057876422" sldId="1879256067"/>
            <ac:spMk id="931" creationId="{F6EA1DBC-CB47-4C6C-9513-46A4FE2D886F}"/>
          </ac:spMkLst>
        </pc:spChg>
        <pc:spChg chg="del">
          <ac:chgData name="Kebba Jeng" userId="fe4cc296-ba7d-48a2-8799-89b58d218255" providerId="ADAL" clId="{388EFDEE-447E-42B4-98EF-30C01AB2E8CD}" dt="2022-03-28T18:32:30.226" v="2966" actId="21"/>
          <ac:spMkLst>
            <pc:docMk/>
            <pc:sldMk cId="3057876422" sldId="1879256067"/>
            <ac:spMk id="932" creationId="{4D313F16-2919-4AB5-B530-853625F56DDE}"/>
          </ac:spMkLst>
        </pc:spChg>
        <pc:spChg chg="del">
          <ac:chgData name="Kebba Jeng" userId="fe4cc296-ba7d-48a2-8799-89b58d218255" providerId="ADAL" clId="{388EFDEE-447E-42B4-98EF-30C01AB2E8CD}" dt="2022-03-28T18:32:30.226" v="2966" actId="21"/>
          <ac:spMkLst>
            <pc:docMk/>
            <pc:sldMk cId="3057876422" sldId="1879256067"/>
            <ac:spMk id="933" creationId="{7379A0EE-FFC1-4FC1-8C52-07787DDAEC56}"/>
          </ac:spMkLst>
        </pc:spChg>
        <pc:spChg chg="del">
          <ac:chgData name="Kebba Jeng" userId="fe4cc296-ba7d-48a2-8799-89b58d218255" providerId="ADAL" clId="{388EFDEE-447E-42B4-98EF-30C01AB2E8CD}" dt="2022-03-28T18:32:30.226" v="2966" actId="21"/>
          <ac:spMkLst>
            <pc:docMk/>
            <pc:sldMk cId="3057876422" sldId="1879256067"/>
            <ac:spMk id="934" creationId="{A6CAC76E-6EB0-4440-852D-5CDBDEFA54D1}"/>
          </ac:spMkLst>
        </pc:spChg>
        <pc:spChg chg="del">
          <ac:chgData name="Kebba Jeng" userId="fe4cc296-ba7d-48a2-8799-89b58d218255" providerId="ADAL" clId="{388EFDEE-447E-42B4-98EF-30C01AB2E8CD}" dt="2022-03-28T18:32:30.226" v="2966" actId="21"/>
          <ac:spMkLst>
            <pc:docMk/>
            <pc:sldMk cId="3057876422" sldId="1879256067"/>
            <ac:spMk id="935" creationId="{8E28F796-5B54-458F-8C7D-E62C0AAC0AC0}"/>
          </ac:spMkLst>
        </pc:spChg>
        <pc:spChg chg="del">
          <ac:chgData name="Kebba Jeng" userId="fe4cc296-ba7d-48a2-8799-89b58d218255" providerId="ADAL" clId="{388EFDEE-447E-42B4-98EF-30C01AB2E8CD}" dt="2022-03-28T18:32:30.226" v="2966" actId="21"/>
          <ac:spMkLst>
            <pc:docMk/>
            <pc:sldMk cId="3057876422" sldId="1879256067"/>
            <ac:spMk id="936" creationId="{85063FAB-8A3F-4935-8C08-2F233F566F03}"/>
          </ac:spMkLst>
        </pc:spChg>
        <pc:spChg chg="del">
          <ac:chgData name="Kebba Jeng" userId="fe4cc296-ba7d-48a2-8799-89b58d218255" providerId="ADAL" clId="{388EFDEE-447E-42B4-98EF-30C01AB2E8CD}" dt="2022-03-28T18:32:30.226" v="2966" actId="21"/>
          <ac:spMkLst>
            <pc:docMk/>
            <pc:sldMk cId="3057876422" sldId="1879256067"/>
            <ac:spMk id="937" creationId="{69CAC032-82D4-4061-8503-E74E7A142352}"/>
          </ac:spMkLst>
        </pc:spChg>
        <pc:spChg chg="del">
          <ac:chgData name="Kebba Jeng" userId="fe4cc296-ba7d-48a2-8799-89b58d218255" providerId="ADAL" clId="{388EFDEE-447E-42B4-98EF-30C01AB2E8CD}" dt="2022-03-28T18:32:30.226" v="2966" actId="21"/>
          <ac:spMkLst>
            <pc:docMk/>
            <pc:sldMk cId="3057876422" sldId="1879256067"/>
            <ac:spMk id="938" creationId="{740B2E3F-1FD7-44EA-A5E2-332CE9AA8C23}"/>
          </ac:spMkLst>
        </pc:spChg>
        <pc:spChg chg="del">
          <ac:chgData name="Kebba Jeng" userId="fe4cc296-ba7d-48a2-8799-89b58d218255" providerId="ADAL" clId="{388EFDEE-447E-42B4-98EF-30C01AB2E8CD}" dt="2022-03-28T18:32:30.226" v="2966" actId="21"/>
          <ac:spMkLst>
            <pc:docMk/>
            <pc:sldMk cId="3057876422" sldId="1879256067"/>
            <ac:spMk id="939" creationId="{F5E53408-2818-4BFC-9BD6-75A556B8D20B}"/>
          </ac:spMkLst>
        </pc:spChg>
        <pc:spChg chg="del">
          <ac:chgData name="Kebba Jeng" userId="fe4cc296-ba7d-48a2-8799-89b58d218255" providerId="ADAL" clId="{388EFDEE-447E-42B4-98EF-30C01AB2E8CD}" dt="2022-03-28T18:32:30.226" v="2966" actId="21"/>
          <ac:spMkLst>
            <pc:docMk/>
            <pc:sldMk cId="3057876422" sldId="1879256067"/>
            <ac:spMk id="940" creationId="{F50C4188-9285-4253-8EF7-7B23550D6783}"/>
          </ac:spMkLst>
        </pc:spChg>
        <pc:spChg chg="del">
          <ac:chgData name="Kebba Jeng" userId="fe4cc296-ba7d-48a2-8799-89b58d218255" providerId="ADAL" clId="{388EFDEE-447E-42B4-98EF-30C01AB2E8CD}" dt="2022-03-28T18:32:30.226" v="2966" actId="21"/>
          <ac:spMkLst>
            <pc:docMk/>
            <pc:sldMk cId="3057876422" sldId="1879256067"/>
            <ac:spMk id="941" creationId="{47E0A6E3-30C9-4C18-90E2-3FA429EB432C}"/>
          </ac:spMkLst>
        </pc:spChg>
        <pc:spChg chg="del">
          <ac:chgData name="Kebba Jeng" userId="fe4cc296-ba7d-48a2-8799-89b58d218255" providerId="ADAL" clId="{388EFDEE-447E-42B4-98EF-30C01AB2E8CD}" dt="2022-03-28T18:32:30.226" v="2966" actId="21"/>
          <ac:spMkLst>
            <pc:docMk/>
            <pc:sldMk cId="3057876422" sldId="1879256067"/>
            <ac:spMk id="942" creationId="{CCC7AE17-ED8C-481F-ADEE-821245FB9572}"/>
          </ac:spMkLst>
        </pc:spChg>
        <pc:spChg chg="del">
          <ac:chgData name="Kebba Jeng" userId="fe4cc296-ba7d-48a2-8799-89b58d218255" providerId="ADAL" clId="{388EFDEE-447E-42B4-98EF-30C01AB2E8CD}" dt="2022-03-28T18:32:30.226" v="2966" actId="21"/>
          <ac:spMkLst>
            <pc:docMk/>
            <pc:sldMk cId="3057876422" sldId="1879256067"/>
            <ac:spMk id="943" creationId="{9A78AAAB-3F4C-4BC4-8EA5-FDEAFA451A0E}"/>
          </ac:spMkLst>
        </pc:spChg>
        <pc:spChg chg="del">
          <ac:chgData name="Kebba Jeng" userId="fe4cc296-ba7d-48a2-8799-89b58d218255" providerId="ADAL" clId="{388EFDEE-447E-42B4-98EF-30C01AB2E8CD}" dt="2022-03-28T18:32:30.226" v="2966" actId="21"/>
          <ac:spMkLst>
            <pc:docMk/>
            <pc:sldMk cId="3057876422" sldId="1879256067"/>
            <ac:spMk id="944" creationId="{B47374F5-21D8-40A7-8990-8CF51B582585}"/>
          </ac:spMkLst>
        </pc:spChg>
        <pc:spChg chg="del">
          <ac:chgData name="Kebba Jeng" userId="fe4cc296-ba7d-48a2-8799-89b58d218255" providerId="ADAL" clId="{388EFDEE-447E-42B4-98EF-30C01AB2E8CD}" dt="2022-03-28T18:32:30.226" v="2966" actId="21"/>
          <ac:spMkLst>
            <pc:docMk/>
            <pc:sldMk cId="3057876422" sldId="1879256067"/>
            <ac:spMk id="945" creationId="{6F9DC1A4-D1B9-4622-8B75-5D746C61405B}"/>
          </ac:spMkLst>
        </pc:spChg>
        <pc:spChg chg="del">
          <ac:chgData name="Kebba Jeng" userId="fe4cc296-ba7d-48a2-8799-89b58d218255" providerId="ADAL" clId="{388EFDEE-447E-42B4-98EF-30C01AB2E8CD}" dt="2022-03-28T18:32:30.226" v="2966" actId="21"/>
          <ac:spMkLst>
            <pc:docMk/>
            <pc:sldMk cId="3057876422" sldId="1879256067"/>
            <ac:spMk id="946" creationId="{42D432D4-BB75-4220-9F60-7068AB5341EA}"/>
          </ac:spMkLst>
        </pc:spChg>
        <pc:spChg chg="del">
          <ac:chgData name="Kebba Jeng" userId="fe4cc296-ba7d-48a2-8799-89b58d218255" providerId="ADAL" clId="{388EFDEE-447E-42B4-98EF-30C01AB2E8CD}" dt="2022-03-28T18:32:30.226" v="2966" actId="21"/>
          <ac:spMkLst>
            <pc:docMk/>
            <pc:sldMk cId="3057876422" sldId="1879256067"/>
            <ac:spMk id="947" creationId="{AB0EFB4C-E24A-4F72-8328-ECC389EF6AFE}"/>
          </ac:spMkLst>
        </pc:spChg>
        <pc:spChg chg="del">
          <ac:chgData name="Kebba Jeng" userId="fe4cc296-ba7d-48a2-8799-89b58d218255" providerId="ADAL" clId="{388EFDEE-447E-42B4-98EF-30C01AB2E8CD}" dt="2022-03-28T18:32:30.226" v="2966" actId="21"/>
          <ac:spMkLst>
            <pc:docMk/>
            <pc:sldMk cId="3057876422" sldId="1879256067"/>
            <ac:spMk id="948" creationId="{7AD5BCC6-B6EE-4593-9426-480143691F01}"/>
          </ac:spMkLst>
        </pc:spChg>
        <pc:spChg chg="del">
          <ac:chgData name="Kebba Jeng" userId="fe4cc296-ba7d-48a2-8799-89b58d218255" providerId="ADAL" clId="{388EFDEE-447E-42B4-98EF-30C01AB2E8CD}" dt="2022-03-28T18:32:30.226" v="2966" actId="21"/>
          <ac:spMkLst>
            <pc:docMk/>
            <pc:sldMk cId="3057876422" sldId="1879256067"/>
            <ac:spMk id="949" creationId="{9543CDE1-5EE3-4366-9D97-CD8CA0A86F7D}"/>
          </ac:spMkLst>
        </pc:spChg>
        <pc:spChg chg="del">
          <ac:chgData name="Kebba Jeng" userId="fe4cc296-ba7d-48a2-8799-89b58d218255" providerId="ADAL" clId="{388EFDEE-447E-42B4-98EF-30C01AB2E8CD}" dt="2022-03-28T18:32:30.226" v="2966" actId="21"/>
          <ac:spMkLst>
            <pc:docMk/>
            <pc:sldMk cId="3057876422" sldId="1879256067"/>
            <ac:spMk id="950" creationId="{5698588F-F421-4E4E-BD1F-1223CF1C9E53}"/>
          </ac:spMkLst>
        </pc:spChg>
        <pc:spChg chg="del">
          <ac:chgData name="Kebba Jeng" userId="fe4cc296-ba7d-48a2-8799-89b58d218255" providerId="ADAL" clId="{388EFDEE-447E-42B4-98EF-30C01AB2E8CD}" dt="2022-03-28T18:32:30.226" v="2966" actId="21"/>
          <ac:spMkLst>
            <pc:docMk/>
            <pc:sldMk cId="3057876422" sldId="1879256067"/>
            <ac:spMk id="951" creationId="{17C5A91D-407F-48D3-B4C6-4253CF77F72E}"/>
          </ac:spMkLst>
        </pc:spChg>
        <pc:spChg chg="del">
          <ac:chgData name="Kebba Jeng" userId="fe4cc296-ba7d-48a2-8799-89b58d218255" providerId="ADAL" clId="{388EFDEE-447E-42B4-98EF-30C01AB2E8CD}" dt="2022-03-28T18:32:30.226" v="2966" actId="21"/>
          <ac:spMkLst>
            <pc:docMk/>
            <pc:sldMk cId="3057876422" sldId="1879256067"/>
            <ac:spMk id="952" creationId="{664AF473-4D16-428D-8769-6EF07C894C74}"/>
          </ac:spMkLst>
        </pc:spChg>
        <pc:spChg chg="del">
          <ac:chgData name="Kebba Jeng" userId="fe4cc296-ba7d-48a2-8799-89b58d218255" providerId="ADAL" clId="{388EFDEE-447E-42B4-98EF-30C01AB2E8CD}" dt="2022-03-28T18:32:30.226" v="2966" actId="21"/>
          <ac:spMkLst>
            <pc:docMk/>
            <pc:sldMk cId="3057876422" sldId="1879256067"/>
            <ac:spMk id="953" creationId="{49514017-783E-4757-B99B-AC516F6EB3D9}"/>
          </ac:spMkLst>
        </pc:spChg>
        <pc:spChg chg="del">
          <ac:chgData name="Kebba Jeng" userId="fe4cc296-ba7d-48a2-8799-89b58d218255" providerId="ADAL" clId="{388EFDEE-447E-42B4-98EF-30C01AB2E8CD}" dt="2022-03-28T18:32:30.226" v="2966" actId="21"/>
          <ac:spMkLst>
            <pc:docMk/>
            <pc:sldMk cId="3057876422" sldId="1879256067"/>
            <ac:spMk id="954" creationId="{920E17ED-1D1B-431E-A54A-B92CD22D80D9}"/>
          </ac:spMkLst>
        </pc:spChg>
        <pc:spChg chg="del">
          <ac:chgData name="Kebba Jeng" userId="fe4cc296-ba7d-48a2-8799-89b58d218255" providerId="ADAL" clId="{388EFDEE-447E-42B4-98EF-30C01AB2E8CD}" dt="2022-03-28T18:32:30.226" v="2966" actId="21"/>
          <ac:spMkLst>
            <pc:docMk/>
            <pc:sldMk cId="3057876422" sldId="1879256067"/>
            <ac:spMk id="955" creationId="{8B1D7DB7-09FC-4694-B406-D770DC107B3C}"/>
          </ac:spMkLst>
        </pc:spChg>
        <pc:spChg chg="del">
          <ac:chgData name="Kebba Jeng" userId="fe4cc296-ba7d-48a2-8799-89b58d218255" providerId="ADAL" clId="{388EFDEE-447E-42B4-98EF-30C01AB2E8CD}" dt="2022-03-28T18:32:30.226" v="2966" actId="21"/>
          <ac:spMkLst>
            <pc:docMk/>
            <pc:sldMk cId="3057876422" sldId="1879256067"/>
            <ac:spMk id="956" creationId="{4FBC7992-EC81-47FF-BE94-AE12B6267D17}"/>
          </ac:spMkLst>
        </pc:spChg>
        <pc:spChg chg="del">
          <ac:chgData name="Kebba Jeng" userId="fe4cc296-ba7d-48a2-8799-89b58d218255" providerId="ADAL" clId="{388EFDEE-447E-42B4-98EF-30C01AB2E8CD}" dt="2022-03-28T18:32:30.226" v="2966" actId="21"/>
          <ac:spMkLst>
            <pc:docMk/>
            <pc:sldMk cId="3057876422" sldId="1879256067"/>
            <ac:spMk id="957" creationId="{6CDE4D65-4EE3-4114-8F4A-3DE8F2665283}"/>
          </ac:spMkLst>
        </pc:spChg>
        <pc:spChg chg="del">
          <ac:chgData name="Kebba Jeng" userId="fe4cc296-ba7d-48a2-8799-89b58d218255" providerId="ADAL" clId="{388EFDEE-447E-42B4-98EF-30C01AB2E8CD}" dt="2022-03-28T18:32:30.226" v="2966" actId="21"/>
          <ac:spMkLst>
            <pc:docMk/>
            <pc:sldMk cId="3057876422" sldId="1879256067"/>
            <ac:spMk id="958" creationId="{E23D14A9-814F-4EBC-A9F1-405F6CB614D0}"/>
          </ac:spMkLst>
        </pc:spChg>
        <pc:spChg chg="del">
          <ac:chgData name="Kebba Jeng" userId="fe4cc296-ba7d-48a2-8799-89b58d218255" providerId="ADAL" clId="{388EFDEE-447E-42B4-98EF-30C01AB2E8CD}" dt="2022-03-28T18:32:30.226" v="2966" actId="21"/>
          <ac:spMkLst>
            <pc:docMk/>
            <pc:sldMk cId="3057876422" sldId="1879256067"/>
            <ac:spMk id="959" creationId="{310AD0DE-7797-4433-84C6-C0FA0304C6AF}"/>
          </ac:spMkLst>
        </pc:spChg>
        <pc:spChg chg="del">
          <ac:chgData name="Kebba Jeng" userId="fe4cc296-ba7d-48a2-8799-89b58d218255" providerId="ADAL" clId="{388EFDEE-447E-42B4-98EF-30C01AB2E8CD}" dt="2022-03-28T18:32:30.226" v="2966" actId="21"/>
          <ac:spMkLst>
            <pc:docMk/>
            <pc:sldMk cId="3057876422" sldId="1879256067"/>
            <ac:spMk id="960" creationId="{1DF6946C-CD37-4AC5-A4FF-1E7A77892B4F}"/>
          </ac:spMkLst>
        </pc:spChg>
        <pc:spChg chg="del">
          <ac:chgData name="Kebba Jeng" userId="fe4cc296-ba7d-48a2-8799-89b58d218255" providerId="ADAL" clId="{388EFDEE-447E-42B4-98EF-30C01AB2E8CD}" dt="2022-03-28T18:32:30.226" v="2966" actId="21"/>
          <ac:spMkLst>
            <pc:docMk/>
            <pc:sldMk cId="3057876422" sldId="1879256067"/>
            <ac:spMk id="961" creationId="{44417705-C1AA-4EF8-9AE5-2B722C952932}"/>
          </ac:spMkLst>
        </pc:spChg>
        <pc:spChg chg="del">
          <ac:chgData name="Kebba Jeng" userId="fe4cc296-ba7d-48a2-8799-89b58d218255" providerId="ADAL" clId="{388EFDEE-447E-42B4-98EF-30C01AB2E8CD}" dt="2022-03-28T18:32:30.226" v="2966" actId="21"/>
          <ac:spMkLst>
            <pc:docMk/>
            <pc:sldMk cId="3057876422" sldId="1879256067"/>
            <ac:spMk id="962" creationId="{73FAC383-73D9-4F2A-8165-520DE9214CB7}"/>
          </ac:spMkLst>
        </pc:spChg>
        <pc:spChg chg="del">
          <ac:chgData name="Kebba Jeng" userId="fe4cc296-ba7d-48a2-8799-89b58d218255" providerId="ADAL" clId="{388EFDEE-447E-42B4-98EF-30C01AB2E8CD}" dt="2022-03-28T18:32:30.226" v="2966" actId="21"/>
          <ac:spMkLst>
            <pc:docMk/>
            <pc:sldMk cId="3057876422" sldId="1879256067"/>
            <ac:spMk id="963" creationId="{66CC311C-F9F6-41D1-AF80-4701E57C6C71}"/>
          </ac:spMkLst>
        </pc:spChg>
        <pc:spChg chg="del">
          <ac:chgData name="Kebba Jeng" userId="fe4cc296-ba7d-48a2-8799-89b58d218255" providerId="ADAL" clId="{388EFDEE-447E-42B4-98EF-30C01AB2E8CD}" dt="2022-03-28T18:32:30.226" v="2966" actId="21"/>
          <ac:spMkLst>
            <pc:docMk/>
            <pc:sldMk cId="3057876422" sldId="1879256067"/>
            <ac:spMk id="964" creationId="{90439205-6AB3-4B06-86B0-9800BAD93D54}"/>
          </ac:spMkLst>
        </pc:spChg>
        <pc:spChg chg="del">
          <ac:chgData name="Kebba Jeng" userId="fe4cc296-ba7d-48a2-8799-89b58d218255" providerId="ADAL" clId="{388EFDEE-447E-42B4-98EF-30C01AB2E8CD}" dt="2022-03-28T18:32:30.226" v="2966" actId="21"/>
          <ac:spMkLst>
            <pc:docMk/>
            <pc:sldMk cId="3057876422" sldId="1879256067"/>
            <ac:spMk id="965" creationId="{A76E49C8-ADD2-45BA-94B7-0D6A8D52B0B1}"/>
          </ac:spMkLst>
        </pc:spChg>
        <pc:spChg chg="del">
          <ac:chgData name="Kebba Jeng" userId="fe4cc296-ba7d-48a2-8799-89b58d218255" providerId="ADAL" clId="{388EFDEE-447E-42B4-98EF-30C01AB2E8CD}" dt="2022-03-28T18:32:30.226" v="2966" actId="21"/>
          <ac:spMkLst>
            <pc:docMk/>
            <pc:sldMk cId="3057876422" sldId="1879256067"/>
            <ac:spMk id="966" creationId="{85CA8203-2934-45B5-BF59-026152AD05A5}"/>
          </ac:spMkLst>
        </pc:spChg>
        <pc:spChg chg="del">
          <ac:chgData name="Kebba Jeng" userId="fe4cc296-ba7d-48a2-8799-89b58d218255" providerId="ADAL" clId="{388EFDEE-447E-42B4-98EF-30C01AB2E8CD}" dt="2022-03-28T18:32:30.226" v="2966" actId="21"/>
          <ac:spMkLst>
            <pc:docMk/>
            <pc:sldMk cId="3057876422" sldId="1879256067"/>
            <ac:spMk id="967" creationId="{B2CCD7B8-1D0E-4C7D-B061-C41A878BC84D}"/>
          </ac:spMkLst>
        </pc:spChg>
        <pc:spChg chg="del">
          <ac:chgData name="Kebba Jeng" userId="fe4cc296-ba7d-48a2-8799-89b58d218255" providerId="ADAL" clId="{388EFDEE-447E-42B4-98EF-30C01AB2E8CD}" dt="2022-03-28T18:32:30.226" v="2966" actId="21"/>
          <ac:spMkLst>
            <pc:docMk/>
            <pc:sldMk cId="3057876422" sldId="1879256067"/>
            <ac:spMk id="968" creationId="{FA12C1C8-6464-4B31-9A6F-B25028C3B4BC}"/>
          </ac:spMkLst>
        </pc:spChg>
        <pc:spChg chg="del">
          <ac:chgData name="Kebba Jeng" userId="fe4cc296-ba7d-48a2-8799-89b58d218255" providerId="ADAL" clId="{388EFDEE-447E-42B4-98EF-30C01AB2E8CD}" dt="2022-03-28T18:32:30.226" v="2966" actId="21"/>
          <ac:spMkLst>
            <pc:docMk/>
            <pc:sldMk cId="3057876422" sldId="1879256067"/>
            <ac:spMk id="969" creationId="{A8861687-FFC3-4714-ACAF-CAC20166828D}"/>
          </ac:spMkLst>
        </pc:spChg>
        <pc:spChg chg="del">
          <ac:chgData name="Kebba Jeng" userId="fe4cc296-ba7d-48a2-8799-89b58d218255" providerId="ADAL" clId="{388EFDEE-447E-42B4-98EF-30C01AB2E8CD}" dt="2022-03-28T18:32:30.226" v="2966" actId="21"/>
          <ac:spMkLst>
            <pc:docMk/>
            <pc:sldMk cId="3057876422" sldId="1879256067"/>
            <ac:spMk id="970" creationId="{B8522151-09FA-4491-B970-6D22AA04B5E3}"/>
          </ac:spMkLst>
        </pc:spChg>
        <pc:spChg chg="del">
          <ac:chgData name="Kebba Jeng" userId="fe4cc296-ba7d-48a2-8799-89b58d218255" providerId="ADAL" clId="{388EFDEE-447E-42B4-98EF-30C01AB2E8CD}" dt="2022-03-28T18:32:30.226" v="2966" actId="21"/>
          <ac:spMkLst>
            <pc:docMk/>
            <pc:sldMk cId="3057876422" sldId="1879256067"/>
            <ac:spMk id="971" creationId="{D52EB314-3452-410B-9329-22E0B72E90F4}"/>
          </ac:spMkLst>
        </pc:spChg>
        <pc:spChg chg="del">
          <ac:chgData name="Kebba Jeng" userId="fe4cc296-ba7d-48a2-8799-89b58d218255" providerId="ADAL" clId="{388EFDEE-447E-42B4-98EF-30C01AB2E8CD}" dt="2022-03-28T18:32:30.226" v="2966" actId="21"/>
          <ac:spMkLst>
            <pc:docMk/>
            <pc:sldMk cId="3057876422" sldId="1879256067"/>
            <ac:spMk id="972" creationId="{DC455EE2-5F75-484C-8C25-0D97145BC853}"/>
          </ac:spMkLst>
        </pc:spChg>
        <pc:spChg chg="del">
          <ac:chgData name="Kebba Jeng" userId="fe4cc296-ba7d-48a2-8799-89b58d218255" providerId="ADAL" clId="{388EFDEE-447E-42B4-98EF-30C01AB2E8CD}" dt="2022-03-28T18:32:30.226" v="2966" actId="21"/>
          <ac:spMkLst>
            <pc:docMk/>
            <pc:sldMk cId="3057876422" sldId="1879256067"/>
            <ac:spMk id="973" creationId="{F49330EF-A887-4CEF-994A-BE6B28B3E2F2}"/>
          </ac:spMkLst>
        </pc:spChg>
        <pc:spChg chg="del">
          <ac:chgData name="Kebba Jeng" userId="fe4cc296-ba7d-48a2-8799-89b58d218255" providerId="ADAL" clId="{388EFDEE-447E-42B4-98EF-30C01AB2E8CD}" dt="2022-03-28T18:32:30.226" v="2966" actId="21"/>
          <ac:spMkLst>
            <pc:docMk/>
            <pc:sldMk cId="3057876422" sldId="1879256067"/>
            <ac:spMk id="974" creationId="{C8EABB15-882F-437C-80CA-E4C1D23DE517}"/>
          </ac:spMkLst>
        </pc:spChg>
        <pc:spChg chg="del">
          <ac:chgData name="Kebba Jeng" userId="fe4cc296-ba7d-48a2-8799-89b58d218255" providerId="ADAL" clId="{388EFDEE-447E-42B4-98EF-30C01AB2E8CD}" dt="2022-03-28T18:32:30.226" v="2966" actId="21"/>
          <ac:spMkLst>
            <pc:docMk/>
            <pc:sldMk cId="3057876422" sldId="1879256067"/>
            <ac:spMk id="975" creationId="{79B597D2-C540-4FBF-AE1D-B9084AE7D84F}"/>
          </ac:spMkLst>
        </pc:spChg>
        <pc:spChg chg="del">
          <ac:chgData name="Kebba Jeng" userId="fe4cc296-ba7d-48a2-8799-89b58d218255" providerId="ADAL" clId="{388EFDEE-447E-42B4-98EF-30C01AB2E8CD}" dt="2022-03-28T18:32:30.226" v="2966" actId="21"/>
          <ac:spMkLst>
            <pc:docMk/>
            <pc:sldMk cId="3057876422" sldId="1879256067"/>
            <ac:spMk id="976" creationId="{7D0817E4-7053-4CF2-B467-5D36AE4B2FB6}"/>
          </ac:spMkLst>
        </pc:spChg>
        <pc:spChg chg="del">
          <ac:chgData name="Kebba Jeng" userId="fe4cc296-ba7d-48a2-8799-89b58d218255" providerId="ADAL" clId="{388EFDEE-447E-42B4-98EF-30C01AB2E8CD}" dt="2022-03-28T18:32:30.226" v="2966" actId="21"/>
          <ac:spMkLst>
            <pc:docMk/>
            <pc:sldMk cId="3057876422" sldId="1879256067"/>
            <ac:spMk id="977" creationId="{64AD21E2-2971-4B92-802B-34BAA89ADC02}"/>
          </ac:spMkLst>
        </pc:spChg>
        <pc:spChg chg="del">
          <ac:chgData name="Kebba Jeng" userId="fe4cc296-ba7d-48a2-8799-89b58d218255" providerId="ADAL" clId="{388EFDEE-447E-42B4-98EF-30C01AB2E8CD}" dt="2022-03-28T18:32:30.226" v="2966" actId="21"/>
          <ac:spMkLst>
            <pc:docMk/>
            <pc:sldMk cId="3057876422" sldId="1879256067"/>
            <ac:spMk id="978" creationId="{C6CF6AEA-91F1-42CD-8FF4-6A5EA2127A92}"/>
          </ac:spMkLst>
        </pc:spChg>
        <pc:spChg chg="del">
          <ac:chgData name="Kebba Jeng" userId="fe4cc296-ba7d-48a2-8799-89b58d218255" providerId="ADAL" clId="{388EFDEE-447E-42B4-98EF-30C01AB2E8CD}" dt="2022-03-28T18:32:30.226" v="2966" actId="21"/>
          <ac:spMkLst>
            <pc:docMk/>
            <pc:sldMk cId="3057876422" sldId="1879256067"/>
            <ac:spMk id="979" creationId="{29FF47EC-84CC-4A03-B153-52943C32AFED}"/>
          </ac:spMkLst>
        </pc:spChg>
        <pc:spChg chg="del">
          <ac:chgData name="Kebba Jeng" userId="fe4cc296-ba7d-48a2-8799-89b58d218255" providerId="ADAL" clId="{388EFDEE-447E-42B4-98EF-30C01AB2E8CD}" dt="2022-03-28T18:32:30.226" v="2966" actId="21"/>
          <ac:spMkLst>
            <pc:docMk/>
            <pc:sldMk cId="3057876422" sldId="1879256067"/>
            <ac:spMk id="980" creationId="{5D59DB2C-5119-4F75-96E1-37B5BC7A295C}"/>
          </ac:spMkLst>
        </pc:spChg>
        <pc:spChg chg="del">
          <ac:chgData name="Kebba Jeng" userId="fe4cc296-ba7d-48a2-8799-89b58d218255" providerId="ADAL" clId="{388EFDEE-447E-42B4-98EF-30C01AB2E8CD}" dt="2022-03-28T18:32:30.226" v="2966" actId="21"/>
          <ac:spMkLst>
            <pc:docMk/>
            <pc:sldMk cId="3057876422" sldId="1879256067"/>
            <ac:spMk id="981" creationId="{947B25FD-EAE6-440D-8E42-06F469C2C5A6}"/>
          </ac:spMkLst>
        </pc:spChg>
        <pc:spChg chg="del">
          <ac:chgData name="Kebba Jeng" userId="fe4cc296-ba7d-48a2-8799-89b58d218255" providerId="ADAL" clId="{388EFDEE-447E-42B4-98EF-30C01AB2E8CD}" dt="2022-03-28T18:32:30.226" v="2966" actId="21"/>
          <ac:spMkLst>
            <pc:docMk/>
            <pc:sldMk cId="3057876422" sldId="1879256067"/>
            <ac:spMk id="982" creationId="{7405CDD1-72A2-4FB2-A1E7-E2A11CC10762}"/>
          </ac:spMkLst>
        </pc:spChg>
        <pc:spChg chg="del">
          <ac:chgData name="Kebba Jeng" userId="fe4cc296-ba7d-48a2-8799-89b58d218255" providerId="ADAL" clId="{388EFDEE-447E-42B4-98EF-30C01AB2E8CD}" dt="2022-03-28T18:32:30.226" v="2966" actId="21"/>
          <ac:spMkLst>
            <pc:docMk/>
            <pc:sldMk cId="3057876422" sldId="1879256067"/>
            <ac:spMk id="983" creationId="{6B394536-5E7E-4199-B6B1-B1A0E421E9B7}"/>
          </ac:spMkLst>
        </pc:spChg>
        <pc:spChg chg="del">
          <ac:chgData name="Kebba Jeng" userId="fe4cc296-ba7d-48a2-8799-89b58d218255" providerId="ADAL" clId="{388EFDEE-447E-42B4-98EF-30C01AB2E8CD}" dt="2022-03-28T18:32:30.226" v="2966" actId="21"/>
          <ac:spMkLst>
            <pc:docMk/>
            <pc:sldMk cId="3057876422" sldId="1879256067"/>
            <ac:spMk id="984" creationId="{101A12C5-EBC4-451F-A6EB-08CE45ADBBAA}"/>
          </ac:spMkLst>
        </pc:spChg>
        <pc:spChg chg="del">
          <ac:chgData name="Kebba Jeng" userId="fe4cc296-ba7d-48a2-8799-89b58d218255" providerId="ADAL" clId="{388EFDEE-447E-42B4-98EF-30C01AB2E8CD}" dt="2022-03-28T18:32:30.226" v="2966" actId="21"/>
          <ac:spMkLst>
            <pc:docMk/>
            <pc:sldMk cId="3057876422" sldId="1879256067"/>
            <ac:spMk id="985" creationId="{4D2DF0D8-6D60-48C6-A960-F0234A9AC427}"/>
          </ac:spMkLst>
        </pc:spChg>
        <pc:spChg chg="del">
          <ac:chgData name="Kebba Jeng" userId="fe4cc296-ba7d-48a2-8799-89b58d218255" providerId="ADAL" clId="{388EFDEE-447E-42B4-98EF-30C01AB2E8CD}" dt="2022-03-28T18:32:30.226" v="2966" actId="21"/>
          <ac:spMkLst>
            <pc:docMk/>
            <pc:sldMk cId="3057876422" sldId="1879256067"/>
            <ac:spMk id="986" creationId="{64AC8206-673A-4719-96DE-D3F1B4C386D4}"/>
          </ac:spMkLst>
        </pc:spChg>
        <pc:spChg chg="del">
          <ac:chgData name="Kebba Jeng" userId="fe4cc296-ba7d-48a2-8799-89b58d218255" providerId="ADAL" clId="{388EFDEE-447E-42B4-98EF-30C01AB2E8CD}" dt="2022-03-28T18:32:30.226" v="2966" actId="21"/>
          <ac:spMkLst>
            <pc:docMk/>
            <pc:sldMk cId="3057876422" sldId="1879256067"/>
            <ac:spMk id="987" creationId="{20029CC2-6A7A-4B34-AC5D-C57A92701B4D}"/>
          </ac:spMkLst>
        </pc:spChg>
        <pc:spChg chg="del">
          <ac:chgData name="Kebba Jeng" userId="fe4cc296-ba7d-48a2-8799-89b58d218255" providerId="ADAL" clId="{388EFDEE-447E-42B4-98EF-30C01AB2E8CD}" dt="2022-03-28T18:32:30.226" v="2966" actId="21"/>
          <ac:spMkLst>
            <pc:docMk/>
            <pc:sldMk cId="3057876422" sldId="1879256067"/>
            <ac:spMk id="988" creationId="{4B608947-66D8-445B-AB74-74BE01F222CB}"/>
          </ac:spMkLst>
        </pc:spChg>
        <pc:spChg chg="del">
          <ac:chgData name="Kebba Jeng" userId="fe4cc296-ba7d-48a2-8799-89b58d218255" providerId="ADAL" clId="{388EFDEE-447E-42B4-98EF-30C01AB2E8CD}" dt="2022-03-28T18:32:30.226" v="2966" actId="21"/>
          <ac:spMkLst>
            <pc:docMk/>
            <pc:sldMk cId="3057876422" sldId="1879256067"/>
            <ac:spMk id="989" creationId="{C6344C48-66B6-46FC-BA1E-699A4F6050D2}"/>
          </ac:spMkLst>
        </pc:spChg>
        <pc:spChg chg="del">
          <ac:chgData name="Kebba Jeng" userId="fe4cc296-ba7d-48a2-8799-89b58d218255" providerId="ADAL" clId="{388EFDEE-447E-42B4-98EF-30C01AB2E8CD}" dt="2022-03-28T18:32:30.226" v="2966" actId="21"/>
          <ac:spMkLst>
            <pc:docMk/>
            <pc:sldMk cId="3057876422" sldId="1879256067"/>
            <ac:spMk id="990" creationId="{DF02BCFD-408A-486D-8C52-AB66B63D5297}"/>
          </ac:spMkLst>
        </pc:spChg>
        <pc:spChg chg="del">
          <ac:chgData name="Kebba Jeng" userId="fe4cc296-ba7d-48a2-8799-89b58d218255" providerId="ADAL" clId="{388EFDEE-447E-42B4-98EF-30C01AB2E8CD}" dt="2022-03-28T18:32:30.226" v="2966" actId="21"/>
          <ac:spMkLst>
            <pc:docMk/>
            <pc:sldMk cId="3057876422" sldId="1879256067"/>
            <ac:spMk id="991" creationId="{09F70B33-CF9F-4B20-97F8-695AEDC8D597}"/>
          </ac:spMkLst>
        </pc:spChg>
        <pc:spChg chg="del">
          <ac:chgData name="Kebba Jeng" userId="fe4cc296-ba7d-48a2-8799-89b58d218255" providerId="ADAL" clId="{388EFDEE-447E-42B4-98EF-30C01AB2E8CD}" dt="2022-03-28T18:32:30.226" v="2966" actId="21"/>
          <ac:spMkLst>
            <pc:docMk/>
            <pc:sldMk cId="3057876422" sldId="1879256067"/>
            <ac:spMk id="992" creationId="{9D3A5A19-116E-4AD6-B3BA-FF5872A75551}"/>
          </ac:spMkLst>
        </pc:spChg>
        <pc:spChg chg="del">
          <ac:chgData name="Kebba Jeng" userId="fe4cc296-ba7d-48a2-8799-89b58d218255" providerId="ADAL" clId="{388EFDEE-447E-42B4-98EF-30C01AB2E8CD}" dt="2022-03-28T18:32:30.226" v="2966" actId="21"/>
          <ac:spMkLst>
            <pc:docMk/>
            <pc:sldMk cId="3057876422" sldId="1879256067"/>
            <ac:spMk id="993" creationId="{69C86165-7676-4589-9CD3-DFC3326AE456}"/>
          </ac:spMkLst>
        </pc:spChg>
        <pc:spChg chg="del">
          <ac:chgData name="Kebba Jeng" userId="fe4cc296-ba7d-48a2-8799-89b58d218255" providerId="ADAL" clId="{388EFDEE-447E-42B4-98EF-30C01AB2E8CD}" dt="2022-03-28T18:32:30.226" v="2966" actId="21"/>
          <ac:spMkLst>
            <pc:docMk/>
            <pc:sldMk cId="3057876422" sldId="1879256067"/>
            <ac:spMk id="994" creationId="{2CE3B2BF-FEE3-49FB-8073-1D99177EDF80}"/>
          </ac:spMkLst>
        </pc:spChg>
        <pc:spChg chg="del">
          <ac:chgData name="Kebba Jeng" userId="fe4cc296-ba7d-48a2-8799-89b58d218255" providerId="ADAL" clId="{388EFDEE-447E-42B4-98EF-30C01AB2E8CD}" dt="2022-03-28T18:32:30.226" v="2966" actId="21"/>
          <ac:spMkLst>
            <pc:docMk/>
            <pc:sldMk cId="3057876422" sldId="1879256067"/>
            <ac:spMk id="995" creationId="{E44F459C-D2AD-4F0A-893D-7595AD152A7C}"/>
          </ac:spMkLst>
        </pc:spChg>
        <pc:spChg chg="del">
          <ac:chgData name="Kebba Jeng" userId="fe4cc296-ba7d-48a2-8799-89b58d218255" providerId="ADAL" clId="{388EFDEE-447E-42B4-98EF-30C01AB2E8CD}" dt="2022-03-28T18:32:30.226" v="2966" actId="21"/>
          <ac:spMkLst>
            <pc:docMk/>
            <pc:sldMk cId="3057876422" sldId="1879256067"/>
            <ac:spMk id="996" creationId="{749F457E-780A-4F1C-846D-694E0ACCF50C}"/>
          </ac:spMkLst>
        </pc:spChg>
        <pc:spChg chg="del">
          <ac:chgData name="Kebba Jeng" userId="fe4cc296-ba7d-48a2-8799-89b58d218255" providerId="ADAL" clId="{388EFDEE-447E-42B4-98EF-30C01AB2E8CD}" dt="2022-03-28T18:32:30.226" v="2966" actId="21"/>
          <ac:spMkLst>
            <pc:docMk/>
            <pc:sldMk cId="3057876422" sldId="1879256067"/>
            <ac:spMk id="997" creationId="{0860054D-59E5-44C5-9A24-DFF6DD9C3639}"/>
          </ac:spMkLst>
        </pc:spChg>
        <pc:spChg chg="del">
          <ac:chgData name="Kebba Jeng" userId="fe4cc296-ba7d-48a2-8799-89b58d218255" providerId="ADAL" clId="{388EFDEE-447E-42B4-98EF-30C01AB2E8CD}" dt="2022-03-28T18:32:30.226" v="2966" actId="21"/>
          <ac:spMkLst>
            <pc:docMk/>
            <pc:sldMk cId="3057876422" sldId="1879256067"/>
            <ac:spMk id="998" creationId="{69F967C9-082D-4B0E-BF4B-918A18DE5A19}"/>
          </ac:spMkLst>
        </pc:spChg>
        <pc:spChg chg="del">
          <ac:chgData name="Kebba Jeng" userId="fe4cc296-ba7d-48a2-8799-89b58d218255" providerId="ADAL" clId="{388EFDEE-447E-42B4-98EF-30C01AB2E8CD}" dt="2022-03-28T18:32:30.226" v="2966" actId="21"/>
          <ac:spMkLst>
            <pc:docMk/>
            <pc:sldMk cId="3057876422" sldId="1879256067"/>
            <ac:spMk id="999" creationId="{9760BE50-853D-40E4-AF29-7C2C47D5EAA4}"/>
          </ac:spMkLst>
        </pc:spChg>
        <pc:spChg chg="del">
          <ac:chgData name="Kebba Jeng" userId="fe4cc296-ba7d-48a2-8799-89b58d218255" providerId="ADAL" clId="{388EFDEE-447E-42B4-98EF-30C01AB2E8CD}" dt="2022-03-28T18:32:30.226" v="2966" actId="21"/>
          <ac:spMkLst>
            <pc:docMk/>
            <pc:sldMk cId="3057876422" sldId="1879256067"/>
            <ac:spMk id="1000" creationId="{3B342144-3FB7-443E-AF0D-7A8630C9DB23}"/>
          </ac:spMkLst>
        </pc:spChg>
        <pc:spChg chg="del">
          <ac:chgData name="Kebba Jeng" userId="fe4cc296-ba7d-48a2-8799-89b58d218255" providerId="ADAL" clId="{388EFDEE-447E-42B4-98EF-30C01AB2E8CD}" dt="2022-03-28T18:32:30.226" v="2966" actId="21"/>
          <ac:spMkLst>
            <pc:docMk/>
            <pc:sldMk cId="3057876422" sldId="1879256067"/>
            <ac:spMk id="1001" creationId="{62D3E43C-348E-4574-B9F6-FA897F077EFF}"/>
          </ac:spMkLst>
        </pc:spChg>
        <pc:spChg chg="del">
          <ac:chgData name="Kebba Jeng" userId="fe4cc296-ba7d-48a2-8799-89b58d218255" providerId="ADAL" clId="{388EFDEE-447E-42B4-98EF-30C01AB2E8CD}" dt="2022-03-28T18:32:30.226" v="2966" actId="21"/>
          <ac:spMkLst>
            <pc:docMk/>
            <pc:sldMk cId="3057876422" sldId="1879256067"/>
            <ac:spMk id="1002" creationId="{E0516EA8-837D-4CF5-B823-F8E121979CF2}"/>
          </ac:spMkLst>
        </pc:spChg>
        <pc:spChg chg="del">
          <ac:chgData name="Kebba Jeng" userId="fe4cc296-ba7d-48a2-8799-89b58d218255" providerId="ADAL" clId="{388EFDEE-447E-42B4-98EF-30C01AB2E8CD}" dt="2022-03-28T18:32:30.226" v="2966" actId="21"/>
          <ac:spMkLst>
            <pc:docMk/>
            <pc:sldMk cId="3057876422" sldId="1879256067"/>
            <ac:spMk id="1003" creationId="{3F58AC8F-8614-4DF4-86F1-04CA3A66B68B}"/>
          </ac:spMkLst>
        </pc:spChg>
        <pc:spChg chg="del">
          <ac:chgData name="Kebba Jeng" userId="fe4cc296-ba7d-48a2-8799-89b58d218255" providerId="ADAL" clId="{388EFDEE-447E-42B4-98EF-30C01AB2E8CD}" dt="2022-03-28T18:32:30.226" v="2966" actId="21"/>
          <ac:spMkLst>
            <pc:docMk/>
            <pc:sldMk cId="3057876422" sldId="1879256067"/>
            <ac:spMk id="1004" creationId="{830D607D-BECB-4323-A95A-D7586764167A}"/>
          </ac:spMkLst>
        </pc:spChg>
        <pc:spChg chg="del">
          <ac:chgData name="Kebba Jeng" userId="fe4cc296-ba7d-48a2-8799-89b58d218255" providerId="ADAL" clId="{388EFDEE-447E-42B4-98EF-30C01AB2E8CD}" dt="2022-03-28T18:32:30.226" v="2966" actId="21"/>
          <ac:spMkLst>
            <pc:docMk/>
            <pc:sldMk cId="3057876422" sldId="1879256067"/>
            <ac:spMk id="1005" creationId="{25AEAC23-D3E3-4DE7-AF25-8A11245392CA}"/>
          </ac:spMkLst>
        </pc:spChg>
        <pc:spChg chg="del">
          <ac:chgData name="Kebba Jeng" userId="fe4cc296-ba7d-48a2-8799-89b58d218255" providerId="ADAL" clId="{388EFDEE-447E-42B4-98EF-30C01AB2E8CD}" dt="2022-03-28T18:32:30.226" v="2966" actId="21"/>
          <ac:spMkLst>
            <pc:docMk/>
            <pc:sldMk cId="3057876422" sldId="1879256067"/>
            <ac:spMk id="1006" creationId="{67775E58-D12E-4661-AB50-AE1DB62FAFAC}"/>
          </ac:spMkLst>
        </pc:spChg>
        <pc:spChg chg="del">
          <ac:chgData name="Kebba Jeng" userId="fe4cc296-ba7d-48a2-8799-89b58d218255" providerId="ADAL" clId="{388EFDEE-447E-42B4-98EF-30C01AB2E8CD}" dt="2022-03-28T18:32:30.226" v="2966" actId="21"/>
          <ac:spMkLst>
            <pc:docMk/>
            <pc:sldMk cId="3057876422" sldId="1879256067"/>
            <ac:spMk id="1007" creationId="{ADBD9997-6C80-4379-ACAB-2A439BC141C2}"/>
          </ac:spMkLst>
        </pc:spChg>
        <pc:spChg chg="del">
          <ac:chgData name="Kebba Jeng" userId="fe4cc296-ba7d-48a2-8799-89b58d218255" providerId="ADAL" clId="{388EFDEE-447E-42B4-98EF-30C01AB2E8CD}" dt="2022-03-28T18:32:30.226" v="2966" actId="21"/>
          <ac:spMkLst>
            <pc:docMk/>
            <pc:sldMk cId="3057876422" sldId="1879256067"/>
            <ac:spMk id="1008" creationId="{5E434821-D927-4728-A8E8-CB37FF3F6BE6}"/>
          </ac:spMkLst>
        </pc:spChg>
        <pc:spChg chg="del">
          <ac:chgData name="Kebba Jeng" userId="fe4cc296-ba7d-48a2-8799-89b58d218255" providerId="ADAL" clId="{388EFDEE-447E-42B4-98EF-30C01AB2E8CD}" dt="2022-03-28T18:32:30.226" v="2966" actId="21"/>
          <ac:spMkLst>
            <pc:docMk/>
            <pc:sldMk cId="3057876422" sldId="1879256067"/>
            <ac:spMk id="1009" creationId="{466D4F87-4EED-45A6-83B1-1DEA545D54E1}"/>
          </ac:spMkLst>
        </pc:spChg>
        <pc:spChg chg="del">
          <ac:chgData name="Kebba Jeng" userId="fe4cc296-ba7d-48a2-8799-89b58d218255" providerId="ADAL" clId="{388EFDEE-447E-42B4-98EF-30C01AB2E8CD}" dt="2022-03-28T18:32:30.226" v="2966" actId="21"/>
          <ac:spMkLst>
            <pc:docMk/>
            <pc:sldMk cId="3057876422" sldId="1879256067"/>
            <ac:spMk id="1010" creationId="{DB9D5163-ADA2-4F1B-A2DA-047F3BB25CBC}"/>
          </ac:spMkLst>
        </pc:spChg>
        <pc:spChg chg="del">
          <ac:chgData name="Kebba Jeng" userId="fe4cc296-ba7d-48a2-8799-89b58d218255" providerId="ADAL" clId="{388EFDEE-447E-42B4-98EF-30C01AB2E8CD}" dt="2022-03-28T18:32:30.226" v="2966" actId="21"/>
          <ac:spMkLst>
            <pc:docMk/>
            <pc:sldMk cId="3057876422" sldId="1879256067"/>
            <ac:spMk id="1011" creationId="{07071115-95CE-445F-9A8D-0A3B0E1D11CA}"/>
          </ac:spMkLst>
        </pc:spChg>
        <pc:spChg chg="del">
          <ac:chgData name="Kebba Jeng" userId="fe4cc296-ba7d-48a2-8799-89b58d218255" providerId="ADAL" clId="{388EFDEE-447E-42B4-98EF-30C01AB2E8CD}" dt="2022-03-28T18:32:30.226" v="2966" actId="21"/>
          <ac:spMkLst>
            <pc:docMk/>
            <pc:sldMk cId="3057876422" sldId="1879256067"/>
            <ac:spMk id="1012" creationId="{29C480C0-1701-458F-9A7F-E22782FF9DDF}"/>
          </ac:spMkLst>
        </pc:spChg>
        <pc:spChg chg="del">
          <ac:chgData name="Kebba Jeng" userId="fe4cc296-ba7d-48a2-8799-89b58d218255" providerId="ADAL" clId="{388EFDEE-447E-42B4-98EF-30C01AB2E8CD}" dt="2022-03-28T18:32:30.226" v="2966" actId="21"/>
          <ac:spMkLst>
            <pc:docMk/>
            <pc:sldMk cId="3057876422" sldId="1879256067"/>
            <ac:spMk id="1013" creationId="{8B45D85B-A804-4880-A770-8B57C1EA36F9}"/>
          </ac:spMkLst>
        </pc:spChg>
        <pc:spChg chg="del">
          <ac:chgData name="Kebba Jeng" userId="fe4cc296-ba7d-48a2-8799-89b58d218255" providerId="ADAL" clId="{388EFDEE-447E-42B4-98EF-30C01AB2E8CD}" dt="2022-03-28T18:32:30.226" v="2966" actId="21"/>
          <ac:spMkLst>
            <pc:docMk/>
            <pc:sldMk cId="3057876422" sldId="1879256067"/>
            <ac:spMk id="1014" creationId="{D4527933-FF5A-48EA-AD0A-54082AFDE5A5}"/>
          </ac:spMkLst>
        </pc:spChg>
        <pc:spChg chg="del">
          <ac:chgData name="Kebba Jeng" userId="fe4cc296-ba7d-48a2-8799-89b58d218255" providerId="ADAL" clId="{388EFDEE-447E-42B4-98EF-30C01AB2E8CD}" dt="2022-03-28T18:32:30.226" v="2966" actId="21"/>
          <ac:spMkLst>
            <pc:docMk/>
            <pc:sldMk cId="3057876422" sldId="1879256067"/>
            <ac:spMk id="1015" creationId="{0A4FD267-3B05-4BD0-BED0-D13B82906EC1}"/>
          </ac:spMkLst>
        </pc:spChg>
        <pc:spChg chg="del">
          <ac:chgData name="Kebba Jeng" userId="fe4cc296-ba7d-48a2-8799-89b58d218255" providerId="ADAL" clId="{388EFDEE-447E-42B4-98EF-30C01AB2E8CD}" dt="2022-03-28T18:32:30.226" v="2966" actId="21"/>
          <ac:spMkLst>
            <pc:docMk/>
            <pc:sldMk cId="3057876422" sldId="1879256067"/>
            <ac:spMk id="1016" creationId="{C0E60E87-2DC2-4DDE-80AC-C91202A0E805}"/>
          </ac:spMkLst>
        </pc:spChg>
        <pc:spChg chg="del">
          <ac:chgData name="Kebba Jeng" userId="fe4cc296-ba7d-48a2-8799-89b58d218255" providerId="ADAL" clId="{388EFDEE-447E-42B4-98EF-30C01AB2E8CD}" dt="2022-03-28T18:32:30.226" v="2966" actId="21"/>
          <ac:spMkLst>
            <pc:docMk/>
            <pc:sldMk cId="3057876422" sldId="1879256067"/>
            <ac:spMk id="1017" creationId="{9AF9F585-E21A-4064-A08B-FFC010BCC1C1}"/>
          </ac:spMkLst>
        </pc:spChg>
        <pc:spChg chg="del">
          <ac:chgData name="Kebba Jeng" userId="fe4cc296-ba7d-48a2-8799-89b58d218255" providerId="ADAL" clId="{388EFDEE-447E-42B4-98EF-30C01AB2E8CD}" dt="2022-03-28T18:32:30.226" v="2966" actId="21"/>
          <ac:spMkLst>
            <pc:docMk/>
            <pc:sldMk cId="3057876422" sldId="1879256067"/>
            <ac:spMk id="1018" creationId="{D3C569B7-E544-4422-9A2A-7A7F85E533F6}"/>
          </ac:spMkLst>
        </pc:spChg>
        <pc:spChg chg="del">
          <ac:chgData name="Kebba Jeng" userId="fe4cc296-ba7d-48a2-8799-89b58d218255" providerId="ADAL" clId="{388EFDEE-447E-42B4-98EF-30C01AB2E8CD}" dt="2022-03-28T18:32:30.226" v="2966" actId="21"/>
          <ac:spMkLst>
            <pc:docMk/>
            <pc:sldMk cId="3057876422" sldId="1879256067"/>
            <ac:spMk id="1019" creationId="{2F82422B-1A02-4DDB-90D6-4CA73DFA2B61}"/>
          </ac:spMkLst>
        </pc:spChg>
        <pc:spChg chg="del">
          <ac:chgData name="Kebba Jeng" userId="fe4cc296-ba7d-48a2-8799-89b58d218255" providerId="ADAL" clId="{388EFDEE-447E-42B4-98EF-30C01AB2E8CD}" dt="2022-03-28T18:32:30.226" v="2966" actId="21"/>
          <ac:spMkLst>
            <pc:docMk/>
            <pc:sldMk cId="3057876422" sldId="1879256067"/>
            <ac:spMk id="1020" creationId="{CED3868E-46DE-46B2-BDE3-9FAE8AC10B7A}"/>
          </ac:spMkLst>
        </pc:spChg>
        <pc:spChg chg="del">
          <ac:chgData name="Kebba Jeng" userId="fe4cc296-ba7d-48a2-8799-89b58d218255" providerId="ADAL" clId="{388EFDEE-447E-42B4-98EF-30C01AB2E8CD}" dt="2022-03-28T18:32:30.226" v="2966" actId="21"/>
          <ac:spMkLst>
            <pc:docMk/>
            <pc:sldMk cId="3057876422" sldId="1879256067"/>
            <ac:spMk id="1021" creationId="{FF913842-261A-484F-B71F-5C6BAB13104D}"/>
          </ac:spMkLst>
        </pc:spChg>
        <pc:spChg chg="del">
          <ac:chgData name="Kebba Jeng" userId="fe4cc296-ba7d-48a2-8799-89b58d218255" providerId="ADAL" clId="{388EFDEE-447E-42B4-98EF-30C01AB2E8CD}" dt="2022-03-28T18:32:30.226" v="2966" actId="21"/>
          <ac:spMkLst>
            <pc:docMk/>
            <pc:sldMk cId="3057876422" sldId="1879256067"/>
            <ac:spMk id="1022" creationId="{401D0BE4-6130-4595-8F22-08E695F61307}"/>
          </ac:spMkLst>
        </pc:spChg>
        <pc:spChg chg="del">
          <ac:chgData name="Kebba Jeng" userId="fe4cc296-ba7d-48a2-8799-89b58d218255" providerId="ADAL" clId="{388EFDEE-447E-42B4-98EF-30C01AB2E8CD}" dt="2022-03-28T18:32:30.226" v="2966" actId="21"/>
          <ac:spMkLst>
            <pc:docMk/>
            <pc:sldMk cId="3057876422" sldId="1879256067"/>
            <ac:spMk id="1023" creationId="{0ABC9F25-F2F7-400B-B7A8-D98A1626B713}"/>
          </ac:spMkLst>
        </pc:spChg>
        <pc:spChg chg="del">
          <ac:chgData name="Kebba Jeng" userId="fe4cc296-ba7d-48a2-8799-89b58d218255" providerId="ADAL" clId="{388EFDEE-447E-42B4-98EF-30C01AB2E8CD}" dt="2022-03-28T18:32:30.226" v="2966" actId="21"/>
          <ac:spMkLst>
            <pc:docMk/>
            <pc:sldMk cId="3057876422" sldId="1879256067"/>
            <ac:spMk id="1024" creationId="{931B1B13-7FCC-4836-BFDB-56651DC216D7}"/>
          </ac:spMkLst>
        </pc:spChg>
        <pc:spChg chg="del">
          <ac:chgData name="Kebba Jeng" userId="fe4cc296-ba7d-48a2-8799-89b58d218255" providerId="ADAL" clId="{388EFDEE-447E-42B4-98EF-30C01AB2E8CD}" dt="2022-03-28T18:32:30.226" v="2966" actId="21"/>
          <ac:spMkLst>
            <pc:docMk/>
            <pc:sldMk cId="3057876422" sldId="1879256067"/>
            <ac:spMk id="1025" creationId="{CA81D2B4-A713-427B-AD17-86E78A2D1FE7}"/>
          </ac:spMkLst>
        </pc:spChg>
        <pc:spChg chg="del">
          <ac:chgData name="Kebba Jeng" userId="fe4cc296-ba7d-48a2-8799-89b58d218255" providerId="ADAL" clId="{388EFDEE-447E-42B4-98EF-30C01AB2E8CD}" dt="2022-03-28T18:32:30.226" v="2966" actId="21"/>
          <ac:spMkLst>
            <pc:docMk/>
            <pc:sldMk cId="3057876422" sldId="1879256067"/>
            <ac:spMk id="1026" creationId="{D6DF87EC-44D5-4BE9-A682-CE904EFBFA9B}"/>
          </ac:spMkLst>
        </pc:spChg>
        <pc:spChg chg="del">
          <ac:chgData name="Kebba Jeng" userId="fe4cc296-ba7d-48a2-8799-89b58d218255" providerId="ADAL" clId="{388EFDEE-447E-42B4-98EF-30C01AB2E8CD}" dt="2022-03-28T18:32:30.226" v="2966" actId="21"/>
          <ac:spMkLst>
            <pc:docMk/>
            <pc:sldMk cId="3057876422" sldId="1879256067"/>
            <ac:spMk id="1027" creationId="{1CBB78FD-00C4-4C92-B6C1-9C80DF69B3AB}"/>
          </ac:spMkLst>
        </pc:spChg>
        <pc:spChg chg="del">
          <ac:chgData name="Kebba Jeng" userId="fe4cc296-ba7d-48a2-8799-89b58d218255" providerId="ADAL" clId="{388EFDEE-447E-42B4-98EF-30C01AB2E8CD}" dt="2022-03-28T18:32:30.226" v="2966" actId="21"/>
          <ac:spMkLst>
            <pc:docMk/>
            <pc:sldMk cId="3057876422" sldId="1879256067"/>
            <ac:spMk id="1028" creationId="{6845D157-A3D1-4A5F-8F47-C29B9FB26C7E}"/>
          </ac:spMkLst>
        </pc:spChg>
        <pc:spChg chg="del">
          <ac:chgData name="Kebba Jeng" userId="fe4cc296-ba7d-48a2-8799-89b58d218255" providerId="ADAL" clId="{388EFDEE-447E-42B4-98EF-30C01AB2E8CD}" dt="2022-03-28T18:32:30.226" v="2966" actId="21"/>
          <ac:spMkLst>
            <pc:docMk/>
            <pc:sldMk cId="3057876422" sldId="1879256067"/>
            <ac:spMk id="1029" creationId="{EEEB781C-E3EF-4ED7-A94C-3922D4F5C1E4}"/>
          </ac:spMkLst>
        </pc:spChg>
        <pc:spChg chg="del">
          <ac:chgData name="Kebba Jeng" userId="fe4cc296-ba7d-48a2-8799-89b58d218255" providerId="ADAL" clId="{388EFDEE-447E-42B4-98EF-30C01AB2E8CD}" dt="2022-03-28T18:32:30.226" v="2966" actId="21"/>
          <ac:spMkLst>
            <pc:docMk/>
            <pc:sldMk cId="3057876422" sldId="1879256067"/>
            <ac:spMk id="1030" creationId="{3F7ABA76-82D2-40BB-B42D-0BD457956723}"/>
          </ac:spMkLst>
        </pc:spChg>
        <pc:spChg chg="del">
          <ac:chgData name="Kebba Jeng" userId="fe4cc296-ba7d-48a2-8799-89b58d218255" providerId="ADAL" clId="{388EFDEE-447E-42B4-98EF-30C01AB2E8CD}" dt="2022-03-28T18:32:30.226" v="2966" actId="21"/>
          <ac:spMkLst>
            <pc:docMk/>
            <pc:sldMk cId="3057876422" sldId="1879256067"/>
            <ac:spMk id="1031" creationId="{53546034-BE61-42BA-B214-449247662ABD}"/>
          </ac:spMkLst>
        </pc:spChg>
        <pc:spChg chg="del">
          <ac:chgData name="Kebba Jeng" userId="fe4cc296-ba7d-48a2-8799-89b58d218255" providerId="ADAL" clId="{388EFDEE-447E-42B4-98EF-30C01AB2E8CD}" dt="2022-03-28T18:32:30.226" v="2966" actId="21"/>
          <ac:spMkLst>
            <pc:docMk/>
            <pc:sldMk cId="3057876422" sldId="1879256067"/>
            <ac:spMk id="1032" creationId="{9A9CDD2F-BCC5-4FF0-800C-8D18CDA73040}"/>
          </ac:spMkLst>
        </pc:spChg>
        <pc:spChg chg="del">
          <ac:chgData name="Kebba Jeng" userId="fe4cc296-ba7d-48a2-8799-89b58d218255" providerId="ADAL" clId="{388EFDEE-447E-42B4-98EF-30C01AB2E8CD}" dt="2022-03-28T18:32:30.226" v="2966" actId="21"/>
          <ac:spMkLst>
            <pc:docMk/>
            <pc:sldMk cId="3057876422" sldId="1879256067"/>
            <ac:spMk id="1033" creationId="{9747E2D8-3A74-4905-8A25-6E91E009F233}"/>
          </ac:spMkLst>
        </pc:spChg>
        <pc:spChg chg="del">
          <ac:chgData name="Kebba Jeng" userId="fe4cc296-ba7d-48a2-8799-89b58d218255" providerId="ADAL" clId="{388EFDEE-447E-42B4-98EF-30C01AB2E8CD}" dt="2022-03-28T18:32:30.226" v="2966" actId="21"/>
          <ac:spMkLst>
            <pc:docMk/>
            <pc:sldMk cId="3057876422" sldId="1879256067"/>
            <ac:spMk id="1034" creationId="{48D55197-A6D5-46DD-9299-A28116E6470E}"/>
          </ac:spMkLst>
        </pc:spChg>
        <pc:spChg chg="del">
          <ac:chgData name="Kebba Jeng" userId="fe4cc296-ba7d-48a2-8799-89b58d218255" providerId="ADAL" clId="{388EFDEE-447E-42B4-98EF-30C01AB2E8CD}" dt="2022-03-28T18:32:30.226" v="2966" actId="21"/>
          <ac:spMkLst>
            <pc:docMk/>
            <pc:sldMk cId="3057876422" sldId="1879256067"/>
            <ac:spMk id="1035" creationId="{AEB292F7-E962-4541-9D29-191338E7FCFA}"/>
          </ac:spMkLst>
        </pc:spChg>
        <pc:spChg chg="del">
          <ac:chgData name="Kebba Jeng" userId="fe4cc296-ba7d-48a2-8799-89b58d218255" providerId="ADAL" clId="{388EFDEE-447E-42B4-98EF-30C01AB2E8CD}" dt="2022-03-28T18:32:30.226" v="2966" actId="21"/>
          <ac:spMkLst>
            <pc:docMk/>
            <pc:sldMk cId="3057876422" sldId="1879256067"/>
            <ac:spMk id="1036" creationId="{CB3040D2-3434-4E9F-834B-4363D1B3843B}"/>
          </ac:spMkLst>
        </pc:spChg>
        <pc:spChg chg="del">
          <ac:chgData name="Kebba Jeng" userId="fe4cc296-ba7d-48a2-8799-89b58d218255" providerId="ADAL" clId="{388EFDEE-447E-42B4-98EF-30C01AB2E8CD}" dt="2022-03-28T18:32:30.226" v="2966" actId="21"/>
          <ac:spMkLst>
            <pc:docMk/>
            <pc:sldMk cId="3057876422" sldId="1879256067"/>
            <ac:spMk id="1037" creationId="{27C65AC0-8C3B-4E21-8296-4422A369506E}"/>
          </ac:spMkLst>
        </pc:spChg>
        <pc:spChg chg="del">
          <ac:chgData name="Kebba Jeng" userId="fe4cc296-ba7d-48a2-8799-89b58d218255" providerId="ADAL" clId="{388EFDEE-447E-42B4-98EF-30C01AB2E8CD}" dt="2022-03-28T18:32:30.226" v="2966" actId="21"/>
          <ac:spMkLst>
            <pc:docMk/>
            <pc:sldMk cId="3057876422" sldId="1879256067"/>
            <ac:spMk id="1038" creationId="{DAA11B59-A0A4-4252-AD35-937EB669161C}"/>
          </ac:spMkLst>
        </pc:spChg>
        <pc:spChg chg="del">
          <ac:chgData name="Kebba Jeng" userId="fe4cc296-ba7d-48a2-8799-89b58d218255" providerId="ADAL" clId="{388EFDEE-447E-42B4-98EF-30C01AB2E8CD}" dt="2022-03-28T18:32:30.226" v="2966" actId="21"/>
          <ac:spMkLst>
            <pc:docMk/>
            <pc:sldMk cId="3057876422" sldId="1879256067"/>
            <ac:spMk id="1039" creationId="{1CBB9BD6-BAFB-4AD9-B9BA-83E070D114D9}"/>
          </ac:spMkLst>
        </pc:spChg>
        <pc:spChg chg="del">
          <ac:chgData name="Kebba Jeng" userId="fe4cc296-ba7d-48a2-8799-89b58d218255" providerId="ADAL" clId="{388EFDEE-447E-42B4-98EF-30C01AB2E8CD}" dt="2022-03-28T18:32:30.226" v="2966" actId="21"/>
          <ac:spMkLst>
            <pc:docMk/>
            <pc:sldMk cId="3057876422" sldId="1879256067"/>
            <ac:spMk id="1040" creationId="{B42648AE-660A-4BEE-A461-F409E7A34AD4}"/>
          </ac:spMkLst>
        </pc:spChg>
        <pc:spChg chg="del">
          <ac:chgData name="Kebba Jeng" userId="fe4cc296-ba7d-48a2-8799-89b58d218255" providerId="ADAL" clId="{388EFDEE-447E-42B4-98EF-30C01AB2E8CD}" dt="2022-03-28T18:32:30.226" v="2966" actId="21"/>
          <ac:spMkLst>
            <pc:docMk/>
            <pc:sldMk cId="3057876422" sldId="1879256067"/>
            <ac:spMk id="1041" creationId="{DC680F33-A14D-41C0-840D-F293AB78DCF8}"/>
          </ac:spMkLst>
        </pc:spChg>
        <pc:spChg chg="del">
          <ac:chgData name="Kebba Jeng" userId="fe4cc296-ba7d-48a2-8799-89b58d218255" providerId="ADAL" clId="{388EFDEE-447E-42B4-98EF-30C01AB2E8CD}" dt="2022-03-28T18:32:30.226" v="2966" actId="21"/>
          <ac:spMkLst>
            <pc:docMk/>
            <pc:sldMk cId="3057876422" sldId="1879256067"/>
            <ac:spMk id="1042" creationId="{910E862B-B7C9-4104-82FF-4F5234255809}"/>
          </ac:spMkLst>
        </pc:spChg>
        <pc:spChg chg="del">
          <ac:chgData name="Kebba Jeng" userId="fe4cc296-ba7d-48a2-8799-89b58d218255" providerId="ADAL" clId="{388EFDEE-447E-42B4-98EF-30C01AB2E8CD}" dt="2022-03-28T18:32:30.226" v="2966" actId="21"/>
          <ac:spMkLst>
            <pc:docMk/>
            <pc:sldMk cId="3057876422" sldId="1879256067"/>
            <ac:spMk id="1043" creationId="{2608D00F-357A-4F83-B509-BD05768DD443}"/>
          </ac:spMkLst>
        </pc:spChg>
        <pc:spChg chg="del">
          <ac:chgData name="Kebba Jeng" userId="fe4cc296-ba7d-48a2-8799-89b58d218255" providerId="ADAL" clId="{388EFDEE-447E-42B4-98EF-30C01AB2E8CD}" dt="2022-03-28T18:32:30.226" v="2966" actId="21"/>
          <ac:spMkLst>
            <pc:docMk/>
            <pc:sldMk cId="3057876422" sldId="1879256067"/>
            <ac:spMk id="1044" creationId="{2A1582E7-8491-4799-AA3F-0B448A1009F2}"/>
          </ac:spMkLst>
        </pc:spChg>
        <pc:spChg chg="del">
          <ac:chgData name="Kebba Jeng" userId="fe4cc296-ba7d-48a2-8799-89b58d218255" providerId="ADAL" clId="{388EFDEE-447E-42B4-98EF-30C01AB2E8CD}" dt="2022-03-28T18:32:30.226" v="2966" actId="21"/>
          <ac:spMkLst>
            <pc:docMk/>
            <pc:sldMk cId="3057876422" sldId="1879256067"/>
            <ac:spMk id="1045" creationId="{56E7B551-3688-498A-A970-74BCF2F5BE83}"/>
          </ac:spMkLst>
        </pc:spChg>
        <pc:spChg chg="del">
          <ac:chgData name="Kebba Jeng" userId="fe4cc296-ba7d-48a2-8799-89b58d218255" providerId="ADAL" clId="{388EFDEE-447E-42B4-98EF-30C01AB2E8CD}" dt="2022-03-28T18:32:30.226" v="2966" actId="21"/>
          <ac:spMkLst>
            <pc:docMk/>
            <pc:sldMk cId="3057876422" sldId="1879256067"/>
            <ac:spMk id="1046" creationId="{AB9FCA77-FCCE-41C7-882F-06D7FA30E8E7}"/>
          </ac:spMkLst>
        </pc:spChg>
        <pc:spChg chg="del">
          <ac:chgData name="Kebba Jeng" userId="fe4cc296-ba7d-48a2-8799-89b58d218255" providerId="ADAL" clId="{388EFDEE-447E-42B4-98EF-30C01AB2E8CD}" dt="2022-03-28T18:32:30.226" v="2966" actId="21"/>
          <ac:spMkLst>
            <pc:docMk/>
            <pc:sldMk cId="3057876422" sldId="1879256067"/>
            <ac:spMk id="1047" creationId="{2F8AD8BA-FA1B-404C-A14F-E918EA52EBCC}"/>
          </ac:spMkLst>
        </pc:spChg>
        <pc:spChg chg="del">
          <ac:chgData name="Kebba Jeng" userId="fe4cc296-ba7d-48a2-8799-89b58d218255" providerId="ADAL" clId="{388EFDEE-447E-42B4-98EF-30C01AB2E8CD}" dt="2022-03-28T18:32:30.226" v="2966" actId="21"/>
          <ac:spMkLst>
            <pc:docMk/>
            <pc:sldMk cId="3057876422" sldId="1879256067"/>
            <ac:spMk id="1048" creationId="{FC2B63FE-494C-4571-A3D7-4F1F37845864}"/>
          </ac:spMkLst>
        </pc:spChg>
        <pc:spChg chg="del">
          <ac:chgData name="Kebba Jeng" userId="fe4cc296-ba7d-48a2-8799-89b58d218255" providerId="ADAL" clId="{388EFDEE-447E-42B4-98EF-30C01AB2E8CD}" dt="2022-03-28T18:32:30.226" v="2966" actId="21"/>
          <ac:spMkLst>
            <pc:docMk/>
            <pc:sldMk cId="3057876422" sldId="1879256067"/>
            <ac:spMk id="1049" creationId="{856D9F09-6330-4DDD-A57D-E1BC34BB04FB}"/>
          </ac:spMkLst>
        </pc:spChg>
        <pc:spChg chg="del">
          <ac:chgData name="Kebba Jeng" userId="fe4cc296-ba7d-48a2-8799-89b58d218255" providerId="ADAL" clId="{388EFDEE-447E-42B4-98EF-30C01AB2E8CD}" dt="2022-03-28T18:32:30.226" v="2966" actId="21"/>
          <ac:spMkLst>
            <pc:docMk/>
            <pc:sldMk cId="3057876422" sldId="1879256067"/>
            <ac:spMk id="1050" creationId="{6E3F5684-9CB9-4AE9-BAEE-1233E6642FAD}"/>
          </ac:spMkLst>
        </pc:spChg>
        <pc:spChg chg="del">
          <ac:chgData name="Kebba Jeng" userId="fe4cc296-ba7d-48a2-8799-89b58d218255" providerId="ADAL" clId="{388EFDEE-447E-42B4-98EF-30C01AB2E8CD}" dt="2022-03-28T18:32:30.226" v="2966" actId="21"/>
          <ac:spMkLst>
            <pc:docMk/>
            <pc:sldMk cId="3057876422" sldId="1879256067"/>
            <ac:spMk id="1051" creationId="{8F7A5E57-8AE7-4027-875A-C8BE4AB45C08}"/>
          </ac:spMkLst>
        </pc:spChg>
        <pc:spChg chg="del">
          <ac:chgData name="Kebba Jeng" userId="fe4cc296-ba7d-48a2-8799-89b58d218255" providerId="ADAL" clId="{388EFDEE-447E-42B4-98EF-30C01AB2E8CD}" dt="2022-03-28T18:32:30.226" v="2966" actId="21"/>
          <ac:spMkLst>
            <pc:docMk/>
            <pc:sldMk cId="3057876422" sldId="1879256067"/>
            <ac:spMk id="1052" creationId="{57E21674-689E-45EF-AA2F-963145A07DF9}"/>
          </ac:spMkLst>
        </pc:spChg>
        <pc:spChg chg="del">
          <ac:chgData name="Kebba Jeng" userId="fe4cc296-ba7d-48a2-8799-89b58d218255" providerId="ADAL" clId="{388EFDEE-447E-42B4-98EF-30C01AB2E8CD}" dt="2022-03-28T18:32:30.226" v="2966" actId="21"/>
          <ac:spMkLst>
            <pc:docMk/>
            <pc:sldMk cId="3057876422" sldId="1879256067"/>
            <ac:spMk id="1053" creationId="{D90E6DA3-2BF8-4A6F-968C-6DFF45608718}"/>
          </ac:spMkLst>
        </pc:spChg>
        <pc:spChg chg="del">
          <ac:chgData name="Kebba Jeng" userId="fe4cc296-ba7d-48a2-8799-89b58d218255" providerId="ADAL" clId="{388EFDEE-447E-42B4-98EF-30C01AB2E8CD}" dt="2022-03-28T18:32:30.226" v="2966" actId="21"/>
          <ac:spMkLst>
            <pc:docMk/>
            <pc:sldMk cId="3057876422" sldId="1879256067"/>
            <ac:spMk id="1054" creationId="{6F0B1880-32CF-436D-A016-EF35C6E4D40B}"/>
          </ac:spMkLst>
        </pc:spChg>
        <pc:spChg chg="del">
          <ac:chgData name="Kebba Jeng" userId="fe4cc296-ba7d-48a2-8799-89b58d218255" providerId="ADAL" clId="{388EFDEE-447E-42B4-98EF-30C01AB2E8CD}" dt="2022-03-28T18:32:30.226" v="2966" actId="21"/>
          <ac:spMkLst>
            <pc:docMk/>
            <pc:sldMk cId="3057876422" sldId="1879256067"/>
            <ac:spMk id="1055" creationId="{31AF2EE8-39E2-4D8B-85C6-155A4A82D5CE}"/>
          </ac:spMkLst>
        </pc:spChg>
        <pc:spChg chg="del">
          <ac:chgData name="Kebba Jeng" userId="fe4cc296-ba7d-48a2-8799-89b58d218255" providerId="ADAL" clId="{388EFDEE-447E-42B4-98EF-30C01AB2E8CD}" dt="2022-03-28T18:32:30.226" v="2966" actId="21"/>
          <ac:spMkLst>
            <pc:docMk/>
            <pc:sldMk cId="3057876422" sldId="1879256067"/>
            <ac:spMk id="1056" creationId="{68A75E30-81E5-48D5-A1EE-1C94CB5C1164}"/>
          </ac:spMkLst>
        </pc:spChg>
        <pc:spChg chg="del">
          <ac:chgData name="Kebba Jeng" userId="fe4cc296-ba7d-48a2-8799-89b58d218255" providerId="ADAL" clId="{388EFDEE-447E-42B4-98EF-30C01AB2E8CD}" dt="2022-03-28T18:32:30.226" v="2966" actId="21"/>
          <ac:spMkLst>
            <pc:docMk/>
            <pc:sldMk cId="3057876422" sldId="1879256067"/>
            <ac:spMk id="1057" creationId="{5D774402-7DC7-4FD4-906B-EB80F1FC56A1}"/>
          </ac:spMkLst>
        </pc:spChg>
        <pc:spChg chg="del">
          <ac:chgData name="Kebba Jeng" userId="fe4cc296-ba7d-48a2-8799-89b58d218255" providerId="ADAL" clId="{388EFDEE-447E-42B4-98EF-30C01AB2E8CD}" dt="2022-03-28T18:32:30.226" v="2966" actId="21"/>
          <ac:spMkLst>
            <pc:docMk/>
            <pc:sldMk cId="3057876422" sldId="1879256067"/>
            <ac:spMk id="1058" creationId="{9B98FADE-B031-492C-923D-9E628039DC63}"/>
          </ac:spMkLst>
        </pc:spChg>
        <pc:spChg chg="del">
          <ac:chgData name="Kebba Jeng" userId="fe4cc296-ba7d-48a2-8799-89b58d218255" providerId="ADAL" clId="{388EFDEE-447E-42B4-98EF-30C01AB2E8CD}" dt="2022-03-28T18:32:30.226" v="2966" actId="21"/>
          <ac:spMkLst>
            <pc:docMk/>
            <pc:sldMk cId="3057876422" sldId="1879256067"/>
            <ac:spMk id="1059" creationId="{808B512E-3E93-4111-8493-75791E71D720}"/>
          </ac:spMkLst>
        </pc:spChg>
        <pc:spChg chg="del">
          <ac:chgData name="Kebba Jeng" userId="fe4cc296-ba7d-48a2-8799-89b58d218255" providerId="ADAL" clId="{388EFDEE-447E-42B4-98EF-30C01AB2E8CD}" dt="2022-03-28T18:32:30.226" v="2966" actId="21"/>
          <ac:spMkLst>
            <pc:docMk/>
            <pc:sldMk cId="3057876422" sldId="1879256067"/>
            <ac:spMk id="1060" creationId="{042E039A-04E2-492C-93A3-7C2A85680A04}"/>
          </ac:spMkLst>
        </pc:spChg>
        <pc:spChg chg="del">
          <ac:chgData name="Kebba Jeng" userId="fe4cc296-ba7d-48a2-8799-89b58d218255" providerId="ADAL" clId="{388EFDEE-447E-42B4-98EF-30C01AB2E8CD}" dt="2022-03-28T18:32:30.226" v="2966" actId="21"/>
          <ac:spMkLst>
            <pc:docMk/>
            <pc:sldMk cId="3057876422" sldId="1879256067"/>
            <ac:spMk id="1061" creationId="{5DC92A83-825C-451D-B0EC-4A353D7B0AC4}"/>
          </ac:spMkLst>
        </pc:spChg>
        <pc:spChg chg="del">
          <ac:chgData name="Kebba Jeng" userId="fe4cc296-ba7d-48a2-8799-89b58d218255" providerId="ADAL" clId="{388EFDEE-447E-42B4-98EF-30C01AB2E8CD}" dt="2022-03-28T18:32:30.226" v="2966" actId="21"/>
          <ac:spMkLst>
            <pc:docMk/>
            <pc:sldMk cId="3057876422" sldId="1879256067"/>
            <ac:spMk id="1062" creationId="{872583D4-D5ED-44FF-8D89-37E9C725D9A3}"/>
          </ac:spMkLst>
        </pc:spChg>
        <pc:spChg chg="add del mod">
          <ac:chgData name="Kebba Jeng" userId="fe4cc296-ba7d-48a2-8799-89b58d218255" providerId="ADAL" clId="{388EFDEE-447E-42B4-98EF-30C01AB2E8CD}" dt="2022-03-28T18:32:42.990" v="2973"/>
          <ac:spMkLst>
            <pc:docMk/>
            <pc:sldMk cId="3057876422" sldId="1879256067"/>
            <ac:spMk id="1063" creationId="{5932C808-FE74-4A73-A601-E11DFBE19903}"/>
          </ac:spMkLst>
        </pc:spChg>
        <pc:spChg chg="del">
          <ac:chgData name="Kebba Jeng" userId="fe4cc296-ba7d-48a2-8799-89b58d218255" providerId="ADAL" clId="{388EFDEE-447E-42B4-98EF-30C01AB2E8CD}" dt="2022-03-28T18:32:39.846" v="2971" actId="21"/>
          <ac:spMkLst>
            <pc:docMk/>
            <pc:sldMk cId="3057876422" sldId="1879256067"/>
            <ac:spMk id="1064" creationId="{D887D4C1-8DC9-40A9-89CC-841936BEEEAC}"/>
          </ac:spMkLst>
        </pc:spChg>
        <pc:spChg chg="del">
          <ac:chgData name="Kebba Jeng" userId="fe4cc296-ba7d-48a2-8799-89b58d218255" providerId="ADAL" clId="{388EFDEE-447E-42B4-98EF-30C01AB2E8CD}" dt="2022-03-28T18:32:39.846" v="2971" actId="21"/>
          <ac:spMkLst>
            <pc:docMk/>
            <pc:sldMk cId="3057876422" sldId="1879256067"/>
            <ac:spMk id="1065" creationId="{1AF1517D-101B-4DD0-B14B-666D39590E21}"/>
          </ac:spMkLst>
        </pc:spChg>
        <pc:spChg chg="del">
          <ac:chgData name="Kebba Jeng" userId="fe4cc296-ba7d-48a2-8799-89b58d218255" providerId="ADAL" clId="{388EFDEE-447E-42B4-98EF-30C01AB2E8CD}" dt="2022-03-28T18:32:39.846" v="2971" actId="21"/>
          <ac:spMkLst>
            <pc:docMk/>
            <pc:sldMk cId="3057876422" sldId="1879256067"/>
            <ac:spMk id="1066" creationId="{C7B32E81-29A1-4B12-A861-483FD641A2AF}"/>
          </ac:spMkLst>
        </pc:spChg>
        <pc:spChg chg="del">
          <ac:chgData name="Kebba Jeng" userId="fe4cc296-ba7d-48a2-8799-89b58d218255" providerId="ADAL" clId="{388EFDEE-447E-42B4-98EF-30C01AB2E8CD}" dt="2022-03-28T18:32:39.846" v="2971" actId="21"/>
          <ac:spMkLst>
            <pc:docMk/>
            <pc:sldMk cId="3057876422" sldId="1879256067"/>
            <ac:spMk id="1067" creationId="{42764010-018B-4812-86CC-ED9827BB5436}"/>
          </ac:spMkLst>
        </pc:spChg>
        <pc:spChg chg="del">
          <ac:chgData name="Kebba Jeng" userId="fe4cc296-ba7d-48a2-8799-89b58d218255" providerId="ADAL" clId="{388EFDEE-447E-42B4-98EF-30C01AB2E8CD}" dt="2022-03-28T18:32:39.846" v="2971" actId="21"/>
          <ac:spMkLst>
            <pc:docMk/>
            <pc:sldMk cId="3057876422" sldId="1879256067"/>
            <ac:spMk id="1068" creationId="{F0321B32-816F-4DC5-AEED-447387F5FA8D}"/>
          </ac:spMkLst>
        </pc:spChg>
        <pc:spChg chg="del">
          <ac:chgData name="Kebba Jeng" userId="fe4cc296-ba7d-48a2-8799-89b58d218255" providerId="ADAL" clId="{388EFDEE-447E-42B4-98EF-30C01AB2E8CD}" dt="2022-03-28T18:32:39.846" v="2971" actId="21"/>
          <ac:spMkLst>
            <pc:docMk/>
            <pc:sldMk cId="3057876422" sldId="1879256067"/>
            <ac:spMk id="1069" creationId="{9F71A003-C26C-4FFA-B2EF-C8D4514A017C}"/>
          </ac:spMkLst>
        </pc:spChg>
        <pc:spChg chg="del">
          <ac:chgData name="Kebba Jeng" userId="fe4cc296-ba7d-48a2-8799-89b58d218255" providerId="ADAL" clId="{388EFDEE-447E-42B4-98EF-30C01AB2E8CD}" dt="2022-03-28T18:32:39.846" v="2971" actId="21"/>
          <ac:spMkLst>
            <pc:docMk/>
            <pc:sldMk cId="3057876422" sldId="1879256067"/>
            <ac:spMk id="1070" creationId="{4776B5F2-C9E5-45B0-994C-B98F4F02C0B9}"/>
          </ac:spMkLst>
        </pc:spChg>
        <pc:spChg chg="del">
          <ac:chgData name="Kebba Jeng" userId="fe4cc296-ba7d-48a2-8799-89b58d218255" providerId="ADAL" clId="{388EFDEE-447E-42B4-98EF-30C01AB2E8CD}" dt="2022-03-28T18:32:39.846" v="2971" actId="21"/>
          <ac:spMkLst>
            <pc:docMk/>
            <pc:sldMk cId="3057876422" sldId="1879256067"/>
            <ac:spMk id="1071" creationId="{A2AD9B13-BA51-4F2C-B087-23F0E5B58B6C}"/>
          </ac:spMkLst>
        </pc:spChg>
        <pc:spChg chg="del">
          <ac:chgData name="Kebba Jeng" userId="fe4cc296-ba7d-48a2-8799-89b58d218255" providerId="ADAL" clId="{388EFDEE-447E-42B4-98EF-30C01AB2E8CD}" dt="2022-03-28T18:32:39.846" v="2971" actId="21"/>
          <ac:spMkLst>
            <pc:docMk/>
            <pc:sldMk cId="3057876422" sldId="1879256067"/>
            <ac:spMk id="1072" creationId="{34B91AFF-A5FF-4BB6-B91A-BBD17F71BEC8}"/>
          </ac:spMkLst>
        </pc:spChg>
        <pc:spChg chg="del">
          <ac:chgData name="Kebba Jeng" userId="fe4cc296-ba7d-48a2-8799-89b58d218255" providerId="ADAL" clId="{388EFDEE-447E-42B4-98EF-30C01AB2E8CD}" dt="2022-03-28T18:32:39.846" v="2971" actId="21"/>
          <ac:spMkLst>
            <pc:docMk/>
            <pc:sldMk cId="3057876422" sldId="1879256067"/>
            <ac:spMk id="1073" creationId="{392DB4F7-0290-4875-A066-7B5965DC1972}"/>
          </ac:spMkLst>
        </pc:spChg>
        <pc:spChg chg="del">
          <ac:chgData name="Kebba Jeng" userId="fe4cc296-ba7d-48a2-8799-89b58d218255" providerId="ADAL" clId="{388EFDEE-447E-42B4-98EF-30C01AB2E8CD}" dt="2022-03-28T18:32:39.846" v="2971" actId="21"/>
          <ac:spMkLst>
            <pc:docMk/>
            <pc:sldMk cId="3057876422" sldId="1879256067"/>
            <ac:spMk id="1074" creationId="{A9F53D33-3910-4D7D-B92A-65BB793DAF0C}"/>
          </ac:spMkLst>
        </pc:spChg>
        <pc:spChg chg="del">
          <ac:chgData name="Kebba Jeng" userId="fe4cc296-ba7d-48a2-8799-89b58d218255" providerId="ADAL" clId="{388EFDEE-447E-42B4-98EF-30C01AB2E8CD}" dt="2022-03-28T18:32:39.846" v="2971" actId="21"/>
          <ac:spMkLst>
            <pc:docMk/>
            <pc:sldMk cId="3057876422" sldId="1879256067"/>
            <ac:spMk id="1075" creationId="{B7C4DD82-423B-437D-A96A-2139A5909FA2}"/>
          </ac:spMkLst>
        </pc:spChg>
        <pc:spChg chg="del">
          <ac:chgData name="Kebba Jeng" userId="fe4cc296-ba7d-48a2-8799-89b58d218255" providerId="ADAL" clId="{388EFDEE-447E-42B4-98EF-30C01AB2E8CD}" dt="2022-03-28T18:32:39.846" v="2971" actId="21"/>
          <ac:spMkLst>
            <pc:docMk/>
            <pc:sldMk cId="3057876422" sldId="1879256067"/>
            <ac:spMk id="1076" creationId="{55BAEA6E-1155-4540-8BD1-A1080CCB2FD1}"/>
          </ac:spMkLst>
        </pc:spChg>
        <pc:spChg chg="del">
          <ac:chgData name="Kebba Jeng" userId="fe4cc296-ba7d-48a2-8799-89b58d218255" providerId="ADAL" clId="{388EFDEE-447E-42B4-98EF-30C01AB2E8CD}" dt="2022-03-28T18:32:39.846" v="2971" actId="21"/>
          <ac:spMkLst>
            <pc:docMk/>
            <pc:sldMk cId="3057876422" sldId="1879256067"/>
            <ac:spMk id="1077" creationId="{18DEB5E9-B6D1-4C7C-AED8-39D82E3E22A6}"/>
          </ac:spMkLst>
        </pc:spChg>
        <pc:spChg chg="del">
          <ac:chgData name="Kebba Jeng" userId="fe4cc296-ba7d-48a2-8799-89b58d218255" providerId="ADAL" clId="{388EFDEE-447E-42B4-98EF-30C01AB2E8CD}" dt="2022-03-28T18:32:39.846" v="2971" actId="21"/>
          <ac:spMkLst>
            <pc:docMk/>
            <pc:sldMk cId="3057876422" sldId="1879256067"/>
            <ac:spMk id="1078" creationId="{B33668B6-3F8A-4396-98A4-FB4396F0CD0E}"/>
          </ac:spMkLst>
        </pc:spChg>
        <pc:spChg chg="del">
          <ac:chgData name="Kebba Jeng" userId="fe4cc296-ba7d-48a2-8799-89b58d218255" providerId="ADAL" clId="{388EFDEE-447E-42B4-98EF-30C01AB2E8CD}" dt="2022-03-28T18:32:39.846" v="2971" actId="21"/>
          <ac:spMkLst>
            <pc:docMk/>
            <pc:sldMk cId="3057876422" sldId="1879256067"/>
            <ac:spMk id="1079" creationId="{E41330A5-64CD-4635-90DE-CCBB8AB4829A}"/>
          </ac:spMkLst>
        </pc:spChg>
        <pc:spChg chg="del">
          <ac:chgData name="Kebba Jeng" userId="fe4cc296-ba7d-48a2-8799-89b58d218255" providerId="ADAL" clId="{388EFDEE-447E-42B4-98EF-30C01AB2E8CD}" dt="2022-03-28T18:32:39.846" v="2971" actId="21"/>
          <ac:spMkLst>
            <pc:docMk/>
            <pc:sldMk cId="3057876422" sldId="1879256067"/>
            <ac:spMk id="1080" creationId="{EB61EE9E-5C6A-4848-AD37-16376A0A0B37}"/>
          </ac:spMkLst>
        </pc:spChg>
        <pc:spChg chg="del">
          <ac:chgData name="Kebba Jeng" userId="fe4cc296-ba7d-48a2-8799-89b58d218255" providerId="ADAL" clId="{388EFDEE-447E-42B4-98EF-30C01AB2E8CD}" dt="2022-03-28T18:32:39.846" v="2971" actId="21"/>
          <ac:spMkLst>
            <pc:docMk/>
            <pc:sldMk cId="3057876422" sldId="1879256067"/>
            <ac:spMk id="1081" creationId="{EB173B93-814D-48BC-9BD4-DD0832C23B57}"/>
          </ac:spMkLst>
        </pc:spChg>
        <pc:spChg chg="del">
          <ac:chgData name="Kebba Jeng" userId="fe4cc296-ba7d-48a2-8799-89b58d218255" providerId="ADAL" clId="{388EFDEE-447E-42B4-98EF-30C01AB2E8CD}" dt="2022-03-28T18:32:39.846" v="2971" actId="21"/>
          <ac:spMkLst>
            <pc:docMk/>
            <pc:sldMk cId="3057876422" sldId="1879256067"/>
            <ac:spMk id="1082" creationId="{6112D8DD-1306-4DAD-AA98-19B2541A5233}"/>
          </ac:spMkLst>
        </pc:spChg>
        <pc:spChg chg="del">
          <ac:chgData name="Kebba Jeng" userId="fe4cc296-ba7d-48a2-8799-89b58d218255" providerId="ADAL" clId="{388EFDEE-447E-42B4-98EF-30C01AB2E8CD}" dt="2022-03-28T18:32:39.846" v="2971" actId="21"/>
          <ac:spMkLst>
            <pc:docMk/>
            <pc:sldMk cId="3057876422" sldId="1879256067"/>
            <ac:spMk id="1083" creationId="{169ECA4F-89C5-4555-A97E-D1B1F623E748}"/>
          </ac:spMkLst>
        </pc:spChg>
        <pc:spChg chg="del">
          <ac:chgData name="Kebba Jeng" userId="fe4cc296-ba7d-48a2-8799-89b58d218255" providerId="ADAL" clId="{388EFDEE-447E-42B4-98EF-30C01AB2E8CD}" dt="2022-03-28T18:32:39.846" v="2971" actId="21"/>
          <ac:spMkLst>
            <pc:docMk/>
            <pc:sldMk cId="3057876422" sldId="1879256067"/>
            <ac:spMk id="1084" creationId="{EB03E26B-EEB8-4E6B-B3B8-E0CE082D4585}"/>
          </ac:spMkLst>
        </pc:spChg>
        <pc:spChg chg="del">
          <ac:chgData name="Kebba Jeng" userId="fe4cc296-ba7d-48a2-8799-89b58d218255" providerId="ADAL" clId="{388EFDEE-447E-42B4-98EF-30C01AB2E8CD}" dt="2022-03-28T18:32:39.846" v="2971" actId="21"/>
          <ac:spMkLst>
            <pc:docMk/>
            <pc:sldMk cId="3057876422" sldId="1879256067"/>
            <ac:spMk id="1085" creationId="{F0F905F9-6757-4961-B4D3-4730472D4192}"/>
          </ac:spMkLst>
        </pc:spChg>
        <pc:spChg chg="del">
          <ac:chgData name="Kebba Jeng" userId="fe4cc296-ba7d-48a2-8799-89b58d218255" providerId="ADAL" clId="{388EFDEE-447E-42B4-98EF-30C01AB2E8CD}" dt="2022-03-28T18:32:39.846" v="2971" actId="21"/>
          <ac:spMkLst>
            <pc:docMk/>
            <pc:sldMk cId="3057876422" sldId="1879256067"/>
            <ac:spMk id="1086" creationId="{21B9B677-5D86-42A8-8C67-C39D1FFEA495}"/>
          </ac:spMkLst>
        </pc:spChg>
        <pc:spChg chg="del">
          <ac:chgData name="Kebba Jeng" userId="fe4cc296-ba7d-48a2-8799-89b58d218255" providerId="ADAL" clId="{388EFDEE-447E-42B4-98EF-30C01AB2E8CD}" dt="2022-03-28T18:32:39.846" v="2971" actId="21"/>
          <ac:spMkLst>
            <pc:docMk/>
            <pc:sldMk cId="3057876422" sldId="1879256067"/>
            <ac:spMk id="1087" creationId="{82D17C1D-5193-499C-93D0-C89AD8423FBA}"/>
          </ac:spMkLst>
        </pc:spChg>
        <pc:spChg chg="del">
          <ac:chgData name="Kebba Jeng" userId="fe4cc296-ba7d-48a2-8799-89b58d218255" providerId="ADAL" clId="{388EFDEE-447E-42B4-98EF-30C01AB2E8CD}" dt="2022-03-28T18:32:39.846" v="2971" actId="21"/>
          <ac:spMkLst>
            <pc:docMk/>
            <pc:sldMk cId="3057876422" sldId="1879256067"/>
            <ac:spMk id="1088" creationId="{4A8E85DA-D787-40A2-A2C0-5036296AD963}"/>
          </ac:spMkLst>
        </pc:spChg>
        <pc:spChg chg="del">
          <ac:chgData name="Kebba Jeng" userId="fe4cc296-ba7d-48a2-8799-89b58d218255" providerId="ADAL" clId="{388EFDEE-447E-42B4-98EF-30C01AB2E8CD}" dt="2022-03-28T18:32:39.846" v="2971" actId="21"/>
          <ac:spMkLst>
            <pc:docMk/>
            <pc:sldMk cId="3057876422" sldId="1879256067"/>
            <ac:spMk id="1089" creationId="{154950CE-9E3A-4BD9-A428-816E604D2CEB}"/>
          </ac:spMkLst>
        </pc:spChg>
        <pc:spChg chg="del">
          <ac:chgData name="Kebba Jeng" userId="fe4cc296-ba7d-48a2-8799-89b58d218255" providerId="ADAL" clId="{388EFDEE-447E-42B4-98EF-30C01AB2E8CD}" dt="2022-03-28T18:32:39.846" v="2971" actId="21"/>
          <ac:spMkLst>
            <pc:docMk/>
            <pc:sldMk cId="3057876422" sldId="1879256067"/>
            <ac:spMk id="1090" creationId="{1D7A22A6-0C64-4451-B4AF-4254D1A98BAB}"/>
          </ac:spMkLst>
        </pc:spChg>
        <pc:spChg chg="del">
          <ac:chgData name="Kebba Jeng" userId="fe4cc296-ba7d-48a2-8799-89b58d218255" providerId="ADAL" clId="{388EFDEE-447E-42B4-98EF-30C01AB2E8CD}" dt="2022-03-28T18:32:39.846" v="2971" actId="21"/>
          <ac:spMkLst>
            <pc:docMk/>
            <pc:sldMk cId="3057876422" sldId="1879256067"/>
            <ac:spMk id="1091" creationId="{632AD371-B1A1-4B5C-BAD8-EBC95206AD10}"/>
          </ac:spMkLst>
        </pc:spChg>
        <pc:spChg chg="del">
          <ac:chgData name="Kebba Jeng" userId="fe4cc296-ba7d-48a2-8799-89b58d218255" providerId="ADAL" clId="{388EFDEE-447E-42B4-98EF-30C01AB2E8CD}" dt="2022-03-28T18:32:39.846" v="2971" actId="21"/>
          <ac:spMkLst>
            <pc:docMk/>
            <pc:sldMk cId="3057876422" sldId="1879256067"/>
            <ac:spMk id="1092" creationId="{609AE363-0D12-4FA6-A7D7-A1C6E2A7C4D5}"/>
          </ac:spMkLst>
        </pc:spChg>
        <pc:spChg chg="del">
          <ac:chgData name="Kebba Jeng" userId="fe4cc296-ba7d-48a2-8799-89b58d218255" providerId="ADAL" clId="{388EFDEE-447E-42B4-98EF-30C01AB2E8CD}" dt="2022-03-28T18:32:39.846" v="2971" actId="21"/>
          <ac:spMkLst>
            <pc:docMk/>
            <pc:sldMk cId="3057876422" sldId="1879256067"/>
            <ac:spMk id="1093" creationId="{55C90E26-BEB9-4511-A68B-1C345243402D}"/>
          </ac:spMkLst>
        </pc:spChg>
        <pc:spChg chg="del">
          <ac:chgData name="Kebba Jeng" userId="fe4cc296-ba7d-48a2-8799-89b58d218255" providerId="ADAL" clId="{388EFDEE-447E-42B4-98EF-30C01AB2E8CD}" dt="2022-03-28T18:32:39.846" v="2971" actId="21"/>
          <ac:spMkLst>
            <pc:docMk/>
            <pc:sldMk cId="3057876422" sldId="1879256067"/>
            <ac:spMk id="1094" creationId="{5133C4FC-C0C6-4E02-B6DD-B78E031B94F4}"/>
          </ac:spMkLst>
        </pc:spChg>
        <pc:spChg chg="del">
          <ac:chgData name="Kebba Jeng" userId="fe4cc296-ba7d-48a2-8799-89b58d218255" providerId="ADAL" clId="{388EFDEE-447E-42B4-98EF-30C01AB2E8CD}" dt="2022-03-28T18:32:39.846" v="2971" actId="21"/>
          <ac:spMkLst>
            <pc:docMk/>
            <pc:sldMk cId="3057876422" sldId="1879256067"/>
            <ac:spMk id="1095" creationId="{98F86697-7E70-4320-9B0D-3A7DDE8BDFFA}"/>
          </ac:spMkLst>
        </pc:spChg>
        <pc:spChg chg="del">
          <ac:chgData name="Kebba Jeng" userId="fe4cc296-ba7d-48a2-8799-89b58d218255" providerId="ADAL" clId="{388EFDEE-447E-42B4-98EF-30C01AB2E8CD}" dt="2022-03-28T18:32:39.846" v="2971" actId="21"/>
          <ac:spMkLst>
            <pc:docMk/>
            <pc:sldMk cId="3057876422" sldId="1879256067"/>
            <ac:spMk id="1096" creationId="{99F2530A-2839-497F-B745-9CE6387A45CB}"/>
          </ac:spMkLst>
        </pc:spChg>
        <pc:spChg chg="del">
          <ac:chgData name="Kebba Jeng" userId="fe4cc296-ba7d-48a2-8799-89b58d218255" providerId="ADAL" clId="{388EFDEE-447E-42B4-98EF-30C01AB2E8CD}" dt="2022-03-28T18:32:39.846" v="2971" actId="21"/>
          <ac:spMkLst>
            <pc:docMk/>
            <pc:sldMk cId="3057876422" sldId="1879256067"/>
            <ac:spMk id="1097" creationId="{0334BC95-C6D2-4576-BF21-F7550AA816EB}"/>
          </ac:spMkLst>
        </pc:spChg>
        <pc:spChg chg="del">
          <ac:chgData name="Kebba Jeng" userId="fe4cc296-ba7d-48a2-8799-89b58d218255" providerId="ADAL" clId="{388EFDEE-447E-42B4-98EF-30C01AB2E8CD}" dt="2022-03-28T18:32:39.846" v="2971" actId="21"/>
          <ac:spMkLst>
            <pc:docMk/>
            <pc:sldMk cId="3057876422" sldId="1879256067"/>
            <ac:spMk id="1098" creationId="{98782254-8611-4997-AB25-901AD7D41846}"/>
          </ac:spMkLst>
        </pc:spChg>
        <pc:spChg chg="del">
          <ac:chgData name="Kebba Jeng" userId="fe4cc296-ba7d-48a2-8799-89b58d218255" providerId="ADAL" clId="{388EFDEE-447E-42B4-98EF-30C01AB2E8CD}" dt="2022-03-28T18:32:39.846" v="2971" actId="21"/>
          <ac:spMkLst>
            <pc:docMk/>
            <pc:sldMk cId="3057876422" sldId="1879256067"/>
            <ac:spMk id="1099" creationId="{3B08A4D5-3D9F-41E2-BDAA-1FF1C33D9D90}"/>
          </ac:spMkLst>
        </pc:spChg>
        <pc:spChg chg="del">
          <ac:chgData name="Kebba Jeng" userId="fe4cc296-ba7d-48a2-8799-89b58d218255" providerId="ADAL" clId="{388EFDEE-447E-42B4-98EF-30C01AB2E8CD}" dt="2022-03-28T18:32:39.846" v="2971" actId="21"/>
          <ac:spMkLst>
            <pc:docMk/>
            <pc:sldMk cId="3057876422" sldId="1879256067"/>
            <ac:spMk id="1100" creationId="{2F4B9B0C-E4BA-4A8A-9C1C-2629DADBC4B1}"/>
          </ac:spMkLst>
        </pc:spChg>
        <pc:spChg chg="del">
          <ac:chgData name="Kebba Jeng" userId="fe4cc296-ba7d-48a2-8799-89b58d218255" providerId="ADAL" clId="{388EFDEE-447E-42B4-98EF-30C01AB2E8CD}" dt="2022-03-28T18:32:39.846" v="2971" actId="21"/>
          <ac:spMkLst>
            <pc:docMk/>
            <pc:sldMk cId="3057876422" sldId="1879256067"/>
            <ac:spMk id="1101" creationId="{53CDA194-DE55-4119-AD8E-D39DFB54782D}"/>
          </ac:spMkLst>
        </pc:spChg>
        <pc:spChg chg="del">
          <ac:chgData name="Kebba Jeng" userId="fe4cc296-ba7d-48a2-8799-89b58d218255" providerId="ADAL" clId="{388EFDEE-447E-42B4-98EF-30C01AB2E8CD}" dt="2022-03-28T18:32:39.846" v="2971" actId="21"/>
          <ac:spMkLst>
            <pc:docMk/>
            <pc:sldMk cId="3057876422" sldId="1879256067"/>
            <ac:spMk id="1102" creationId="{0349C9C0-D081-4AE5-8275-422DA62DCDF6}"/>
          </ac:spMkLst>
        </pc:spChg>
        <pc:spChg chg="del">
          <ac:chgData name="Kebba Jeng" userId="fe4cc296-ba7d-48a2-8799-89b58d218255" providerId="ADAL" clId="{388EFDEE-447E-42B4-98EF-30C01AB2E8CD}" dt="2022-03-28T18:32:39.846" v="2971" actId="21"/>
          <ac:spMkLst>
            <pc:docMk/>
            <pc:sldMk cId="3057876422" sldId="1879256067"/>
            <ac:spMk id="1103" creationId="{0FBD3A45-E42F-4D56-AF35-0B0A75956A71}"/>
          </ac:spMkLst>
        </pc:spChg>
        <pc:spChg chg="del">
          <ac:chgData name="Kebba Jeng" userId="fe4cc296-ba7d-48a2-8799-89b58d218255" providerId="ADAL" clId="{388EFDEE-447E-42B4-98EF-30C01AB2E8CD}" dt="2022-03-28T18:32:39.846" v="2971" actId="21"/>
          <ac:spMkLst>
            <pc:docMk/>
            <pc:sldMk cId="3057876422" sldId="1879256067"/>
            <ac:spMk id="1104" creationId="{E52E00CE-A3E0-4F2E-8400-D89D5E55BF5B}"/>
          </ac:spMkLst>
        </pc:spChg>
        <pc:spChg chg="del">
          <ac:chgData name="Kebba Jeng" userId="fe4cc296-ba7d-48a2-8799-89b58d218255" providerId="ADAL" clId="{388EFDEE-447E-42B4-98EF-30C01AB2E8CD}" dt="2022-03-28T18:32:39.846" v="2971" actId="21"/>
          <ac:spMkLst>
            <pc:docMk/>
            <pc:sldMk cId="3057876422" sldId="1879256067"/>
            <ac:spMk id="1105" creationId="{F5528445-3F89-4D38-8BA7-BBA3A367EFBD}"/>
          </ac:spMkLst>
        </pc:spChg>
        <pc:spChg chg="del">
          <ac:chgData name="Kebba Jeng" userId="fe4cc296-ba7d-48a2-8799-89b58d218255" providerId="ADAL" clId="{388EFDEE-447E-42B4-98EF-30C01AB2E8CD}" dt="2022-03-28T18:32:39.846" v="2971" actId="21"/>
          <ac:spMkLst>
            <pc:docMk/>
            <pc:sldMk cId="3057876422" sldId="1879256067"/>
            <ac:spMk id="1106" creationId="{54430BF2-53E8-401A-8113-704109241639}"/>
          </ac:spMkLst>
        </pc:spChg>
        <pc:spChg chg="del">
          <ac:chgData name="Kebba Jeng" userId="fe4cc296-ba7d-48a2-8799-89b58d218255" providerId="ADAL" clId="{388EFDEE-447E-42B4-98EF-30C01AB2E8CD}" dt="2022-03-28T18:32:39.846" v="2971" actId="21"/>
          <ac:spMkLst>
            <pc:docMk/>
            <pc:sldMk cId="3057876422" sldId="1879256067"/>
            <ac:spMk id="1107" creationId="{99AF5374-8ABE-4B26-86C0-84D532FCB98A}"/>
          </ac:spMkLst>
        </pc:spChg>
        <pc:spChg chg="del">
          <ac:chgData name="Kebba Jeng" userId="fe4cc296-ba7d-48a2-8799-89b58d218255" providerId="ADAL" clId="{388EFDEE-447E-42B4-98EF-30C01AB2E8CD}" dt="2022-03-28T18:32:39.846" v="2971" actId="21"/>
          <ac:spMkLst>
            <pc:docMk/>
            <pc:sldMk cId="3057876422" sldId="1879256067"/>
            <ac:spMk id="1108" creationId="{97410DDE-D71B-4380-93A6-93445E6190B2}"/>
          </ac:spMkLst>
        </pc:spChg>
        <pc:spChg chg="del">
          <ac:chgData name="Kebba Jeng" userId="fe4cc296-ba7d-48a2-8799-89b58d218255" providerId="ADAL" clId="{388EFDEE-447E-42B4-98EF-30C01AB2E8CD}" dt="2022-03-28T18:32:39.846" v="2971" actId="21"/>
          <ac:spMkLst>
            <pc:docMk/>
            <pc:sldMk cId="3057876422" sldId="1879256067"/>
            <ac:spMk id="1109" creationId="{2F7322D1-F85F-4134-A3D1-1B218CAC719B}"/>
          </ac:spMkLst>
        </pc:spChg>
        <pc:spChg chg="del">
          <ac:chgData name="Kebba Jeng" userId="fe4cc296-ba7d-48a2-8799-89b58d218255" providerId="ADAL" clId="{388EFDEE-447E-42B4-98EF-30C01AB2E8CD}" dt="2022-03-28T18:32:39.846" v="2971" actId="21"/>
          <ac:spMkLst>
            <pc:docMk/>
            <pc:sldMk cId="3057876422" sldId="1879256067"/>
            <ac:spMk id="1110" creationId="{1B613B03-8780-437F-A48C-673A5A963712}"/>
          </ac:spMkLst>
        </pc:spChg>
        <pc:spChg chg="del">
          <ac:chgData name="Kebba Jeng" userId="fe4cc296-ba7d-48a2-8799-89b58d218255" providerId="ADAL" clId="{388EFDEE-447E-42B4-98EF-30C01AB2E8CD}" dt="2022-03-28T18:32:39.846" v="2971" actId="21"/>
          <ac:spMkLst>
            <pc:docMk/>
            <pc:sldMk cId="3057876422" sldId="1879256067"/>
            <ac:spMk id="1111" creationId="{E2874200-F654-4D4D-B6F5-0EF0A23D7E1C}"/>
          </ac:spMkLst>
        </pc:spChg>
        <pc:spChg chg="del">
          <ac:chgData name="Kebba Jeng" userId="fe4cc296-ba7d-48a2-8799-89b58d218255" providerId="ADAL" clId="{388EFDEE-447E-42B4-98EF-30C01AB2E8CD}" dt="2022-03-28T18:32:39.846" v="2971" actId="21"/>
          <ac:spMkLst>
            <pc:docMk/>
            <pc:sldMk cId="3057876422" sldId="1879256067"/>
            <ac:spMk id="1112" creationId="{51A44F6F-9E89-43E9-9465-1074D5D5F25B}"/>
          </ac:spMkLst>
        </pc:spChg>
        <pc:spChg chg="del">
          <ac:chgData name="Kebba Jeng" userId="fe4cc296-ba7d-48a2-8799-89b58d218255" providerId="ADAL" clId="{388EFDEE-447E-42B4-98EF-30C01AB2E8CD}" dt="2022-03-28T18:32:39.846" v="2971" actId="21"/>
          <ac:spMkLst>
            <pc:docMk/>
            <pc:sldMk cId="3057876422" sldId="1879256067"/>
            <ac:spMk id="1113" creationId="{6FB9882E-EDA0-4031-B359-3DCC5DE957D4}"/>
          </ac:spMkLst>
        </pc:spChg>
        <pc:spChg chg="del">
          <ac:chgData name="Kebba Jeng" userId="fe4cc296-ba7d-48a2-8799-89b58d218255" providerId="ADAL" clId="{388EFDEE-447E-42B4-98EF-30C01AB2E8CD}" dt="2022-03-28T18:32:39.846" v="2971" actId="21"/>
          <ac:spMkLst>
            <pc:docMk/>
            <pc:sldMk cId="3057876422" sldId="1879256067"/>
            <ac:spMk id="1114" creationId="{F2F93713-7472-4EFB-B6AF-114D158FE691}"/>
          </ac:spMkLst>
        </pc:spChg>
        <pc:spChg chg="del">
          <ac:chgData name="Kebba Jeng" userId="fe4cc296-ba7d-48a2-8799-89b58d218255" providerId="ADAL" clId="{388EFDEE-447E-42B4-98EF-30C01AB2E8CD}" dt="2022-03-28T18:32:39.846" v="2971" actId="21"/>
          <ac:spMkLst>
            <pc:docMk/>
            <pc:sldMk cId="3057876422" sldId="1879256067"/>
            <ac:spMk id="1115" creationId="{A801F6FB-47EF-465E-8EC8-C74DBD62BB6B}"/>
          </ac:spMkLst>
        </pc:spChg>
        <pc:spChg chg="del">
          <ac:chgData name="Kebba Jeng" userId="fe4cc296-ba7d-48a2-8799-89b58d218255" providerId="ADAL" clId="{388EFDEE-447E-42B4-98EF-30C01AB2E8CD}" dt="2022-03-28T18:32:39.846" v="2971" actId="21"/>
          <ac:spMkLst>
            <pc:docMk/>
            <pc:sldMk cId="3057876422" sldId="1879256067"/>
            <ac:spMk id="1116" creationId="{7216E036-C733-41F5-9A88-27EFF1C87E11}"/>
          </ac:spMkLst>
        </pc:spChg>
        <pc:spChg chg="del">
          <ac:chgData name="Kebba Jeng" userId="fe4cc296-ba7d-48a2-8799-89b58d218255" providerId="ADAL" clId="{388EFDEE-447E-42B4-98EF-30C01AB2E8CD}" dt="2022-03-28T18:32:39.846" v="2971" actId="21"/>
          <ac:spMkLst>
            <pc:docMk/>
            <pc:sldMk cId="3057876422" sldId="1879256067"/>
            <ac:spMk id="1117" creationId="{8EAC02E2-A764-4599-9C1F-E2366A4C6119}"/>
          </ac:spMkLst>
        </pc:spChg>
        <pc:spChg chg="del">
          <ac:chgData name="Kebba Jeng" userId="fe4cc296-ba7d-48a2-8799-89b58d218255" providerId="ADAL" clId="{388EFDEE-447E-42B4-98EF-30C01AB2E8CD}" dt="2022-03-28T18:32:39.846" v="2971" actId="21"/>
          <ac:spMkLst>
            <pc:docMk/>
            <pc:sldMk cId="3057876422" sldId="1879256067"/>
            <ac:spMk id="1118" creationId="{43D82EF9-EAF7-40EB-B76A-B3D741149DD3}"/>
          </ac:spMkLst>
        </pc:spChg>
        <pc:spChg chg="del">
          <ac:chgData name="Kebba Jeng" userId="fe4cc296-ba7d-48a2-8799-89b58d218255" providerId="ADAL" clId="{388EFDEE-447E-42B4-98EF-30C01AB2E8CD}" dt="2022-03-28T18:32:39.846" v="2971" actId="21"/>
          <ac:spMkLst>
            <pc:docMk/>
            <pc:sldMk cId="3057876422" sldId="1879256067"/>
            <ac:spMk id="1119" creationId="{1B843519-6E9C-49E0-8E91-A807DEF55414}"/>
          </ac:spMkLst>
        </pc:spChg>
        <pc:spChg chg="del">
          <ac:chgData name="Kebba Jeng" userId="fe4cc296-ba7d-48a2-8799-89b58d218255" providerId="ADAL" clId="{388EFDEE-447E-42B4-98EF-30C01AB2E8CD}" dt="2022-03-28T18:32:39.846" v="2971" actId="21"/>
          <ac:spMkLst>
            <pc:docMk/>
            <pc:sldMk cId="3057876422" sldId="1879256067"/>
            <ac:spMk id="1120" creationId="{32CFE629-5AFF-4FD9-9C4E-03B031A961D6}"/>
          </ac:spMkLst>
        </pc:spChg>
        <pc:spChg chg="del">
          <ac:chgData name="Kebba Jeng" userId="fe4cc296-ba7d-48a2-8799-89b58d218255" providerId="ADAL" clId="{388EFDEE-447E-42B4-98EF-30C01AB2E8CD}" dt="2022-03-28T18:32:39.846" v="2971" actId="21"/>
          <ac:spMkLst>
            <pc:docMk/>
            <pc:sldMk cId="3057876422" sldId="1879256067"/>
            <ac:spMk id="1121" creationId="{3B702F05-F4DD-43E3-A266-BFAEBC9B7CFC}"/>
          </ac:spMkLst>
        </pc:spChg>
        <pc:spChg chg="del">
          <ac:chgData name="Kebba Jeng" userId="fe4cc296-ba7d-48a2-8799-89b58d218255" providerId="ADAL" clId="{388EFDEE-447E-42B4-98EF-30C01AB2E8CD}" dt="2022-03-28T18:32:39.846" v="2971" actId="21"/>
          <ac:spMkLst>
            <pc:docMk/>
            <pc:sldMk cId="3057876422" sldId="1879256067"/>
            <ac:spMk id="1122" creationId="{A8A9912A-0964-47EE-B81C-6D87BD8B57CE}"/>
          </ac:spMkLst>
        </pc:spChg>
        <pc:spChg chg="del">
          <ac:chgData name="Kebba Jeng" userId="fe4cc296-ba7d-48a2-8799-89b58d218255" providerId="ADAL" clId="{388EFDEE-447E-42B4-98EF-30C01AB2E8CD}" dt="2022-03-28T18:32:39.846" v="2971" actId="21"/>
          <ac:spMkLst>
            <pc:docMk/>
            <pc:sldMk cId="3057876422" sldId="1879256067"/>
            <ac:spMk id="1123" creationId="{85BFFDE5-AE5A-4EA4-AA64-EA081B824274}"/>
          </ac:spMkLst>
        </pc:spChg>
        <pc:spChg chg="del">
          <ac:chgData name="Kebba Jeng" userId="fe4cc296-ba7d-48a2-8799-89b58d218255" providerId="ADAL" clId="{388EFDEE-447E-42B4-98EF-30C01AB2E8CD}" dt="2022-03-28T18:32:39.846" v="2971" actId="21"/>
          <ac:spMkLst>
            <pc:docMk/>
            <pc:sldMk cId="3057876422" sldId="1879256067"/>
            <ac:spMk id="1124" creationId="{BED962D7-65CC-41CE-B07E-EE6701C99B8D}"/>
          </ac:spMkLst>
        </pc:spChg>
        <pc:spChg chg="del">
          <ac:chgData name="Kebba Jeng" userId="fe4cc296-ba7d-48a2-8799-89b58d218255" providerId="ADAL" clId="{388EFDEE-447E-42B4-98EF-30C01AB2E8CD}" dt="2022-03-28T18:32:39.846" v="2971" actId="21"/>
          <ac:spMkLst>
            <pc:docMk/>
            <pc:sldMk cId="3057876422" sldId="1879256067"/>
            <ac:spMk id="1125" creationId="{CF2B70AE-85FC-4BFF-855B-B2DEA881482F}"/>
          </ac:spMkLst>
        </pc:spChg>
        <pc:spChg chg="del">
          <ac:chgData name="Kebba Jeng" userId="fe4cc296-ba7d-48a2-8799-89b58d218255" providerId="ADAL" clId="{388EFDEE-447E-42B4-98EF-30C01AB2E8CD}" dt="2022-03-28T18:32:39.846" v="2971" actId="21"/>
          <ac:spMkLst>
            <pc:docMk/>
            <pc:sldMk cId="3057876422" sldId="1879256067"/>
            <ac:spMk id="1126" creationId="{1415E8DB-5E89-4776-BBF2-99E91F85BB20}"/>
          </ac:spMkLst>
        </pc:spChg>
        <pc:spChg chg="del">
          <ac:chgData name="Kebba Jeng" userId="fe4cc296-ba7d-48a2-8799-89b58d218255" providerId="ADAL" clId="{388EFDEE-447E-42B4-98EF-30C01AB2E8CD}" dt="2022-03-28T18:32:39.846" v="2971" actId="21"/>
          <ac:spMkLst>
            <pc:docMk/>
            <pc:sldMk cId="3057876422" sldId="1879256067"/>
            <ac:spMk id="1127" creationId="{743E5CB0-6857-48A3-ABED-96E588407F8E}"/>
          </ac:spMkLst>
        </pc:spChg>
        <pc:spChg chg="del">
          <ac:chgData name="Kebba Jeng" userId="fe4cc296-ba7d-48a2-8799-89b58d218255" providerId="ADAL" clId="{388EFDEE-447E-42B4-98EF-30C01AB2E8CD}" dt="2022-03-28T18:32:39.846" v="2971" actId="21"/>
          <ac:spMkLst>
            <pc:docMk/>
            <pc:sldMk cId="3057876422" sldId="1879256067"/>
            <ac:spMk id="1128" creationId="{E12C460B-309B-4C10-8A16-249096536FBD}"/>
          </ac:spMkLst>
        </pc:spChg>
        <pc:spChg chg="del">
          <ac:chgData name="Kebba Jeng" userId="fe4cc296-ba7d-48a2-8799-89b58d218255" providerId="ADAL" clId="{388EFDEE-447E-42B4-98EF-30C01AB2E8CD}" dt="2022-03-28T18:32:39.846" v="2971" actId="21"/>
          <ac:spMkLst>
            <pc:docMk/>
            <pc:sldMk cId="3057876422" sldId="1879256067"/>
            <ac:spMk id="1129" creationId="{25F5F205-E28B-47DA-A9C0-F49A62559C9F}"/>
          </ac:spMkLst>
        </pc:spChg>
        <pc:spChg chg="del">
          <ac:chgData name="Kebba Jeng" userId="fe4cc296-ba7d-48a2-8799-89b58d218255" providerId="ADAL" clId="{388EFDEE-447E-42B4-98EF-30C01AB2E8CD}" dt="2022-03-28T18:32:39.846" v="2971" actId="21"/>
          <ac:spMkLst>
            <pc:docMk/>
            <pc:sldMk cId="3057876422" sldId="1879256067"/>
            <ac:spMk id="1130" creationId="{BAAF9A4C-B9C8-492E-B3AC-0A274FEAF0AA}"/>
          </ac:spMkLst>
        </pc:spChg>
        <pc:spChg chg="del">
          <ac:chgData name="Kebba Jeng" userId="fe4cc296-ba7d-48a2-8799-89b58d218255" providerId="ADAL" clId="{388EFDEE-447E-42B4-98EF-30C01AB2E8CD}" dt="2022-03-28T18:32:39.846" v="2971" actId="21"/>
          <ac:spMkLst>
            <pc:docMk/>
            <pc:sldMk cId="3057876422" sldId="1879256067"/>
            <ac:spMk id="1131" creationId="{23A6B329-F417-4262-996E-C419CCFB2342}"/>
          </ac:spMkLst>
        </pc:spChg>
        <pc:spChg chg="del">
          <ac:chgData name="Kebba Jeng" userId="fe4cc296-ba7d-48a2-8799-89b58d218255" providerId="ADAL" clId="{388EFDEE-447E-42B4-98EF-30C01AB2E8CD}" dt="2022-03-28T18:32:39.846" v="2971" actId="21"/>
          <ac:spMkLst>
            <pc:docMk/>
            <pc:sldMk cId="3057876422" sldId="1879256067"/>
            <ac:spMk id="1132" creationId="{73D1497E-B748-42AA-965C-4DD3ECDEBB40}"/>
          </ac:spMkLst>
        </pc:spChg>
        <pc:spChg chg="del">
          <ac:chgData name="Kebba Jeng" userId="fe4cc296-ba7d-48a2-8799-89b58d218255" providerId="ADAL" clId="{388EFDEE-447E-42B4-98EF-30C01AB2E8CD}" dt="2022-03-28T18:32:39.846" v="2971" actId="21"/>
          <ac:spMkLst>
            <pc:docMk/>
            <pc:sldMk cId="3057876422" sldId="1879256067"/>
            <ac:spMk id="1133" creationId="{4F6EE9B8-615A-4ACB-9E42-2440AED24080}"/>
          </ac:spMkLst>
        </pc:spChg>
        <pc:spChg chg="del">
          <ac:chgData name="Kebba Jeng" userId="fe4cc296-ba7d-48a2-8799-89b58d218255" providerId="ADAL" clId="{388EFDEE-447E-42B4-98EF-30C01AB2E8CD}" dt="2022-03-28T18:32:39.846" v="2971" actId="21"/>
          <ac:spMkLst>
            <pc:docMk/>
            <pc:sldMk cId="3057876422" sldId="1879256067"/>
            <ac:spMk id="1134" creationId="{F758A323-8E19-47F6-A077-2A53CEE2CDAE}"/>
          </ac:spMkLst>
        </pc:spChg>
        <pc:spChg chg="del">
          <ac:chgData name="Kebba Jeng" userId="fe4cc296-ba7d-48a2-8799-89b58d218255" providerId="ADAL" clId="{388EFDEE-447E-42B4-98EF-30C01AB2E8CD}" dt="2022-03-28T18:32:39.846" v="2971" actId="21"/>
          <ac:spMkLst>
            <pc:docMk/>
            <pc:sldMk cId="3057876422" sldId="1879256067"/>
            <ac:spMk id="1135" creationId="{3B53B888-1F21-4306-ACDB-54F50CEEE567}"/>
          </ac:spMkLst>
        </pc:spChg>
        <pc:spChg chg="del">
          <ac:chgData name="Kebba Jeng" userId="fe4cc296-ba7d-48a2-8799-89b58d218255" providerId="ADAL" clId="{388EFDEE-447E-42B4-98EF-30C01AB2E8CD}" dt="2022-03-28T18:32:39.846" v="2971" actId="21"/>
          <ac:spMkLst>
            <pc:docMk/>
            <pc:sldMk cId="3057876422" sldId="1879256067"/>
            <ac:spMk id="1136" creationId="{3F43B371-A5A0-4F8D-82CE-2B6D93E3C276}"/>
          </ac:spMkLst>
        </pc:spChg>
        <pc:spChg chg="del">
          <ac:chgData name="Kebba Jeng" userId="fe4cc296-ba7d-48a2-8799-89b58d218255" providerId="ADAL" clId="{388EFDEE-447E-42B4-98EF-30C01AB2E8CD}" dt="2022-03-28T18:32:39.846" v="2971" actId="21"/>
          <ac:spMkLst>
            <pc:docMk/>
            <pc:sldMk cId="3057876422" sldId="1879256067"/>
            <ac:spMk id="1137" creationId="{80C50ACF-5517-4535-B4B7-0E6D56B46817}"/>
          </ac:spMkLst>
        </pc:spChg>
        <pc:spChg chg="del">
          <ac:chgData name="Kebba Jeng" userId="fe4cc296-ba7d-48a2-8799-89b58d218255" providerId="ADAL" clId="{388EFDEE-447E-42B4-98EF-30C01AB2E8CD}" dt="2022-03-28T18:32:39.846" v="2971" actId="21"/>
          <ac:spMkLst>
            <pc:docMk/>
            <pc:sldMk cId="3057876422" sldId="1879256067"/>
            <ac:spMk id="1138" creationId="{869E1794-A267-46CC-A7FF-B28483909E91}"/>
          </ac:spMkLst>
        </pc:spChg>
        <pc:spChg chg="del">
          <ac:chgData name="Kebba Jeng" userId="fe4cc296-ba7d-48a2-8799-89b58d218255" providerId="ADAL" clId="{388EFDEE-447E-42B4-98EF-30C01AB2E8CD}" dt="2022-03-28T18:32:39.846" v="2971" actId="21"/>
          <ac:spMkLst>
            <pc:docMk/>
            <pc:sldMk cId="3057876422" sldId="1879256067"/>
            <ac:spMk id="1139" creationId="{E7FF1854-EFB2-4B06-9E1F-7123C681E364}"/>
          </ac:spMkLst>
        </pc:spChg>
        <pc:spChg chg="del">
          <ac:chgData name="Kebba Jeng" userId="fe4cc296-ba7d-48a2-8799-89b58d218255" providerId="ADAL" clId="{388EFDEE-447E-42B4-98EF-30C01AB2E8CD}" dt="2022-03-28T18:32:39.846" v="2971" actId="21"/>
          <ac:spMkLst>
            <pc:docMk/>
            <pc:sldMk cId="3057876422" sldId="1879256067"/>
            <ac:spMk id="1140" creationId="{8AB6A549-BE24-4759-92E3-BF178A4EB9E6}"/>
          </ac:spMkLst>
        </pc:spChg>
        <pc:spChg chg="del">
          <ac:chgData name="Kebba Jeng" userId="fe4cc296-ba7d-48a2-8799-89b58d218255" providerId="ADAL" clId="{388EFDEE-447E-42B4-98EF-30C01AB2E8CD}" dt="2022-03-28T18:32:39.846" v="2971" actId="21"/>
          <ac:spMkLst>
            <pc:docMk/>
            <pc:sldMk cId="3057876422" sldId="1879256067"/>
            <ac:spMk id="1141" creationId="{E1719AD2-B12A-4258-B7C7-248F4F288CD8}"/>
          </ac:spMkLst>
        </pc:spChg>
        <pc:spChg chg="del">
          <ac:chgData name="Kebba Jeng" userId="fe4cc296-ba7d-48a2-8799-89b58d218255" providerId="ADAL" clId="{388EFDEE-447E-42B4-98EF-30C01AB2E8CD}" dt="2022-03-28T18:32:39.846" v="2971" actId="21"/>
          <ac:spMkLst>
            <pc:docMk/>
            <pc:sldMk cId="3057876422" sldId="1879256067"/>
            <ac:spMk id="1142" creationId="{E704C42C-C183-4C3B-910B-5E9FC6E5BFF9}"/>
          </ac:spMkLst>
        </pc:spChg>
        <pc:spChg chg="del">
          <ac:chgData name="Kebba Jeng" userId="fe4cc296-ba7d-48a2-8799-89b58d218255" providerId="ADAL" clId="{388EFDEE-447E-42B4-98EF-30C01AB2E8CD}" dt="2022-03-28T18:32:39.846" v="2971" actId="21"/>
          <ac:spMkLst>
            <pc:docMk/>
            <pc:sldMk cId="3057876422" sldId="1879256067"/>
            <ac:spMk id="1143" creationId="{B76DE95A-64F0-490D-96C2-662828F180FD}"/>
          </ac:spMkLst>
        </pc:spChg>
        <pc:spChg chg="del">
          <ac:chgData name="Kebba Jeng" userId="fe4cc296-ba7d-48a2-8799-89b58d218255" providerId="ADAL" clId="{388EFDEE-447E-42B4-98EF-30C01AB2E8CD}" dt="2022-03-28T18:32:39.846" v="2971" actId="21"/>
          <ac:spMkLst>
            <pc:docMk/>
            <pc:sldMk cId="3057876422" sldId="1879256067"/>
            <ac:spMk id="1144" creationId="{DFEB715D-EAB7-4F94-87D1-0EF7CD0CB226}"/>
          </ac:spMkLst>
        </pc:spChg>
        <pc:spChg chg="del">
          <ac:chgData name="Kebba Jeng" userId="fe4cc296-ba7d-48a2-8799-89b58d218255" providerId="ADAL" clId="{388EFDEE-447E-42B4-98EF-30C01AB2E8CD}" dt="2022-03-28T18:32:39.846" v="2971" actId="21"/>
          <ac:spMkLst>
            <pc:docMk/>
            <pc:sldMk cId="3057876422" sldId="1879256067"/>
            <ac:spMk id="1145" creationId="{317A1CC9-E513-4BE8-96FE-5AB3FA8862EA}"/>
          </ac:spMkLst>
        </pc:spChg>
        <pc:spChg chg="del">
          <ac:chgData name="Kebba Jeng" userId="fe4cc296-ba7d-48a2-8799-89b58d218255" providerId="ADAL" clId="{388EFDEE-447E-42B4-98EF-30C01AB2E8CD}" dt="2022-03-28T18:32:39.846" v="2971" actId="21"/>
          <ac:spMkLst>
            <pc:docMk/>
            <pc:sldMk cId="3057876422" sldId="1879256067"/>
            <ac:spMk id="1146" creationId="{64B2BF6F-F422-4660-BCB8-777B0701BB92}"/>
          </ac:spMkLst>
        </pc:spChg>
        <pc:spChg chg="del">
          <ac:chgData name="Kebba Jeng" userId="fe4cc296-ba7d-48a2-8799-89b58d218255" providerId="ADAL" clId="{388EFDEE-447E-42B4-98EF-30C01AB2E8CD}" dt="2022-03-28T18:32:39.846" v="2971" actId="21"/>
          <ac:spMkLst>
            <pc:docMk/>
            <pc:sldMk cId="3057876422" sldId="1879256067"/>
            <ac:spMk id="1147" creationId="{F143B569-B306-470C-BBEE-052FAB0D0E03}"/>
          </ac:spMkLst>
        </pc:spChg>
        <pc:spChg chg="del">
          <ac:chgData name="Kebba Jeng" userId="fe4cc296-ba7d-48a2-8799-89b58d218255" providerId="ADAL" clId="{388EFDEE-447E-42B4-98EF-30C01AB2E8CD}" dt="2022-03-28T18:32:39.846" v="2971" actId="21"/>
          <ac:spMkLst>
            <pc:docMk/>
            <pc:sldMk cId="3057876422" sldId="1879256067"/>
            <ac:spMk id="1148" creationId="{9652F717-A14E-40D9-9C06-B249745A6EE5}"/>
          </ac:spMkLst>
        </pc:spChg>
        <pc:spChg chg="del">
          <ac:chgData name="Kebba Jeng" userId="fe4cc296-ba7d-48a2-8799-89b58d218255" providerId="ADAL" clId="{388EFDEE-447E-42B4-98EF-30C01AB2E8CD}" dt="2022-03-28T18:32:39.846" v="2971" actId="21"/>
          <ac:spMkLst>
            <pc:docMk/>
            <pc:sldMk cId="3057876422" sldId="1879256067"/>
            <ac:spMk id="1149" creationId="{44E6ACEB-C854-42B0-A94A-E23C32FB667F}"/>
          </ac:spMkLst>
        </pc:spChg>
        <pc:spChg chg="del">
          <ac:chgData name="Kebba Jeng" userId="fe4cc296-ba7d-48a2-8799-89b58d218255" providerId="ADAL" clId="{388EFDEE-447E-42B4-98EF-30C01AB2E8CD}" dt="2022-03-28T18:32:39.846" v="2971" actId="21"/>
          <ac:spMkLst>
            <pc:docMk/>
            <pc:sldMk cId="3057876422" sldId="1879256067"/>
            <ac:spMk id="1150" creationId="{94BD5E0F-D27F-4224-B665-172B07DA6041}"/>
          </ac:spMkLst>
        </pc:spChg>
        <pc:spChg chg="del">
          <ac:chgData name="Kebba Jeng" userId="fe4cc296-ba7d-48a2-8799-89b58d218255" providerId="ADAL" clId="{388EFDEE-447E-42B4-98EF-30C01AB2E8CD}" dt="2022-03-28T18:32:39.846" v="2971" actId="21"/>
          <ac:spMkLst>
            <pc:docMk/>
            <pc:sldMk cId="3057876422" sldId="1879256067"/>
            <ac:spMk id="1151" creationId="{ACBE3FEF-4D35-4C8A-ABC5-37C886CFFDB0}"/>
          </ac:spMkLst>
        </pc:spChg>
        <pc:spChg chg="del">
          <ac:chgData name="Kebba Jeng" userId="fe4cc296-ba7d-48a2-8799-89b58d218255" providerId="ADAL" clId="{388EFDEE-447E-42B4-98EF-30C01AB2E8CD}" dt="2022-03-28T18:32:39.846" v="2971" actId="21"/>
          <ac:spMkLst>
            <pc:docMk/>
            <pc:sldMk cId="3057876422" sldId="1879256067"/>
            <ac:spMk id="1152" creationId="{3FB46DA0-8703-47A9-8BEA-583080197FDA}"/>
          </ac:spMkLst>
        </pc:spChg>
        <pc:spChg chg="del">
          <ac:chgData name="Kebba Jeng" userId="fe4cc296-ba7d-48a2-8799-89b58d218255" providerId="ADAL" clId="{388EFDEE-447E-42B4-98EF-30C01AB2E8CD}" dt="2022-03-28T18:32:39.846" v="2971" actId="21"/>
          <ac:spMkLst>
            <pc:docMk/>
            <pc:sldMk cId="3057876422" sldId="1879256067"/>
            <ac:spMk id="1153" creationId="{A83ADFEF-A7CB-4DFD-AEBE-716D0BDF86EC}"/>
          </ac:spMkLst>
        </pc:spChg>
        <pc:spChg chg="del">
          <ac:chgData name="Kebba Jeng" userId="fe4cc296-ba7d-48a2-8799-89b58d218255" providerId="ADAL" clId="{388EFDEE-447E-42B4-98EF-30C01AB2E8CD}" dt="2022-03-28T18:32:39.846" v="2971" actId="21"/>
          <ac:spMkLst>
            <pc:docMk/>
            <pc:sldMk cId="3057876422" sldId="1879256067"/>
            <ac:spMk id="1154" creationId="{57B64F93-6488-4DE5-B4B9-B2E4E6217BCE}"/>
          </ac:spMkLst>
        </pc:spChg>
        <pc:spChg chg="del">
          <ac:chgData name="Kebba Jeng" userId="fe4cc296-ba7d-48a2-8799-89b58d218255" providerId="ADAL" clId="{388EFDEE-447E-42B4-98EF-30C01AB2E8CD}" dt="2022-03-28T18:32:39.846" v="2971" actId="21"/>
          <ac:spMkLst>
            <pc:docMk/>
            <pc:sldMk cId="3057876422" sldId="1879256067"/>
            <ac:spMk id="1155" creationId="{9E8CF699-390B-49BD-8566-A9442566C8FC}"/>
          </ac:spMkLst>
        </pc:spChg>
        <pc:spChg chg="del">
          <ac:chgData name="Kebba Jeng" userId="fe4cc296-ba7d-48a2-8799-89b58d218255" providerId="ADAL" clId="{388EFDEE-447E-42B4-98EF-30C01AB2E8CD}" dt="2022-03-28T18:32:39.846" v="2971" actId="21"/>
          <ac:spMkLst>
            <pc:docMk/>
            <pc:sldMk cId="3057876422" sldId="1879256067"/>
            <ac:spMk id="1156" creationId="{079DCDDE-860C-44F7-BDE8-0E3894A3A5A5}"/>
          </ac:spMkLst>
        </pc:spChg>
        <pc:spChg chg="del">
          <ac:chgData name="Kebba Jeng" userId="fe4cc296-ba7d-48a2-8799-89b58d218255" providerId="ADAL" clId="{388EFDEE-447E-42B4-98EF-30C01AB2E8CD}" dt="2022-03-28T18:32:39.846" v="2971" actId="21"/>
          <ac:spMkLst>
            <pc:docMk/>
            <pc:sldMk cId="3057876422" sldId="1879256067"/>
            <ac:spMk id="1157" creationId="{898ADE2E-9018-495B-A90B-59774D12A79C}"/>
          </ac:spMkLst>
        </pc:spChg>
        <pc:spChg chg="del">
          <ac:chgData name="Kebba Jeng" userId="fe4cc296-ba7d-48a2-8799-89b58d218255" providerId="ADAL" clId="{388EFDEE-447E-42B4-98EF-30C01AB2E8CD}" dt="2022-03-28T18:32:39.846" v="2971" actId="21"/>
          <ac:spMkLst>
            <pc:docMk/>
            <pc:sldMk cId="3057876422" sldId="1879256067"/>
            <ac:spMk id="1158" creationId="{50E60553-5365-4123-9E0C-8A91152E55B1}"/>
          </ac:spMkLst>
        </pc:spChg>
        <pc:spChg chg="del">
          <ac:chgData name="Kebba Jeng" userId="fe4cc296-ba7d-48a2-8799-89b58d218255" providerId="ADAL" clId="{388EFDEE-447E-42B4-98EF-30C01AB2E8CD}" dt="2022-03-28T18:32:39.846" v="2971" actId="21"/>
          <ac:spMkLst>
            <pc:docMk/>
            <pc:sldMk cId="3057876422" sldId="1879256067"/>
            <ac:spMk id="1159" creationId="{5ECBACD6-8EE7-4C92-B4F2-322C656BB16F}"/>
          </ac:spMkLst>
        </pc:spChg>
        <pc:spChg chg="del">
          <ac:chgData name="Kebba Jeng" userId="fe4cc296-ba7d-48a2-8799-89b58d218255" providerId="ADAL" clId="{388EFDEE-447E-42B4-98EF-30C01AB2E8CD}" dt="2022-03-28T18:32:39.846" v="2971" actId="21"/>
          <ac:spMkLst>
            <pc:docMk/>
            <pc:sldMk cId="3057876422" sldId="1879256067"/>
            <ac:spMk id="1160" creationId="{57E07292-C241-4E44-AC6A-903157522754}"/>
          </ac:spMkLst>
        </pc:spChg>
        <pc:spChg chg="del">
          <ac:chgData name="Kebba Jeng" userId="fe4cc296-ba7d-48a2-8799-89b58d218255" providerId="ADAL" clId="{388EFDEE-447E-42B4-98EF-30C01AB2E8CD}" dt="2022-03-28T18:32:39.846" v="2971" actId="21"/>
          <ac:spMkLst>
            <pc:docMk/>
            <pc:sldMk cId="3057876422" sldId="1879256067"/>
            <ac:spMk id="1161" creationId="{403177D4-EC4E-4548-B2E2-04B626D2B5C6}"/>
          </ac:spMkLst>
        </pc:spChg>
        <pc:spChg chg="del">
          <ac:chgData name="Kebba Jeng" userId="fe4cc296-ba7d-48a2-8799-89b58d218255" providerId="ADAL" clId="{388EFDEE-447E-42B4-98EF-30C01AB2E8CD}" dt="2022-03-28T18:32:39.846" v="2971" actId="21"/>
          <ac:spMkLst>
            <pc:docMk/>
            <pc:sldMk cId="3057876422" sldId="1879256067"/>
            <ac:spMk id="1162" creationId="{C509B081-746B-4F2B-BB5D-A345569A6017}"/>
          </ac:spMkLst>
        </pc:spChg>
        <pc:spChg chg="del">
          <ac:chgData name="Kebba Jeng" userId="fe4cc296-ba7d-48a2-8799-89b58d218255" providerId="ADAL" clId="{388EFDEE-447E-42B4-98EF-30C01AB2E8CD}" dt="2022-03-28T18:32:39.846" v="2971" actId="21"/>
          <ac:spMkLst>
            <pc:docMk/>
            <pc:sldMk cId="3057876422" sldId="1879256067"/>
            <ac:spMk id="1163" creationId="{B0653FB5-B9BC-4134-BF88-5311736A6AC0}"/>
          </ac:spMkLst>
        </pc:spChg>
        <pc:spChg chg="del">
          <ac:chgData name="Kebba Jeng" userId="fe4cc296-ba7d-48a2-8799-89b58d218255" providerId="ADAL" clId="{388EFDEE-447E-42B4-98EF-30C01AB2E8CD}" dt="2022-03-28T18:32:39.846" v="2971" actId="21"/>
          <ac:spMkLst>
            <pc:docMk/>
            <pc:sldMk cId="3057876422" sldId="1879256067"/>
            <ac:spMk id="1164" creationId="{3E246F3F-FC06-47FD-A5F3-7F9E92DA7DFD}"/>
          </ac:spMkLst>
        </pc:spChg>
        <pc:spChg chg="del">
          <ac:chgData name="Kebba Jeng" userId="fe4cc296-ba7d-48a2-8799-89b58d218255" providerId="ADAL" clId="{388EFDEE-447E-42B4-98EF-30C01AB2E8CD}" dt="2022-03-28T18:32:39.846" v="2971" actId="21"/>
          <ac:spMkLst>
            <pc:docMk/>
            <pc:sldMk cId="3057876422" sldId="1879256067"/>
            <ac:spMk id="1165" creationId="{85E61C08-CF77-4ABE-866D-7BE2E46E799C}"/>
          </ac:spMkLst>
        </pc:spChg>
        <pc:spChg chg="del">
          <ac:chgData name="Kebba Jeng" userId="fe4cc296-ba7d-48a2-8799-89b58d218255" providerId="ADAL" clId="{388EFDEE-447E-42B4-98EF-30C01AB2E8CD}" dt="2022-03-28T18:32:39.846" v="2971" actId="21"/>
          <ac:spMkLst>
            <pc:docMk/>
            <pc:sldMk cId="3057876422" sldId="1879256067"/>
            <ac:spMk id="1166" creationId="{2CABA2C9-331E-4A1F-8D62-5E3151042730}"/>
          </ac:spMkLst>
        </pc:spChg>
        <pc:spChg chg="del">
          <ac:chgData name="Kebba Jeng" userId="fe4cc296-ba7d-48a2-8799-89b58d218255" providerId="ADAL" clId="{388EFDEE-447E-42B4-98EF-30C01AB2E8CD}" dt="2022-03-28T18:32:39.846" v="2971" actId="21"/>
          <ac:spMkLst>
            <pc:docMk/>
            <pc:sldMk cId="3057876422" sldId="1879256067"/>
            <ac:spMk id="1167" creationId="{0D3506BE-C17D-479D-8E96-EF76268C6C41}"/>
          </ac:spMkLst>
        </pc:spChg>
        <pc:spChg chg="del">
          <ac:chgData name="Kebba Jeng" userId="fe4cc296-ba7d-48a2-8799-89b58d218255" providerId="ADAL" clId="{388EFDEE-447E-42B4-98EF-30C01AB2E8CD}" dt="2022-03-28T18:32:39.846" v="2971" actId="21"/>
          <ac:spMkLst>
            <pc:docMk/>
            <pc:sldMk cId="3057876422" sldId="1879256067"/>
            <ac:spMk id="1168" creationId="{752BEAD6-0384-49AD-AABC-89B4A1A55F04}"/>
          </ac:spMkLst>
        </pc:spChg>
        <pc:spChg chg="del">
          <ac:chgData name="Kebba Jeng" userId="fe4cc296-ba7d-48a2-8799-89b58d218255" providerId="ADAL" clId="{388EFDEE-447E-42B4-98EF-30C01AB2E8CD}" dt="2022-03-28T18:32:39.846" v="2971" actId="21"/>
          <ac:spMkLst>
            <pc:docMk/>
            <pc:sldMk cId="3057876422" sldId="1879256067"/>
            <ac:spMk id="1169" creationId="{015F3C42-6B28-445B-9FC3-F63A25D363D7}"/>
          </ac:spMkLst>
        </pc:spChg>
        <pc:spChg chg="del">
          <ac:chgData name="Kebba Jeng" userId="fe4cc296-ba7d-48a2-8799-89b58d218255" providerId="ADAL" clId="{388EFDEE-447E-42B4-98EF-30C01AB2E8CD}" dt="2022-03-28T18:32:39.846" v="2971" actId="21"/>
          <ac:spMkLst>
            <pc:docMk/>
            <pc:sldMk cId="3057876422" sldId="1879256067"/>
            <ac:spMk id="1170" creationId="{23EC4538-E629-4C20-ACB1-64915FBC3324}"/>
          </ac:spMkLst>
        </pc:spChg>
        <pc:spChg chg="del">
          <ac:chgData name="Kebba Jeng" userId="fe4cc296-ba7d-48a2-8799-89b58d218255" providerId="ADAL" clId="{388EFDEE-447E-42B4-98EF-30C01AB2E8CD}" dt="2022-03-28T18:32:39.846" v="2971" actId="21"/>
          <ac:spMkLst>
            <pc:docMk/>
            <pc:sldMk cId="3057876422" sldId="1879256067"/>
            <ac:spMk id="1171" creationId="{DD8FEF2D-AA3F-4475-A82D-28BA79C213A6}"/>
          </ac:spMkLst>
        </pc:spChg>
        <pc:spChg chg="del">
          <ac:chgData name="Kebba Jeng" userId="fe4cc296-ba7d-48a2-8799-89b58d218255" providerId="ADAL" clId="{388EFDEE-447E-42B4-98EF-30C01AB2E8CD}" dt="2022-03-28T18:32:39.846" v="2971" actId="21"/>
          <ac:spMkLst>
            <pc:docMk/>
            <pc:sldMk cId="3057876422" sldId="1879256067"/>
            <ac:spMk id="1172" creationId="{1CA666ED-8258-45E8-9C51-DB8675208122}"/>
          </ac:spMkLst>
        </pc:spChg>
        <pc:spChg chg="del">
          <ac:chgData name="Kebba Jeng" userId="fe4cc296-ba7d-48a2-8799-89b58d218255" providerId="ADAL" clId="{388EFDEE-447E-42B4-98EF-30C01AB2E8CD}" dt="2022-03-28T18:32:39.846" v="2971" actId="21"/>
          <ac:spMkLst>
            <pc:docMk/>
            <pc:sldMk cId="3057876422" sldId="1879256067"/>
            <ac:spMk id="1173" creationId="{C1CD8143-A63E-49F2-959B-212A87C4EF76}"/>
          </ac:spMkLst>
        </pc:spChg>
        <pc:spChg chg="del">
          <ac:chgData name="Kebba Jeng" userId="fe4cc296-ba7d-48a2-8799-89b58d218255" providerId="ADAL" clId="{388EFDEE-447E-42B4-98EF-30C01AB2E8CD}" dt="2022-03-28T18:32:39.846" v="2971" actId="21"/>
          <ac:spMkLst>
            <pc:docMk/>
            <pc:sldMk cId="3057876422" sldId="1879256067"/>
            <ac:spMk id="1174" creationId="{4BB0745D-29CA-4A65-BF5F-D82D9088AC3F}"/>
          </ac:spMkLst>
        </pc:spChg>
        <pc:spChg chg="del">
          <ac:chgData name="Kebba Jeng" userId="fe4cc296-ba7d-48a2-8799-89b58d218255" providerId="ADAL" clId="{388EFDEE-447E-42B4-98EF-30C01AB2E8CD}" dt="2022-03-28T18:32:39.846" v="2971" actId="21"/>
          <ac:spMkLst>
            <pc:docMk/>
            <pc:sldMk cId="3057876422" sldId="1879256067"/>
            <ac:spMk id="1175" creationId="{29ECEFA4-0B9D-47FF-A874-5855752A9B9C}"/>
          </ac:spMkLst>
        </pc:spChg>
        <pc:spChg chg="del">
          <ac:chgData name="Kebba Jeng" userId="fe4cc296-ba7d-48a2-8799-89b58d218255" providerId="ADAL" clId="{388EFDEE-447E-42B4-98EF-30C01AB2E8CD}" dt="2022-03-28T18:32:39.846" v="2971" actId="21"/>
          <ac:spMkLst>
            <pc:docMk/>
            <pc:sldMk cId="3057876422" sldId="1879256067"/>
            <ac:spMk id="1176" creationId="{8F04F9D3-788E-486C-8F78-79DF0A73F654}"/>
          </ac:spMkLst>
        </pc:spChg>
        <pc:spChg chg="del">
          <ac:chgData name="Kebba Jeng" userId="fe4cc296-ba7d-48a2-8799-89b58d218255" providerId="ADAL" clId="{388EFDEE-447E-42B4-98EF-30C01AB2E8CD}" dt="2022-03-28T18:32:39.846" v="2971" actId="21"/>
          <ac:spMkLst>
            <pc:docMk/>
            <pc:sldMk cId="3057876422" sldId="1879256067"/>
            <ac:spMk id="1177" creationId="{3E29B09D-90DE-43F8-902C-1655DF26CD70}"/>
          </ac:spMkLst>
        </pc:spChg>
        <pc:spChg chg="del">
          <ac:chgData name="Kebba Jeng" userId="fe4cc296-ba7d-48a2-8799-89b58d218255" providerId="ADAL" clId="{388EFDEE-447E-42B4-98EF-30C01AB2E8CD}" dt="2022-03-28T18:32:39.846" v="2971" actId="21"/>
          <ac:spMkLst>
            <pc:docMk/>
            <pc:sldMk cId="3057876422" sldId="1879256067"/>
            <ac:spMk id="1178" creationId="{6254DA24-657A-42E9-823C-83B3FE1F0BC4}"/>
          </ac:spMkLst>
        </pc:spChg>
        <pc:spChg chg="del">
          <ac:chgData name="Kebba Jeng" userId="fe4cc296-ba7d-48a2-8799-89b58d218255" providerId="ADAL" clId="{388EFDEE-447E-42B4-98EF-30C01AB2E8CD}" dt="2022-03-28T18:32:39.846" v="2971" actId="21"/>
          <ac:spMkLst>
            <pc:docMk/>
            <pc:sldMk cId="3057876422" sldId="1879256067"/>
            <ac:spMk id="1179" creationId="{A0F397BE-D6BD-423E-BF5E-78AC8528B9E3}"/>
          </ac:spMkLst>
        </pc:spChg>
        <pc:spChg chg="del">
          <ac:chgData name="Kebba Jeng" userId="fe4cc296-ba7d-48a2-8799-89b58d218255" providerId="ADAL" clId="{388EFDEE-447E-42B4-98EF-30C01AB2E8CD}" dt="2022-03-28T18:32:39.846" v="2971" actId="21"/>
          <ac:spMkLst>
            <pc:docMk/>
            <pc:sldMk cId="3057876422" sldId="1879256067"/>
            <ac:spMk id="1180" creationId="{2F299838-4D1C-4524-88DD-67B014FEE88C}"/>
          </ac:spMkLst>
        </pc:spChg>
        <pc:spChg chg="del">
          <ac:chgData name="Kebba Jeng" userId="fe4cc296-ba7d-48a2-8799-89b58d218255" providerId="ADAL" clId="{388EFDEE-447E-42B4-98EF-30C01AB2E8CD}" dt="2022-03-28T18:32:39.846" v="2971" actId="21"/>
          <ac:spMkLst>
            <pc:docMk/>
            <pc:sldMk cId="3057876422" sldId="1879256067"/>
            <ac:spMk id="1181" creationId="{91727EAF-0339-4BEB-A091-685053CC3BB4}"/>
          </ac:spMkLst>
        </pc:spChg>
        <pc:spChg chg="del">
          <ac:chgData name="Kebba Jeng" userId="fe4cc296-ba7d-48a2-8799-89b58d218255" providerId="ADAL" clId="{388EFDEE-447E-42B4-98EF-30C01AB2E8CD}" dt="2022-03-28T18:32:39.846" v="2971" actId="21"/>
          <ac:spMkLst>
            <pc:docMk/>
            <pc:sldMk cId="3057876422" sldId="1879256067"/>
            <ac:spMk id="1182" creationId="{D9701D0A-D57D-44C5-AA4A-E926B7A08722}"/>
          </ac:spMkLst>
        </pc:spChg>
        <pc:spChg chg="del">
          <ac:chgData name="Kebba Jeng" userId="fe4cc296-ba7d-48a2-8799-89b58d218255" providerId="ADAL" clId="{388EFDEE-447E-42B4-98EF-30C01AB2E8CD}" dt="2022-03-28T18:32:39.846" v="2971" actId="21"/>
          <ac:spMkLst>
            <pc:docMk/>
            <pc:sldMk cId="3057876422" sldId="1879256067"/>
            <ac:spMk id="1183" creationId="{95C751C6-20A2-40C7-9818-DC291F551110}"/>
          </ac:spMkLst>
        </pc:spChg>
        <pc:spChg chg="del">
          <ac:chgData name="Kebba Jeng" userId="fe4cc296-ba7d-48a2-8799-89b58d218255" providerId="ADAL" clId="{388EFDEE-447E-42B4-98EF-30C01AB2E8CD}" dt="2022-03-28T18:32:39.846" v="2971" actId="21"/>
          <ac:spMkLst>
            <pc:docMk/>
            <pc:sldMk cId="3057876422" sldId="1879256067"/>
            <ac:spMk id="1184" creationId="{E1A62E23-4448-490E-9017-0291B4A4A3C9}"/>
          </ac:spMkLst>
        </pc:spChg>
        <pc:spChg chg="del">
          <ac:chgData name="Kebba Jeng" userId="fe4cc296-ba7d-48a2-8799-89b58d218255" providerId="ADAL" clId="{388EFDEE-447E-42B4-98EF-30C01AB2E8CD}" dt="2022-03-28T18:32:39.846" v="2971" actId="21"/>
          <ac:spMkLst>
            <pc:docMk/>
            <pc:sldMk cId="3057876422" sldId="1879256067"/>
            <ac:spMk id="1185" creationId="{550EC745-9E5B-4E1C-B2D7-C8D8E01C24D6}"/>
          </ac:spMkLst>
        </pc:spChg>
        <pc:spChg chg="del">
          <ac:chgData name="Kebba Jeng" userId="fe4cc296-ba7d-48a2-8799-89b58d218255" providerId="ADAL" clId="{388EFDEE-447E-42B4-98EF-30C01AB2E8CD}" dt="2022-03-28T18:32:39.846" v="2971" actId="21"/>
          <ac:spMkLst>
            <pc:docMk/>
            <pc:sldMk cId="3057876422" sldId="1879256067"/>
            <ac:spMk id="1186" creationId="{639AB590-6E22-4D1D-B561-91F8C3B472F8}"/>
          </ac:spMkLst>
        </pc:spChg>
        <pc:spChg chg="del">
          <ac:chgData name="Kebba Jeng" userId="fe4cc296-ba7d-48a2-8799-89b58d218255" providerId="ADAL" clId="{388EFDEE-447E-42B4-98EF-30C01AB2E8CD}" dt="2022-03-28T18:32:39.846" v="2971" actId="21"/>
          <ac:spMkLst>
            <pc:docMk/>
            <pc:sldMk cId="3057876422" sldId="1879256067"/>
            <ac:spMk id="1187" creationId="{CB9609B9-5227-4EA5-B971-EC42CDEE55CB}"/>
          </ac:spMkLst>
        </pc:spChg>
        <pc:spChg chg="del">
          <ac:chgData name="Kebba Jeng" userId="fe4cc296-ba7d-48a2-8799-89b58d218255" providerId="ADAL" clId="{388EFDEE-447E-42B4-98EF-30C01AB2E8CD}" dt="2022-03-28T18:32:39.846" v="2971" actId="21"/>
          <ac:spMkLst>
            <pc:docMk/>
            <pc:sldMk cId="3057876422" sldId="1879256067"/>
            <ac:spMk id="1188" creationId="{3EF5B5B0-41C0-4045-81C3-5A4035A234D9}"/>
          </ac:spMkLst>
        </pc:spChg>
        <pc:spChg chg="del">
          <ac:chgData name="Kebba Jeng" userId="fe4cc296-ba7d-48a2-8799-89b58d218255" providerId="ADAL" clId="{388EFDEE-447E-42B4-98EF-30C01AB2E8CD}" dt="2022-03-28T18:32:39.846" v="2971" actId="21"/>
          <ac:spMkLst>
            <pc:docMk/>
            <pc:sldMk cId="3057876422" sldId="1879256067"/>
            <ac:spMk id="1189" creationId="{794010F7-BBB5-43C7-A476-A1E4699AF243}"/>
          </ac:spMkLst>
        </pc:spChg>
        <pc:spChg chg="del">
          <ac:chgData name="Kebba Jeng" userId="fe4cc296-ba7d-48a2-8799-89b58d218255" providerId="ADAL" clId="{388EFDEE-447E-42B4-98EF-30C01AB2E8CD}" dt="2022-03-28T18:32:39.846" v="2971" actId="21"/>
          <ac:spMkLst>
            <pc:docMk/>
            <pc:sldMk cId="3057876422" sldId="1879256067"/>
            <ac:spMk id="1190" creationId="{6BBE6FDF-95B0-4410-AFFB-C06511630C94}"/>
          </ac:spMkLst>
        </pc:spChg>
        <pc:spChg chg="del">
          <ac:chgData name="Kebba Jeng" userId="fe4cc296-ba7d-48a2-8799-89b58d218255" providerId="ADAL" clId="{388EFDEE-447E-42B4-98EF-30C01AB2E8CD}" dt="2022-03-28T18:32:39.846" v="2971" actId="21"/>
          <ac:spMkLst>
            <pc:docMk/>
            <pc:sldMk cId="3057876422" sldId="1879256067"/>
            <ac:spMk id="1191" creationId="{A0F34922-2393-4E16-BDF5-DEA8FBC1C5E5}"/>
          </ac:spMkLst>
        </pc:spChg>
        <pc:spChg chg="del">
          <ac:chgData name="Kebba Jeng" userId="fe4cc296-ba7d-48a2-8799-89b58d218255" providerId="ADAL" clId="{388EFDEE-447E-42B4-98EF-30C01AB2E8CD}" dt="2022-03-28T18:32:39.846" v="2971" actId="21"/>
          <ac:spMkLst>
            <pc:docMk/>
            <pc:sldMk cId="3057876422" sldId="1879256067"/>
            <ac:spMk id="1192" creationId="{08DA5226-CA6F-4109-A977-755DE67AF232}"/>
          </ac:spMkLst>
        </pc:spChg>
        <pc:spChg chg="del">
          <ac:chgData name="Kebba Jeng" userId="fe4cc296-ba7d-48a2-8799-89b58d218255" providerId="ADAL" clId="{388EFDEE-447E-42B4-98EF-30C01AB2E8CD}" dt="2022-03-28T18:32:39.846" v="2971" actId="21"/>
          <ac:spMkLst>
            <pc:docMk/>
            <pc:sldMk cId="3057876422" sldId="1879256067"/>
            <ac:spMk id="1193" creationId="{BC6D4C18-ED04-41EA-96F5-619C96BA1D74}"/>
          </ac:spMkLst>
        </pc:spChg>
        <pc:spChg chg="del">
          <ac:chgData name="Kebba Jeng" userId="fe4cc296-ba7d-48a2-8799-89b58d218255" providerId="ADAL" clId="{388EFDEE-447E-42B4-98EF-30C01AB2E8CD}" dt="2022-03-28T18:32:39.846" v="2971" actId="21"/>
          <ac:spMkLst>
            <pc:docMk/>
            <pc:sldMk cId="3057876422" sldId="1879256067"/>
            <ac:spMk id="1194" creationId="{BCB57755-905E-4AC9-B17A-A67D466CDF6E}"/>
          </ac:spMkLst>
        </pc:spChg>
        <pc:spChg chg="del">
          <ac:chgData name="Kebba Jeng" userId="fe4cc296-ba7d-48a2-8799-89b58d218255" providerId="ADAL" clId="{388EFDEE-447E-42B4-98EF-30C01AB2E8CD}" dt="2022-03-28T18:32:39.846" v="2971" actId="21"/>
          <ac:spMkLst>
            <pc:docMk/>
            <pc:sldMk cId="3057876422" sldId="1879256067"/>
            <ac:spMk id="1195" creationId="{1496561C-140E-46F6-9AE0-0B7DAFCF8A6B}"/>
          </ac:spMkLst>
        </pc:spChg>
        <pc:spChg chg="del">
          <ac:chgData name="Kebba Jeng" userId="fe4cc296-ba7d-48a2-8799-89b58d218255" providerId="ADAL" clId="{388EFDEE-447E-42B4-98EF-30C01AB2E8CD}" dt="2022-03-28T18:32:39.846" v="2971" actId="21"/>
          <ac:spMkLst>
            <pc:docMk/>
            <pc:sldMk cId="3057876422" sldId="1879256067"/>
            <ac:spMk id="1196" creationId="{57D14EE7-01DF-4EBD-89C2-885B09513FAC}"/>
          </ac:spMkLst>
        </pc:spChg>
        <pc:spChg chg="del">
          <ac:chgData name="Kebba Jeng" userId="fe4cc296-ba7d-48a2-8799-89b58d218255" providerId="ADAL" clId="{388EFDEE-447E-42B4-98EF-30C01AB2E8CD}" dt="2022-03-28T18:32:39.846" v="2971" actId="21"/>
          <ac:spMkLst>
            <pc:docMk/>
            <pc:sldMk cId="3057876422" sldId="1879256067"/>
            <ac:spMk id="1197" creationId="{F98D08E9-3ABE-45C3-A7D2-D81213098674}"/>
          </ac:spMkLst>
        </pc:spChg>
        <pc:spChg chg="del">
          <ac:chgData name="Kebba Jeng" userId="fe4cc296-ba7d-48a2-8799-89b58d218255" providerId="ADAL" clId="{388EFDEE-447E-42B4-98EF-30C01AB2E8CD}" dt="2022-03-28T18:32:39.846" v="2971" actId="21"/>
          <ac:spMkLst>
            <pc:docMk/>
            <pc:sldMk cId="3057876422" sldId="1879256067"/>
            <ac:spMk id="1198" creationId="{30C619E3-1B7A-4062-81A0-917FFBC7F5CA}"/>
          </ac:spMkLst>
        </pc:spChg>
        <pc:spChg chg="del">
          <ac:chgData name="Kebba Jeng" userId="fe4cc296-ba7d-48a2-8799-89b58d218255" providerId="ADAL" clId="{388EFDEE-447E-42B4-98EF-30C01AB2E8CD}" dt="2022-03-28T18:32:39.846" v="2971" actId="21"/>
          <ac:spMkLst>
            <pc:docMk/>
            <pc:sldMk cId="3057876422" sldId="1879256067"/>
            <ac:spMk id="1199" creationId="{EBE0C80C-A3B8-4A3E-B999-736BB7F74891}"/>
          </ac:spMkLst>
        </pc:spChg>
        <pc:spChg chg="del">
          <ac:chgData name="Kebba Jeng" userId="fe4cc296-ba7d-48a2-8799-89b58d218255" providerId="ADAL" clId="{388EFDEE-447E-42B4-98EF-30C01AB2E8CD}" dt="2022-03-28T18:32:39.846" v="2971" actId="21"/>
          <ac:spMkLst>
            <pc:docMk/>
            <pc:sldMk cId="3057876422" sldId="1879256067"/>
            <ac:spMk id="1200" creationId="{2C6BDABB-C4BD-4B23-AF91-03FBE259155D}"/>
          </ac:spMkLst>
        </pc:spChg>
        <pc:spChg chg="del">
          <ac:chgData name="Kebba Jeng" userId="fe4cc296-ba7d-48a2-8799-89b58d218255" providerId="ADAL" clId="{388EFDEE-447E-42B4-98EF-30C01AB2E8CD}" dt="2022-03-28T18:32:39.846" v="2971" actId="21"/>
          <ac:spMkLst>
            <pc:docMk/>
            <pc:sldMk cId="3057876422" sldId="1879256067"/>
            <ac:spMk id="1201" creationId="{83378D02-7A5B-4256-96AD-0F8466D80DD5}"/>
          </ac:spMkLst>
        </pc:spChg>
        <pc:spChg chg="del">
          <ac:chgData name="Kebba Jeng" userId="fe4cc296-ba7d-48a2-8799-89b58d218255" providerId="ADAL" clId="{388EFDEE-447E-42B4-98EF-30C01AB2E8CD}" dt="2022-03-28T18:32:39.846" v="2971" actId="21"/>
          <ac:spMkLst>
            <pc:docMk/>
            <pc:sldMk cId="3057876422" sldId="1879256067"/>
            <ac:spMk id="1202" creationId="{7260E909-AD1E-4A8B-AAEB-52D9EF4482CC}"/>
          </ac:spMkLst>
        </pc:spChg>
        <pc:spChg chg="del">
          <ac:chgData name="Kebba Jeng" userId="fe4cc296-ba7d-48a2-8799-89b58d218255" providerId="ADAL" clId="{388EFDEE-447E-42B4-98EF-30C01AB2E8CD}" dt="2022-03-28T18:32:39.846" v="2971" actId="21"/>
          <ac:spMkLst>
            <pc:docMk/>
            <pc:sldMk cId="3057876422" sldId="1879256067"/>
            <ac:spMk id="1203" creationId="{87D79667-9899-452E-B579-F98E03E9563B}"/>
          </ac:spMkLst>
        </pc:spChg>
        <pc:spChg chg="del">
          <ac:chgData name="Kebba Jeng" userId="fe4cc296-ba7d-48a2-8799-89b58d218255" providerId="ADAL" clId="{388EFDEE-447E-42B4-98EF-30C01AB2E8CD}" dt="2022-03-28T18:32:39.846" v="2971" actId="21"/>
          <ac:spMkLst>
            <pc:docMk/>
            <pc:sldMk cId="3057876422" sldId="1879256067"/>
            <ac:spMk id="1204" creationId="{3ADD7E14-1867-4E04-B02C-374305652F57}"/>
          </ac:spMkLst>
        </pc:spChg>
        <pc:spChg chg="del">
          <ac:chgData name="Kebba Jeng" userId="fe4cc296-ba7d-48a2-8799-89b58d218255" providerId="ADAL" clId="{388EFDEE-447E-42B4-98EF-30C01AB2E8CD}" dt="2022-03-28T18:32:39.846" v="2971" actId="21"/>
          <ac:spMkLst>
            <pc:docMk/>
            <pc:sldMk cId="3057876422" sldId="1879256067"/>
            <ac:spMk id="1205" creationId="{11A37104-BAC2-43FC-82D1-FA16D67179BB}"/>
          </ac:spMkLst>
        </pc:spChg>
        <pc:spChg chg="del">
          <ac:chgData name="Kebba Jeng" userId="fe4cc296-ba7d-48a2-8799-89b58d218255" providerId="ADAL" clId="{388EFDEE-447E-42B4-98EF-30C01AB2E8CD}" dt="2022-03-28T18:32:39.846" v="2971" actId="21"/>
          <ac:spMkLst>
            <pc:docMk/>
            <pc:sldMk cId="3057876422" sldId="1879256067"/>
            <ac:spMk id="1206" creationId="{320750E0-93E8-47C9-8C1C-54971F6C6BC0}"/>
          </ac:spMkLst>
        </pc:spChg>
        <pc:spChg chg="del">
          <ac:chgData name="Kebba Jeng" userId="fe4cc296-ba7d-48a2-8799-89b58d218255" providerId="ADAL" clId="{388EFDEE-447E-42B4-98EF-30C01AB2E8CD}" dt="2022-03-28T18:32:39.846" v="2971" actId="21"/>
          <ac:spMkLst>
            <pc:docMk/>
            <pc:sldMk cId="3057876422" sldId="1879256067"/>
            <ac:spMk id="1207" creationId="{B5301C55-5FB5-4B16-A833-C271F6E890AE}"/>
          </ac:spMkLst>
        </pc:spChg>
        <pc:spChg chg="del">
          <ac:chgData name="Kebba Jeng" userId="fe4cc296-ba7d-48a2-8799-89b58d218255" providerId="ADAL" clId="{388EFDEE-447E-42B4-98EF-30C01AB2E8CD}" dt="2022-03-28T18:32:39.846" v="2971" actId="21"/>
          <ac:spMkLst>
            <pc:docMk/>
            <pc:sldMk cId="3057876422" sldId="1879256067"/>
            <ac:spMk id="1208" creationId="{2F0D0388-424A-484A-85AD-0060B4DB6339}"/>
          </ac:spMkLst>
        </pc:spChg>
        <pc:spChg chg="del">
          <ac:chgData name="Kebba Jeng" userId="fe4cc296-ba7d-48a2-8799-89b58d218255" providerId="ADAL" clId="{388EFDEE-447E-42B4-98EF-30C01AB2E8CD}" dt="2022-03-28T18:32:39.846" v="2971" actId="21"/>
          <ac:spMkLst>
            <pc:docMk/>
            <pc:sldMk cId="3057876422" sldId="1879256067"/>
            <ac:spMk id="1209" creationId="{981D4EA4-30ED-463D-B35B-AE2C33C48FDE}"/>
          </ac:spMkLst>
        </pc:spChg>
        <pc:spChg chg="del">
          <ac:chgData name="Kebba Jeng" userId="fe4cc296-ba7d-48a2-8799-89b58d218255" providerId="ADAL" clId="{388EFDEE-447E-42B4-98EF-30C01AB2E8CD}" dt="2022-03-28T18:32:39.846" v="2971" actId="21"/>
          <ac:spMkLst>
            <pc:docMk/>
            <pc:sldMk cId="3057876422" sldId="1879256067"/>
            <ac:spMk id="1210" creationId="{A2463795-D150-46B1-AD17-F4A2FE8302AB}"/>
          </ac:spMkLst>
        </pc:spChg>
        <pc:spChg chg="del">
          <ac:chgData name="Kebba Jeng" userId="fe4cc296-ba7d-48a2-8799-89b58d218255" providerId="ADAL" clId="{388EFDEE-447E-42B4-98EF-30C01AB2E8CD}" dt="2022-03-28T18:32:39.846" v="2971" actId="21"/>
          <ac:spMkLst>
            <pc:docMk/>
            <pc:sldMk cId="3057876422" sldId="1879256067"/>
            <ac:spMk id="1211" creationId="{95417534-38C0-4AC2-A8D5-49AB841A73B1}"/>
          </ac:spMkLst>
        </pc:spChg>
        <pc:spChg chg="del">
          <ac:chgData name="Kebba Jeng" userId="fe4cc296-ba7d-48a2-8799-89b58d218255" providerId="ADAL" clId="{388EFDEE-447E-42B4-98EF-30C01AB2E8CD}" dt="2022-03-28T18:32:39.846" v="2971" actId="21"/>
          <ac:spMkLst>
            <pc:docMk/>
            <pc:sldMk cId="3057876422" sldId="1879256067"/>
            <ac:spMk id="1212" creationId="{E48096D6-086B-4A0F-99C8-E7F7B38A4FED}"/>
          </ac:spMkLst>
        </pc:spChg>
        <pc:spChg chg="del">
          <ac:chgData name="Kebba Jeng" userId="fe4cc296-ba7d-48a2-8799-89b58d218255" providerId="ADAL" clId="{388EFDEE-447E-42B4-98EF-30C01AB2E8CD}" dt="2022-03-28T18:32:39.846" v="2971" actId="21"/>
          <ac:spMkLst>
            <pc:docMk/>
            <pc:sldMk cId="3057876422" sldId="1879256067"/>
            <ac:spMk id="1213" creationId="{A15025CA-BBAE-43D7-A2FA-460EC736E886}"/>
          </ac:spMkLst>
        </pc:spChg>
        <pc:spChg chg="del">
          <ac:chgData name="Kebba Jeng" userId="fe4cc296-ba7d-48a2-8799-89b58d218255" providerId="ADAL" clId="{388EFDEE-447E-42B4-98EF-30C01AB2E8CD}" dt="2022-03-28T18:32:39.846" v="2971" actId="21"/>
          <ac:spMkLst>
            <pc:docMk/>
            <pc:sldMk cId="3057876422" sldId="1879256067"/>
            <ac:spMk id="1214" creationId="{0AE89888-5EC6-4BF9-903C-D028D3A28DFC}"/>
          </ac:spMkLst>
        </pc:spChg>
        <pc:spChg chg="del">
          <ac:chgData name="Kebba Jeng" userId="fe4cc296-ba7d-48a2-8799-89b58d218255" providerId="ADAL" clId="{388EFDEE-447E-42B4-98EF-30C01AB2E8CD}" dt="2022-03-28T18:32:39.846" v="2971" actId="21"/>
          <ac:spMkLst>
            <pc:docMk/>
            <pc:sldMk cId="3057876422" sldId="1879256067"/>
            <ac:spMk id="1215" creationId="{6950CF03-0F06-44DD-B572-700B9EC533C8}"/>
          </ac:spMkLst>
        </pc:spChg>
        <pc:spChg chg="del">
          <ac:chgData name="Kebba Jeng" userId="fe4cc296-ba7d-48a2-8799-89b58d218255" providerId="ADAL" clId="{388EFDEE-447E-42B4-98EF-30C01AB2E8CD}" dt="2022-03-28T18:32:39.846" v="2971" actId="21"/>
          <ac:spMkLst>
            <pc:docMk/>
            <pc:sldMk cId="3057876422" sldId="1879256067"/>
            <ac:spMk id="1216" creationId="{BD6AFB59-BA52-4B7A-AFD1-5DEE9E192FE8}"/>
          </ac:spMkLst>
        </pc:spChg>
        <pc:spChg chg="del">
          <ac:chgData name="Kebba Jeng" userId="fe4cc296-ba7d-48a2-8799-89b58d218255" providerId="ADAL" clId="{388EFDEE-447E-42B4-98EF-30C01AB2E8CD}" dt="2022-03-28T18:32:39.846" v="2971" actId="21"/>
          <ac:spMkLst>
            <pc:docMk/>
            <pc:sldMk cId="3057876422" sldId="1879256067"/>
            <ac:spMk id="1217" creationId="{EB081788-7755-4B94-BB99-88E7955CEB63}"/>
          </ac:spMkLst>
        </pc:spChg>
        <pc:spChg chg="del">
          <ac:chgData name="Kebba Jeng" userId="fe4cc296-ba7d-48a2-8799-89b58d218255" providerId="ADAL" clId="{388EFDEE-447E-42B4-98EF-30C01AB2E8CD}" dt="2022-03-28T18:32:39.846" v="2971" actId="21"/>
          <ac:spMkLst>
            <pc:docMk/>
            <pc:sldMk cId="3057876422" sldId="1879256067"/>
            <ac:spMk id="1218" creationId="{E60FDBAE-C98C-432D-8650-E00C988E0A84}"/>
          </ac:spMkLst>
        </pc:spChg>
        <pc:spChg chg="del">
          <ac:chgData name="Kebba Jeng" userId="fe4cc296-ba7d-48a2-8799-89b58d218255" providerId="ADAL" clId="{388EFDEE-447E-42B4-98EF-30C01AB2E8CD}" dt="2022-03-28T18:32:39.846" v="2971" actId="21"/>
          <ac:spMkLst>
            <pc:docMk/>
            <pc:sldMk cId="3057876422" sldId="1879256067"/>
            <ac:spMk id="1219" creationId="{30C93210-0D5E-4448-8637-BBA6212B072B}"/>
          </ac:spMkLst>
        </pc:spChg>
        <pc:spChg chg="del">
          <ac:chgData name="Kebba Jeng" userId="fe4cc296-ba7d-48a2-8799-89b58d218255" providerId="ADAL" clId="{388EFDEE-447E-42B4-98EF-30C01AB2E8CD}" dt="2022-03-28T18:32:39.846" v="2971" actId="21"/>
          <ac:spMkLst>
            <pc:docMk/>
            <pc:sldMk cId="3057876422" sldId="1879256067"/>
            <ac:spMk id="1220" creationId="{D478E9FF-8328-4D78-B033-F13EA4555FCC}"/>
          </ac:spMkLst>
        </pc:spChg>
        <pc:spChg chg="del">
          <ac:chgData name="Kebba Jeng" userId="fe4cc296-ba7d-48a2-8799-89b58d218255" providerId="ADAL" clId="{388EFDEE-447E-42B4-98EF-30C01AB2E8CD}" dt="2022-03-28T18:32:39.846" v="2971" actId="21"/>
          <ac:spMkLst>
            <pc:docMk/>
            <pc:sldMk cId="3057876422" sldId="1879256067"/>
            <ac:spMk id="1221" creationId="{9629BC39-1A9C-47B4-A171-11176A9E2C5E}"/>
          </ac:spMkLst>
        </pc:spChg>
        <pc:spChg chg="del">
          <ac:chgData name="Kebba Jeng" userId="fe4cc296-ba7d-48a2-8799-89b58d218255" providerId="ADAL" clId="{388EFDEE-447E-42B4-98EF-30C01AB2E8CD}" dt="2022-03-28T18:32:39.846" v="2971" actId="21"/>
          <ac:spMkLst>
            <pc:docMk/>
            <pc:sldMk cId="3057876422" sldId="1879256067"/>
            <ac:spMk id="1222" creationId="{BA20E296-0478-47D5-93A9-1D872E73441C}"/>
          </ac:spMkLst>
        </pc:spChg>
        <pc:spChg chg="del">
          <ac:chgData name="Kebba Jeng" userId="fe4cc296-ba7d-48a2-8799-89b58d218255" providerId="ADAL" clId="{388EFDEE-447E-42B4-98EF-30C01AB2E8CD}" dt="2022-03-28T18:32:39.846" v="2971" actId="21"/>
          <ac:spMkLst>
            <pc:docMk/>
            <pc:sldMk cId="3057876422" sldId="1879256067"/>
            <ac:spMk id="1223" creationId="{98FDA306-F3EE-480E-A503-745845C4BC65}"/>
          </ac:spMkLst>
        </pc:spChg>
        <pc:spChg chg="del">
          <ac:chgData name="Kebba Jeng" userId="fe4cc296-ba7d-48a2-8799-89b58d218255" providerId="ADAL" clId="{388EFDEE-447E-42B4-98EF-30C01AB2E8CD}" dt="2022-03-28T18:32:39.846" v="2971" actId="21"/>
          <ac:spMkLst>
            <pc:docMk/>
            <pc:sldMk cId="3057876422" sldId="1879256067"/>
            <ac:spMk id="1224" creationId="{2CB5A15C-2105-4E89-A912-0E987A379C66}"/>
          </ac:spMkLst>
        </pc:spChg>
        <pc:spChg chg="del">
          <ac:chgData name="Kebba Jeng" userId="fe4cc296-ba7d-48a2-8799-89b58d218255" providerId="ADAL" clId="{388EFDEE-447E-42B4-98EF-30C01AB2E8CD}" dt="2022-03-28T18:32:39.846" v="2971" actId="21"/>
          <ac:spMkLst>
            <pc:docMk/>
            <pc:sldMk cId="3057876422" sldId="1879256067"/>
            <ac:spMk id="1225" creationId="{72511818-F5FF-4E35-9857-18E23098253B}"/>
          </ac:spMkLst>
        </pc:spChg>
        <pc:spChg chg="del">
          <ac:chgData name="Kebba Jeng" userId="fe4cc296-ba7d-48a2-8799-89b58d218255" providerId="ADAL" clId="{388EFDEE-447E-42B4-98EF-30C01AB2E8CD}" dt="2022-03-28T18:32:39.846" v="2971" actId="21"/>
          <ac:spMkLst>
            <pc:docMk/>
            <pc:sldMk cId="3057876422" sldId="1879256067"/>
            <ac:spMk id="1226" creationId="{2A87AEC1-F4AF-4705-85FD-3B77A237DC13}"/>
          </ac:spMkLst>
        </pc:spChg>
        <pc:spChg chg="del">
          <ac:chgData name="Kebba Jeng" userId="fe4cc296-ba7d-48a2-8799-89b58d218255" providerId="ADAL" clId="{388EFDEE-447E-42B4-98EF-30C01AB2E8CD}" dt="2022-03-28T18:32:39.846" v="2971" actId="21"/>
          <ac:spMkLst>
            <pc:docMk/>
            <pc:sldMk cId="3057876422" sldId="1879256067"/>
            <ac:spMk id="1227" creationId="{972942D9-7D21-488D-9F5F-22C0A2297E38}"/>
          </ac:spMkLst>
        </pc:spChg>
        <pc:spChg chg="del">
          <ac:chgData name="Kebba Jeng" userId="fe4cc296-ba7d-48a2-8799-89b58d218255" providerId="ADAL" clId="{388EFDEE-447E-42B4-98EF-30C01AB2E8CD}" dt="2022-03-28T18:32:39.846" v="2971" actId="21"/>
          <ac:spMkLst>
            <pc:docMk/>
            <pc:sldMk cId="3057876422" sldId="1879256067"/>
            <ac:spMk id="1228" creationId="{7E5A0E8A-F6C5-420E-814C-15F6AB453C95}"/>
          </ac:spMkLst>
        </pc:spChg>
        <pc:spChg chg="del">
          <ac:chgData name="Kebba Jeng" userId="fe4cc296-ba7d-48a2-8799-89b58d218255" providerId="ADAL" clId="{388EFDEE-447E-42B4-98EF-30C01AB2E8CD}" dt="2022-03-28T18:32:39.846" v="2971" actId="21"/>
          <ac:spMkLst>
            <pc:docMk/>
            <pc:sldMk cId="3057876422" sldId="1879256067"/>
            <ac:spMk id="1229" creationId="{E6FC2D89-B1E3-45CD-9B4A-EC972ADED52B}"/>
          </ac:spMkLst>
        </pc:spChg>
        <pc:spChg chg="del">
          <ac:chgData name="Kebba Jeng" userId="fe4cc296-ba7d-48a2-8799-89b58d218255" providerId="ADAL" clId="{388EFDEE-447E-42B4-98EF-30C01AB2E8CD}" dt="2022-03-28T18:32:39.846" v="2971" actId="21"/>
          <ac:spMkLst>
            <pc:docMk/>
            <pc:sldMk cId="3057876422" sldId="1879256067"/>
            <ac:spMk id="1230" creationId="{1B3D757A-4E27-46A4-A9F5-FC310CB46D57}"/>
          </ac:spMkLst>
        </pc:spChg>
        <pc:spChg chg="del">
          <ac:chgData name="Kebba Jeng" userId="fe4cc296-ba7d-48a2-8799-89b58d218255" providerId="ADAL" clId="{388EFDEE-447E-42B4-98EF-30C01AB2E8CD}" dt="2022-03-28T18:32:39.846" v="2971" actId="21"/>
          <ac:spMkLst>
            <pc:docMk/>
            <pc:sldMk cId="3057876422" sldId="1879256067"/>
            <ac:spMk id="1231" creationId="{E129CE8D-D558-4CA6-9A11-ED41ED036867}"/>
          </ac:spMkLst>
        </pc:spChg>
        <pc:spChg chg="del">
          <ac:chgData name="Kebba Jeng" userId="fe4cc296-ba7d-48a2-8799-89b58d218255" providerId="ADAL" clId="{388EFDEE-447E-42B4-98EF-30C01AB2E8CD}" dt="2022-03-28T18:32:39.846" v="2971" actId="21"/>
          <ac:spMkLst>
            <pc:docMk/>
            <pc:sldMk cId="3057876422" sldId="1879256067"/>
            <ac:spMk id="1232" creationId="{9239E304-242B-4E13-879E-EA9FD8CE9D1A}"/>
          </ac:spMkLst>
        </pc:spChg>
        <pc:spChg chg="del">
          <ac:chgData name="Kebba Jeng" userId="fe4cc296-ba7d-48a2-8799-89b58d218255" providerId="ADAL" clId="{388EFDEE-447E-42B4-98EF-30C01AB2E8CD}" dt="2022-03-28T18:32:39.846" v="2971" actId="21"/>
          <ac:spMkLst>
            <pc:docMk/>
            <pc:sldMk cId="3057876422" sldId="1879256067"/>
            <ac:spMk id="1233" creationId="{92BBB595-35DF-4080-B191-729D143D1BAE}"/>
          </ac:spMkLst>
        </pc:spChg>
        <pc:spChg chg="del">
          <ac:chgData name="Kebba Jeng" userId="fe4cc296-ba7d-48a2-8799-89b58d218255" providerId="ADAL" clId="{388EFDEE-447E-42B4-98EF-30C01AB2E8CD}" dt="2022-03-28T18:32:39.846" v="2971" actId="21"/>
          <ac:spMkLst>
            <pc:docMk/>
            <pc:sldMk cId="3057876422" sldId="1879256067"/>
            <ac:spMk id="1234" creationId="{19FB4A5E-329F-4DD2-9233-FAEE8C0E3AAE}"/>
          </ac:spMkLst>
        </pc:spChg>
        <pc:spChg chg="del">
          <ac:chgData name="Kebba Jeng" userId="fe4cc296-ba7d-48a2-8799-89b58d218255" providerId="ADAL" clId="{388EFDEE-447E-42B4-98EF-30C01AB2E8CD}" dt="2022-03-28T18:32:39.846" v="2971" actId="21"/>
          <ac:spMkLst>
            <pc:docMk/>
            <pc:sldMk cId="3057876422" sldId="1879256067"/>
            <ac:spMk id="1235" creationId="{09A1682F-DEDA-4747-8DC2-29C6120F66CF}"/>
          </ac:spMkLst>
        </pc:spChg>
        <pc:spChg chg="del">
          <ac:chgData name="Kebba Jeng" userId="fe4cc296-ba7d-48a2-8799-89b58d218255" providerId="ADAL" clId="{388EFDEE-447E-42B4-98EF-30C01AB2E8CD}" dt="2022-03-28T18:32:39.846" v="2971" actId="21"/>
          <ac:spMkLst>
            <pc:docMk/>
            <pc:sldMk cId="3057876422" sldId="1879256067"/>
            <ac:spMk id="1236" creationId="{A7556A21-0F13-433D-A8DC-6B4992562949}"/>
          </ac:spMkLst>
        </pc:spChg>
        <pc:spChg chg="del">
          <ac:chgData name="Kebba Jeng" userId="fe4cc296-ba7d-48a2-8799-89b58d218255" providerId="ADAL" clId="{388EFDEE-447E-42B4-98EF-30C01AB2E8CD}" dt="2022-03-28T18:32:39.846" v="2971" actId="21"/>
          <ac:spMkLst>
            <pc:docMk/>
            <pc:sldMk cId="3057876422" sldId="1879256067"/>
            <ac:spMk id="1237" creationId="{E5335ADB-6DF2-49AC-B170-673EAAAFD92B}"/>
          </ac:spMkLst>
        </pc:spChg>
        <pc:spChg chg="del">
          <ac:chgData name="Kebba Jeng" userId="fe4cc296-ba7d-48a2-8799-89b58d218255" providerId="ADAL" clId="{388EFDEE-447E-42B4-98EF-30C01AB2E8CD}" dt="2022-03-28T18:32:39.846" v="2971" actId="21"/>
          <ac:spMkLst>
            <pc:docMk/>
            <pc:sldMk cId="3057876422" sldId="1879256067"/>
            <ac:spMk id="1238" creationId="{0E54340C-1BC8-4355-B4E1-6F5D1A4141BB}"/>
          </ac:spMkLst>
        </pc:spChg>
        <pc:spChg chg="del">
          <ac:chgData name="Kebba Jeng" userId="fe4cc296-ba7d-48a2-8799-89b58d218255" providerId="ADAL" clId="{388EFDEE-447E-42B4-98EF-30C01AB2E8CD}" dt="2022-03-28T18:32:39.846" v="2971" actId="21"/>
          <ac:spMkLst>
            <pc:docMk/>
            <pc:sldMk cId="3057876422" sldId="1879256067"/>
            <ac:spMk id="1239" creationId="{183DF86A-C708-4309-B9B1-848773F3C752}"/>
          </ac:spMkLst>
        </pc:spChg>
        <pc:spChg chg="del">
          <ac:chgData name="Kebba Jeng" userId="fe4cc296-ba7d-48a2-8799-89b58d218255" providerId="ADAL" clId="{388EFDEE-447E-42B4-98EF-30C01AB2E8CD}" dt="2022-03-28T18:32:39.846" v="2971" actId="21"/>
          <ac:spMkLst>
            <pc:docMk/>
            <pc:sldMk cId="3057876422" sldId="1879256067"/>
            <ac:spMk id="1240" creationId="{5C93D114-5D5C-4485-8313-2727FA4494CC}"/>
          </ac:spMkLst>
        </pc:spChg>
        <pc:spChg chg="del">
          <ac:chgData name="Kebba Jeng" userId="fe4cc296-ba7d-48a2-8799-89b58d218255" providerId="ADAL" clId="{388EFDEE-447E-42B4-98EF-30C01AB2E8CD}" dt="2022-03-28T18:32:39.846" v="2971" actId="21"/>
          <ac:spMkLst>
            <pc:docMk/>
            <pc:sldMk cId="3057876422" sldId="1879256067"/>
            <ac:spMk id="1241" creationId="{93E439DC-9C7B-48BB-B70E-BEF46D0F7682}"/>
          </ac:spMkLst>
        </pc:spChg>
        <pc:spChg chg="del">
          <ac:chgData name="Kebba Jeng" userId="fe4cc296-ba7d-48a2-8799-89b58d218255" providerId="ADAL" clId="{388EFDEE-447E-42B4-98EF-30C01AB2E8CD}" dt="2022-03-28T18:32:39.846" v="2971" actId="21"/>
          <ac:spMkLst>
            <pc:docMk/>
            <pc:sldMk cId="3057876422" sldId="1879256067"/>
            <ac:spMk id="1242" creationId="{C0611FAD-62AE-439C-B46E-554B36F8FA7C}"/>
          </ac:spMkLst>
        </pc:spChg>
        <pc:spChg chg="del">
          <ac:chgData name="Kebba Jeng" userId="fe4cc296-ba7d-48a2-8799-89b58d218255" providerId="ADAL" clId="{388EFDEE-447E-42B4-98EF-30C01AB2E8CD}" dt="2022-03-28T18:32:39.846" v="2971" actId="21"/>
          <ac:spMkLst>
            <pc:docMk/>
            <pc:sldMk cId="3057876422" sldId="1879256067"/>
            <ac:spMk id="1243" creationId="{AFD1A2FC-DC8D-4145-B9AC-6B2E9FB3B788}"/>
          </ac:spMkLst>
        </pc:spChg>
        <pc:spChg chg="del">
          <ac:chgData name="Kebba Jeng" userId="fe4cc296-ba7d-48a2-8799-89b58d218255" providerId="ADAL" clId="{388EFDEE-447E-42B4-98EF-30C01AB2E8CD}" dt="2022-03-28T18:32:39.846" v="2971" actId="21"/>
          <ac:spMkLst>
            <pc:docMk/>
            <pc:sldMk cId="3057876422" sldId="1879256067"/>
            <ac:spMk id="1244" creationId="{0CAB5E21-BA2F-4B00-8852-5D511F0506F1}"/>
          </ac:spMkLst>
        </pc:spChg>
        <pc:spChg chg="del">
          <ac:chgData name="Kebba Jeng" userId="fe4cc296-ba7d-48a2-8799-89b58d218255" providerId="ADAL" clId="{388EFDEE-447E-42B4-98EF-30C01AB2E8CD}" dt="2022-03-28T18:32:39.846" v="2971" actId="21"/>
          <ac:spMkLst>
            <pc:docMk/>
            <pc:sldMk cId="3057876422" sldId="1879256067"/>
            <ac:spMk id="1245" creationId="{C552E4A0-2B0F-4802-A276-9F22EC2C2D0D}"/>
          </ac:spMkLst>
        </pc:spChg>
        <pc:spChg chg="del">
          <ac:chgData name="Kebba Jeng" userId="fe4cc296-ba7d-48a2-8799-89b58d218255" providerId="ADAL" clId="{388EFDEE-447E-42B4-98EF-30C01AB2E8CD}" dt="2022-03-28T18:32:39.846" v="2971" actId="21"/>
          <ac:spMkLst>
            <pc:docMk/>
            <pc:sldMk cId="3057876422" sldId="1879256067"/>
            <ac:spMk id="1246" creationId="{61CE5CF4-A5C0-4170-A4E2-680A893D22B8}"/>
          </ac:spMkLst>
        </pc:spChg>
        <pc:spChg chg="del">
          <ac:chgData name="Kebba Jeng" userId="fe4cc296-ba7d-48a2-8799-89b58d218255" providerId="ADAL" clId="{388EFDEE-447E-42B4-98EF-30C01AB2E8CD}" dt="2022-03-28T18:32:39.846" v="2971" actId="21"/>
          <ac:spMkLst>
            <pc:docMk/>
            <pc:sldMk cId="3057876422" sldId="1879256067"/>
            <ac:spMk id="1247" creationId="{2F5DE30B-4497-4569-99C4-623FD8308384}"/>
          </ac:spMkLst>
        </pc:spChg>
        <pc:spChg chg="del">
          <ac:chgData name="Kebba Jeng" userId="fe4cc296-ba7d-48a2-8799-89b58d218255" providerId="ADAL" clId="{388EFDEE-447E-42B4-98EF-30C01AB2E8CD}" dt="2022-03-28T18:32:39.846" v="2971" actId="21"/>
          <ac:spMkLst>
            <pc:docMk/>
            <pc:sldMk cId="3057876422" sldId="1879256067"/>
            <ac:spMk id="1248" creationId="{FAA7E8BC-4A36-4A2E-B5DA-43E483708B10}"/>
          </ac:spMkLst>
        </pc:spChg>
        <pc:spChg chg="del">
          <ac:chgData name="Kebba Jeng" userId="fe4cc296-ba7d-48a2-8799-89b58d218255" providerId="ADAL" clId="{388EFDEE-447E-42B4-98EF-30C01AB2E8CD}" dt="2022-03-28T18:32:39.846" v="2971" actId="21"/>
          <ac:spMkLst>
            <pc:docMk/>
            <pc:sldMk cId="3057876422" sldId="1879256067"/>
            <ac:spMk id="1249" creationId="{22F36CA3-D08A-4CA3-80B6-5E8A4907119C}"/>
          </ac:spMkLst>
        </pc:spChg>
        <pc:spChg chg="del">
          <ac:chgData name="Kebba Jeng" userId="fe4cc296-ba7d-48a2-8799-89b58d218255" providerId="ADAL" clId="{388EFDEE-447E-42B4-98EF-30C01AB2E8CD}" dt="2022-03-28T18:32:39.846" v="2971" actId="21"/>
          <ac:spMkLst>
            <pc:docMk/>
            <pc:sldMk cId="3057876422" sldId="1879256067"/>
            <ac:spMk id="1250" creationId="{E4B7F39E-7F0A-4743-B475-6A600CC57CF9}"/>
          </ac:spMkLst>
        </pc:spChg>
        <pc:spChg chg="del">
          <ac:chgData name="Kebba Jeng" userId="fe4cc296-ba7d-48a2-8799-89b58d218255" providerId="ADAL" clId="{388EFDEE-447E-42B4-98EF-30C01AB2E8CD}" dt="2022-03-28T18:32:39.846" v="2971" actId="21"/>
          <ac:spMkLst>
            <pc:docMk/>
            <pc:sldMk cId="3057876422" sldId="1879256067"/>
            <ac:spMk id="1251" creationId="{5B7CAFD0-D01D-4C54-B4F5-AD86B44E6AEE}"/>
          </ac:spMkLst>
        </pc:spChg>
        <pc:spChg chg="del">
          <ac:chgData name="Kebba Jeng" userId="fe4cc296-ba7d-48a2-8799-89b58d218255" providerId="ADAL" clId="{388EFDEE-447E-42B4-98EF-30C01AB2E8CD}" dt="2022-03-28T18:32:39.846" v="2971" actId="21"/>
          <ac:spMkLst>
            <pc:docMk/>
            <pc:sldMk cId="3057876422" sldId="1879256067"/>
            <ac:spMk id="1252" creationId="{25D3D2FB-2AC4-4CB1-9C43-F42B7EF6A731}"/>
          </ac:spMkLst>
        </pc:spChg>
        <pc:spChg chg="del">
          <ac:chgData name="Kebba Jeng" userId="fe4cc296-ba7d-48a2-8799-89b58d218255" providerId="ADAL" clId="{388EFDEE-447E-42B4-98EF-30C01AB2E8CD}" dt="2022-03-28T18:32:39.846" v="2971" actId="21"/>
          <ac:spMkLst>
            <pc:docMk/>
            <pc:sldMk cId="3057876422" sldId="1879256067"/>
            <ac:spMk id="1253" creationId="{5563F13F-0B12-4D94-9C64-45536ABDE0EF}"/>
          </ac:spMkLst>
        </pc:spChg>
        <pc:spChg chg="del">
          <ac:chgData name="Kebba Jeng" userId="fe4cc296-ba7d-48a2-8799-89b58d218255" providerId="ADAL" clId="{388EFDEE-447E-42B4-98EF-30C01AB2E8CD}" dt="2022-03-28T18:32:39.846" v="2971" actId="21"/>
          <ac:spMkLst>
            <pc:docMk/>
            <pc:sldMk cId="3057876422" sldId="1879256067"/>
            <ac:spMk id="1254" creationId="{699DBED1-679E-4F41-9F4B-32F05C54FB04}"/>
          </ac:spMkLst>
        </pc:spChg>
        <pc:spChg chg="del">
          <ac:chgData name="Kebba Jeng" userId="fe4cc296-ba7d-48a2-8799-89b58d218255" providerId="ADAL" clId="{388EFDEE-447E-42B4-98EF-30C01AB2E8CD}" dt="2022-03-28T18:32:39.846" v="2971" actId="21"/>
          <ac:spMkLst>
            <pc:docMk/>
            <pc:sldMk cId="3057876422" sldId="1879256067"/>
            <ac:spMk id="1255" creationId="{442C09A4-B314-454B-8D6B-0A247860B3B3}"/>
          </ac:spMkLst>
        </pc:spChg>
        <pc:spChg chg="del">
          <ac:chgData name="Kebba Jeng" userId="fe4cc296-ba7d-48a2-8799-89b58d218255" providerId="ADAL" clId="{388EFDEE-447E-42B4-98EF-30C01AB2E8CD}" dt="2022-03-28T18:32:39.846" v="2971" actId="21"/>
          <ac:spMkLst>
            <pc:docMk/>
            <pc:sldMk cId="3057876422" sldId="1879256067"/>
            <ac:spMk id="1256" creationId="{4A0DD435-780D-45AE-9C4E-470C3013BE97}"/>
          </ac:spMkLst>
        </pc:spChg>
        <pc:spChg chg="del">
          <ac:chgData name="Kebba Jeng" userId="fe4cc296-ba7d-48a2-8799-89b58d218255" providerId="ADAL" clId="{388EFDEE-447E-42B4-98EF-30C01AB2E8CD}" dt="2022-03-28T18:32:39.846" v="2971" actId="21"/>
          <ac:spMkLst>
            <pc:docMk/>
            <pc:sldMk cId="3057876422" sldId="1879256067"/>
            <ac:spMk id="1257" creationId="{31FD3DC2-73CB-4798-971E-15C1829F1098}"/>
          </ac:spMkLst>
        </pc:spChg>
        <pc:spChg chg="del">
          <ac:chgData name="Kebba Jeng" userId="fe4cc296-ba7d-48a2-8799-89b58d218255" providerId="ADAL" clId="{388EFDEE-447E-42B4-98EF-30C01AB2E8CD}" dt="2022-03-28T18:32:39.846" v="2971" actId="21"/>
          <ac:spMkLst>
            <pc:docMk/>
            <pc:sldMk cId="3057876422" sldId="1879256067"/>
            <ac:spMk id="1258" creationId="{7409BB4D-52F0-4264-9E2F-D7C9678C6D21}"/>
          </ac:spMkLst>
        </pc:spChg>
        <pc:spChg chg="del">
          <ac:chgData name="Kebba Jeng" userId="fe4cc296-ba7d-48a2-8799-89b58d218255" providerId="ADAL" clId="{388EFDEE-447E-42B4-98EF-30C01AB2E8CD}" dt="2022-03-28T18:32:46.358" v="2975" actId="21"/>
          <ac:spMkLst>
            <pc:docMk/>
            <pc:sldMk cId="3057876422" sldId="1879256067"/>
            <ac:spMk id="1259" creationId="{9194B111-6FC7-47CB-97E5-582F07AB9113}"/>
          </ac:spMkLst>
        </pc:spChg>
        <pc:spChg chg="del">
          <ac:chgData name="Kebba Jeng" userId="fe4cc296-ba7d-48a2-8799-89b58d218255" providerId="ADAL" clId="{388EFDEE-447E-42B4-98EF-30C01AB2E8CD}" dt="2022-03-28T18:32:46.358" v="2975" actId="21"/>
          <ac:spMkLst>
            <pc:docMk/>
            <pc:sldMk cId="3057876422" sldId="1879256067"/>
            <ac:spMk id="1260" creationId="{07D8826D-D499-49F9-A8B4-1DD50A19CCD6}"/>
          </ac:spMkLst>
        </pc:spChg>
        <pc:spChg chg="del">
          <ac:chgData name="Kebba Jeng" userId="fe4cc296-ba7d-48a2-8799-89b58d218255" providerId="ADAL" clId="{388EFDEE-447E-42B4-98EF-30C01AB2E8CD}" dt="2022-03-28T18:32:46.358" v="2975" actId="21"/>
          <ac:spMkLst>
            <pc:docMk/>
            <pc:sldMk cId="3057876422" sldId="1879256067"/>
            <ac:spMk id="1261" creationId="{FF5666D2-B52D-493F-BC89-60FAB926306A}"/>
          </ac:spMkLst>
        </pc:spChg>
        <pc:spChg chg="del">
          <ac:chgData name="Kebba Jeng" userId="fe4cc296-ba7d-48a2-8799-89b58d218255" providerId="ADAL" clId="{388EFDEE-447E-42B4-98EF-30C01AB2E8CD}" dt="2022-03-28T18:32:46.358" v="2975" actId="21"/>
          <ac:spMkLst>
            <pc:docMk/>
            <pc:sldMk cId="3057876422" sldId="1879256067"/>
            <ac:spMk id="1262" creationId="{B530DA0A-A0FB-4609-8261-5ACE1CB88A61}"/>
          </ac:spMkLst>
        </pc:spChg>
        <pc:spChg chg="del">
          <ac:chgData name="Kebba Jeng" userId="fe4cc296-ba7d-48a2-8799-89b58d218255" providerId="ADAL" clId="{388EFDEE-447E-42B4-98EF-30C01AB2E8CD}" dt="2022-03-28T18:32:46.358" v="2975" actId="21"/>
          <ac:spMkLst>
            <pc:docMk/>
            <pc:sldMk cId="3057876422" sldId="1879256067"/>
            <ac:spMk id="1263" creationId="{CAB87709-55EC-48F1-B356-A02C25ECEDD3}"/>
          </ac:spMkLst>
        </pc:spChg>
        <pc:spChg chg="del">
          <ac:chgData name="Kebba Jeng" userId="fe4cc296-ba7d-48a2-8799-89b58d218255" providerId="ADAL" clId="{388EFDEE-447E-42B4-98EF-30C01AB2E8CD}" dt="2022-03-28T18:32:46.358" v="2975" actId="21"/>
          <ac:spMkLst>
            <pc:docMk/>
            <pc:sldMk cId="3057876422" sldId="1879256067"/>
            <ac:spMk id="1264" creationId="{9AE1C3CF-CF70-4E23-8ED6-3E7817C88D26}"/>
          </ac:spMkLst>
        </pc:spChg>
        <pc:spChg chg="del">
          <ac:chgData name="Kebba Jeng" userId="fe4cc296-ba7d-48a2-8799-89b58d218255" providerId="ADAL" clId="{388EFDEE-447E-42B4-98EF-30C01AB2E8CD}" dt="2022-03-28T18:32:46.358" v="2975" actId="21"/>
          <ac:spMkLst>
            <pc:docMk/>
            <pc:sldMk cId="3057876422" sldId="1879256067"/>
            <ac:spMk id="1265" creationId="{B65752F4-1ABC-466C-A55E-7DD1639B7EE6}"/>
          </ac:spMkLst>
        </pc:spChg>
        <pc:spChg chg="del">
          <ac:chgData name="Kebba Jeng" userId="fe4cc296-ba7d-48a2-8799-89b58d218255" providerId="ADAL" clId="{388EFDEE-447E-42B4-98EF-30C01AB2E8CD}" dt="2022-03-28T18:32:46.358" v="2975" actId="21"/>
          <ac:spMkLst>
            <pc:docMk/>
            <pc:sldMk cId="3057876422" sldId="1879256067"/>
            <ac:spMk id="1266" creationId="{7254D81F-1706-4DC1-A1D4-FF248C7E0CA9}"/>
          </ac:spMkLst>
        </pc:spChg>
        <pc:spChg chg="del">
          <ac:chgData name="Kebba Jeng" userId="fe4cc296-ba7d-48a2-8799-89b58d218255" providerId="ADAL" clId="{388EFDEE-447E-42B4-98EF-30C01AB2E8CD}" dt="2022-03-28T18:32:46.358" v="2975" actId="21"/>
          <ac:spMkLst>
            <pc:docMk/>
            <pc:sldMk cId="3057876422" sldId="1879256067"/>
            <ac:spMk id="1267" creationId="{8E4DE4FB-E807-4669-AF4E-81038B024D50}"/>
          </ac:spMkLst>
        </pc:spChg>
        <pc:spChg chg="del">
          <ac:chgData name="Kebba Jeng" userId="fe4cc296-ba7d-48a2-8799-89b58d218255" providerId="ADAL" clId="{388EFDEE-447E-42B4-98EF-30C01AB2E8CD}" dt="2022-03-28T18:32:46.358" v="2975" actId="21"/>
          <ac:spMkLst>
            <pc:docMk/>
            <pc:sldMk cId="3057876422" sldId="1879256067"/>
            <ac:spMk id="1268" creationId="{B276531F-D93E-4D38-9C60-9F41A6892E37}"/>
          </ac:spMkLst>
        </pc:spChg>
        <pc:spChg chg="del">
          <ac:chgData name="Kebba Jeng" userId="fe4cc296-ba7d-48a2-8799-89b58d218255" providerId="ADAL" clId="{388EFDEE-447E-42B4-98EF-30C01AB2E8CD}" dt="2022-03-28T18:32:46.358" v="2975" actId="21"/>
          <ac:spMkLst>
            <pc:docMk/>
            <pc:sldMk cId="3057876422" sldId="1879256067"/>
            <ac:spMk id="1269" creationId="{265D01A9-897A-4518-9781-877C1F3FBB5A}"/>
          </ac:spMkLst>
        </pc:spChg>
        <pc:spChg chg="del">
          <ac:chgData name="Kebba Jeng" userId="fe4cc296-ba7d-48a2-8799-89b58d218255" providerId="ADAL" clId="{388EFDEE-447E-42B4-98EF-30C01AB2E8CD}" dt="2022-03-28T18:32:46.358" v="2975" actId="21"/>
          <ac:spMkLst>
            <pc:docMk/>
            <pc:sldMk cId="3057876422" sldId="1879256067"/>
            <ac:spMk id="1270" creationId="{D4091A94-E1C1-451A-8045-15F72DCCCE87}"/>
          </ac:spMkLst>
        </pc:spChg>
        <pc:spChg chg="del">
          <ac:chgData name="Kebba Jeng" userId="fe4cc296-ba7d-48a2-8799-89b58d218255" providerId="ADAL" clId="{388EFDEE-447E-42B4-98EF-30C01AB2E8CD}" dt="2022-03-28T18:32:46.358" v="2975" actId="21"/>
          <ac:spMkLst>
            <pc:docMk/>
            <pc:sldMk cId="3057876422" sldId="1879256067"/>
            <ac:spMk id="1271" creationId="{439B976D-A551-4178-874F-FF16E68BE17F}"/>
          </ac:spMkLst>
        </pc:spChg>
        <pc:spChg chg="del">
          <ac:chgData name="Kebba Jeng" userId="fe4cc296-ba7d-48a2-8799-89b58d218255" providerId="ADAL" clId="{388EFDEE-447E-42B4-98EF-30C01AB2E8CD}" dt="2022-03-28T18:32:46.358" v="2975" actId="21"/>
          <ac:spMkLst>
            <pc:docMk/>
            <pc:sldMk cId="3057876422" sldId="1879256067"/>
            <ac:spMk id="1272" creationId="{991CC26A-203C-4C76-AFA6-EE3E63DDD965}"/>
          </ac:spMkLst>
        </pc:spChg>
        <pc:spChg chg="del">
          <ac:chgData name="Kebba Jeng" userId="fe4cc296-ba7d-48a2-8799-89b58d218255" providerId="ADAL" clId="{388EFDEE-447E-42B4-98EF-30C01AB2E8CD}" dt="2022-03-28T18:32:46.358" v="2975" actId="21"/>
          <ac:spMkLst>
            <pc:docMk/>
            <pc:sldMk cId="3057876422" sldId="1879256067"/>
            <ac:spMk id="1273" creationId="{CC218D91-B7C5-4834-92CC-F99032CB8282}"/>
          </ac:spMkLst>
        </pc:spChg>
        <pc:spChg chg="del">
          <ac:chgData name="Kebba Jeng" userId="fe4cc296-ba7d-48a2-8799-89b58d218255" providerId="ADAL" clId="{388EFDEE-447E-42B4-98EF-30C01AB2E8CD}" dt="2022-03-28T18:32:46.358" v="2975" actId="21"/>
          <ac:spMkLst>
            <pc:docMk/>
            <pc:sldMk cId="3057876422" sldId="1879256067"/>
            <ac:spMk id="1274" creationId="{B8AF3342-AE22-4B92-B44B-D98E1C880A0A}"/>
          </ac:spMkLst>
        </pc:spChg>
        <pc:spChg chg="del">
          <ac:chgData name="Kebba Jeng" userId="fe4cc296-ba7d-48a2-8799-89b58d218255" providerId="ADAL" clId="{388EFDEE-447E-42B4-98EF-30C01AB2E8CD}" dt="2022-03-28T18:32:46.358" v="2975" actId="21"/>
          <ac:spMkLst>
            <pc:docMk/>
            <pc:sldMk cId="3057876422" sldId="1879256067"/>
            <ac:spMk id="1275" creationId="{0143BBBD-85D9-4681-BFB1-F7AEAEA68779}"/>
          </ac:spMkLst>
        </pc:spChg>
        <pc:spChg chg="del">
          <ac:chgData name="Kebba Jeng" userId="fe4cc296-ba7d-48a2-8799-89b58d218255" providerId="ADAL" clId="{388EFDEE-447E-42B4-98EF-30C01AB2E8CD}" dt="2022-03-28T18:32:46.358" v="2975" actId="21"/>
          <ac:spMkLst>
            <pc:docMk/>
            <pc:sldMk cId="3057876422" sldId="1879256067"/>
            <ac:spMk id="1276" creationId="{66ECE8C1-FC82-40FC-9D8E-AC0E96B78CAE}"/>
          </ac:spMkLst>
        </pc:spChg>
        <pc:spChg chg="del">
          <ac:chgData name="Kebba Jeng" userId="fe4cc296-ba7d-48a2-8799-89b58d218255" providerId="ADAL" clId="{388EFDEE-447E-42B4-98EF-30C01AB2E8CD}" dt="2022-03-28T18:32:46.358" v="2975" actId="21"/>
          <ac:spMkLst>
            <pc:docMk/>
            <pc:sldMk cId="3057876422" sldId="1879256067"/>
            <ac:spMk id="1277" creationId="{CF24AE0D-C608-45F0-9AC0-F6882F4D5863}"/>
          </ac:spMkLst>
        </pc:spChg>
        <pc:spChg chg="del">
          <ac:chgData name="Kebba Jeng" userId="fe4cc296-ba7d-48a2-8799-89b58d218255" providerId="ADAL" clId="{388EFDEE-447E-42B4-98EF-30C01AB2E8CD}" dt="2022-03-28T18:32:46.358" v="2975" actId="21"/>
          <ac:spMkLst>
            <pc:docMk/>
            <pc:sldMk cId="3057876422" sldId="1879256067"/>
            <ac:spMk id="1278" creationId="{1E430390-CA34-47B5-B7C7-E6FBA5325520}"/>
          </ac:spMkLst>
        </pc:spChg>
        <pc:spChg chg="del">
          <ac:chgData name="Kebba Jeng" userId="fe4cc296-ba7d-48a2-8799-89b58d218255" providerId="ADAL" clId="{388EFDEE-447E-42B4-98EF-30C01AB2E8CD}" dt="2022-03-28T18:32:46.358" v="2975" actId="21"/>
          <ac:spMkLst>
            <pc:docMk/>
            <pc:sldMk cId="3057876422" sldId="1879256067"/>
            <ac:spMk id="1279" creationId="{ACBF99C0-C3B7-42F4-ACD5-96ECB71BC360}"/>
          </ac:spMkLst>
        </pc:spChg>
        <pc:spChg chg="del">
          <ac:chgData name="Kebba Jeng" userId="fe4cc296-ba7d-48a2-8799-89b58d218255" providerId="ADAL" clId="{388EFDEE-447E-42B4-98EF-30C01AB2E8CD}" dt="2022-03-28T18:32:46.358" v="2975" actId="21"/>
          <ac:spMkLst>
            <pc:docMk/>
            <pc:sldMk cId="3057876422" sldId="1879256067"/>
            <ac:spMk id="1280" creationId="{7221A1F5-1702-4F51-A967-E1D9A2EEE765}"/>
          </ac:spMkLst>
        </pc:spChg>
        <pc:spChg chg="del">
          <ac:chgData name="Kebba Jeng" userId="fe4cc296-ba7d-48a2-8799-89b58d218255" providerId="ADAL" clId="{388EFDEE-447E-42B4-98EF-30C01AB2E8CD}" dt="2022-03-28T18:32:46.358" v="2975" actId="21"/>
          <ac:spMkLst>
            <pc:docMk/>
            <pc:sldMk cId="3057876422" sldId="1879256067"/>
            <ac:spMk id="1281" creationId="{5CAA0E33-5DC2-4BED-8BDC-E020B6EEDC52}"/>
          </ac:spMkLst>
        </pc:spChg>
        <pc:spChg chg="del">
          <ac:chgData name="Kebba Jeng" userId="fe4cc296-ba7d-48a2-8799-89b58d218255" providerId="ADAL" clId="{388EFDEE-447E-42B4-98EF-30C01AB2E8CD}" dt="2022-03-28T18:32:46.358" v="2975" actId="21"/>
          <ac:spMkLst>
            <pc:docMk/>
            <pc:sldMk cId="3057876422" sldId="1879256067"/>
            <ac:spMk id="1282" creationId="{4C723386-FBF0-46B7-941D-E940D3A43C4F}"/>
          </ac:spMkLst>
        </pc:spChg>
        <pc:spChg chg="del">
          <ac:chgData name="Kebba Jeng" userId="fe4cc296-ba7d-48a2-8799-89b58d218255" providerId="ADAL" clId="{388EFDEE-447E-42B4-98EF-30C01AB2E8CD}" dt="2022-03-28T18:32:46.358" v="2975" actId="21"/>
          <ac:spMkLst>
            <pc:docMk/>
            <pc:sldMk cId="3057876422" sldId="1879256067"/>
            <ac:spMk id="1283" creationId="{F021A0C5-E6D8-4F96-87C4-1512A80AE95F}"/>
          </ac:spMkLst>
        </pc:spChg>
        <pc:spChg chg="del">
          <ac:chgData name="Kebba Jeng" userId="fe4cc296-ba7d-48a2-8799-89b58d218255" providerId="ADAL" clId="{388EFDEE-447E-42B4-98EF-30C01AB2E8CD}" dt="2022-03-28T18:32:46.358" v="2975" actId="21"/>
          <ac:spMkLst>
            <pc:docMk/>
            <pc:sldMk cId="3057876422" sldId="1879256067"/>
            <ac:spMk id="1284" creationId="{0206A9DA-5AF7-426D-B44C-2FFDBD0A7DA3}"/>
          </ac:spMkLst>
        </pc:spChg>
        <pc:spChg chg="del">
          <ac:chgData name="Kebba Jeng" userId="fe4cc296-ba7d-48a2-8799-89b58d218255" providerId="ADAL" clId="{388EFDEE-447E-42B4-98EF-30C01AB2E8CD}" dt="2022-03-28T18:32:46.358" v="2975" actId="21"/>
          <ac:spMkLst>
            <pc:docMk/>
            <pc:sldMk cId="3057876422" sldId="1879256067"/>
            <ac:spMk id="1285" creationId="{B0C9289D-9269-463E-BF1A-19790F27FE74}"/>
          </ac:spMkLst>
        </pc:spChg>
        <pc:spChg chg="del">
          <ac:chgData name="Kebba Jeng" userId="fe4cc296-ba7d-48a2-8799-89b58d218255" providerId="ADAL" clId="{388EFDEE-447E-42B4-98EF-30C01AB2E8CD}" dt="2022-03-28T18:32:46.358" v="2975" actId="21"/>
          <ac:spMkLst>
            <pc:docMk/>
            <pc:sldMk cId="3057876422" sldId="1879256067"/>
            <ac:spMk id="1286" creationId="{F539B6FA-1296-4187-B6BA-295BBD831098}"/>
          </ac:spMkLst>
        </pc:spChg>
        <pc:spChg chg="del">
          <ac:chgData name="Kebba Jeng" userId="fe4cc296-ba7d-48a2-8799-89b58d218255" providerId="ADAL" clId="{388EFDEE-447E-42B4-98EF-30C01AB2E8CD}" dt="2022-03-28T18:32:46.358" v="2975" actId="21"/>
          <ac:spMkLst>
            <pc:docMk/>
            <pc:sldMk cId="3057876422" sldId="1879256067"/>
            <ac:spMk id="1287" creationId="{CE4AB6A9-19DC-4E6A-A75D-4019A027A68D}"/>
          </ac:spMkLst>
        </pc:spChg>
        <pc:spChg chg="del">
          <ac:chgData name="Kebba Jeng" userId="fe4cc296-ba7d-48a2-8799-89b58d218255" providerId="ADAL" clId="{388EFDEE-447E-42B4-98EF-30C01AB2E8CD}" dt="2022-03-28T18:32:46.358" v="2975" actId="21"/>
          <ac:spMkLst>
            <pc:docMk/>
            <pc:sldMk cId="3057876422" sldId="1879256067"/>
            <ac:spMk id="1288" creationId="{BE887E25-EA1F-4396-A8F1-92E88FE24599}"/>
          </ac:spMkLst>
        </pc:spChg>
        <pc:spChg chg="del">
          <ac:chgData name="Kebba Jeng" userId="fe4cc296-ba7d-48a2-8799-89b58d218255" providerId="ADAL" clId="{388EFDEE-447E-42B4-98EF-30C01AB2E8CD}" dt="2022-03-28T18:32:46.358" v="2975" actId="21"/>
          <ac:spMkLst>
            <pc:docMk/>
            <pc:sldMk cId="3057876422" sldId="1879256067"/>
            <ac:spMk id="1289" creationId="{A230313C-BE7C-4844-8EC4-22F2B772282B}"/>
          </ac:spMkLst>
        </pc:spChg>
        <pc:spChg chg="del">
          <ac:chgData name="Kebba Jeng" userId="fe4cc296-ba7d-48a2-8799-89b58d218255" providerId="ADAL" clId="{388EFDEE-447E-42B4-98EF-30C01AB2E8CD}" dt="2022-03-28T18:32:46.358" v="2975" actId="21"/>
          <ac:spMkLst>
            <pc:docMk/>
            <pc:sldMk cId="3057876422" sldId="1879256067"/>
            <ac:spMk id="1290" creationId="{0D4DDAC8-C56F-4C7E-9891-9087F1906281}"/>
          </ac:spMkLst>
        </pc:spChg>
        <pc:spChg chg="del">
          <ac:chgData name="Kebba Jeng" userId="fe4cc296-ba7d-48a2-8799-89b58d218255" providerId="ADAL" clId="{388EFDEE-447E-42B4-98EF-30C01AB2E8CD}" dt="2022-03-28T18:32:46.358" v="2975" actId="21"/>
          <ac:spMkLst>
            <pc:docMk/>
            <pc:sldMk cId="3057876422" sldId="1879256067"/>
            <ac:spMk id="1291" creationId="{4D321D33-0C20-4B78-8940-3FD293455055}"/>
          </ac:spMkLst>
        </pc:spChg>
        <pc:spChg chg="del">
          <ac:chgData name="Kebba Jeng" userId="fe4cc296-ba7d-48a2-8799-89b58d218255" providerId="ADAL" clId="{388EFDEE-447E-42B4-98EF-30C01AB2E8CD}" dt="2022-03-28T18:32:46.358" v="2975" actId="21"/>
          <ac:spMkLst>
            <pc:docMk/>
            <pc:sldMk cId="3057876422" sldId="1879256067"/>
            <ac:spMk id="1292" creationId="{401615E8-8221-4307-88DF-30FB597DF2A3}"/>
          </ac:spMkLst>
        </pc:spChg>
        <pc:spChg chg="del">
          <ac:chgData name="Kebba Jeng" userId="fe4cc296-ba7d-48a2-8799-89b58d218255" providerId="ADAL" clId="{388EFDEE-447E-42B4-98EF-30C01AB2E8CD}" dt="2022-03-28T18:32:46.358" v="2975" actId="21"/>
          <ac:spMkLst>
            <pc:docMk/>
            <pc:sldMk cId="3057876422" sldId="1879256067"/>
            <ac:spMk id="1293" creationId="{F5A5DCBE-2AE4-408C-A539-9344972F1370}"/>
          </ac:spMkLst>
        </pc:spChg>
        <pc:spChg chg="del">
          <ac:chgData name="Kebba Jeng" userId="fe4cc296-ba7d-48a2-8799-89b58d218255" providerId="ADAL" clId="{388EFDEE-447E-42B4-98EF-30C01AB2E8CD}" dt="2022-03-28T18:32:46.358" v="2975" actId="21"/>
          <ac:spMkLst>
            <pc:docMk/>
            <pc:sldMk cId="3057876422" sldId="1879256067"/>
            <ac:spMk id="1294" creationId="{3BDE0636-80F7-49A7-A375-CDC7417BF9ED}"/>
          </ac:spMkLst>
        </pc:spChg>
        <pc:spChg chg="del">
          <ac:chgData name="Kebba Jeng" userId="fe4cc296-ba7d-48a2-8799-89b58d218255" providerId="ADAL" clId="{388EFDEE-447E-42B4-98EF-30C01AB2E8CD}" dt="2022-03-28T18:32:46.358" v="2975" actId="21"/>
          <ac:spMkLst>
            <pc:docMk/>
            <pc:sldMk cId="3057876422" sldId="1879256067"/>
            <ac:spMk id="1295" creationId="{1CD8E802-9F70-4A1C-ABD5-234858139CC3}"/>
          </ac:spMkLst>
        </pc:spChg>
        <pc:spChg chg="del">
          <ac:chgData name="Kebba Jeng" userId="fe4cc296-ba7d-48a2-8799-89b58d218255" providerId="ADAL" clId="{388EFDEE-447E-42B4-98EF-30C01AB2E8CD}" dt="2022-03-28T18:32:46.358" v="2975" actId="21"/>
          <ac:spMkLst>
            <pc:docMk/>
            <pc:sldMk cId="3057876422" sldId="1879256067"/>
            <ac:spMk id="1296" creationId="{1C510BC9-529B-47C2-929F-08C1B81B5919}"/>
          </ac:spMkLst>
        </pc:spChg>
        <pc:spChg chg="del">
          <ac:chgData name="Kebba Jeng" userId="fe4cc296-ba7d-48a2-8799-89b58d218255" providerId="ADAL" clId="{388EFDEE-447E-42B4-98EF-30C01AB2E8CD}" dt="2022-03-28T18:32:46.358" v="2975" actId="21"/>
          <ac:spMkLst>
            <pc:docMk/>
            <pc:sldMk cId="3057876422" sldId="1879256067"/>
            <ac:spMk id="1297" creationId="{893B8ED6-F437-4648-9A31-570691F357A1}"/>
          </ac:spMkLst>
        </pc:spChg>
        <pc:spChg chg="del">
          <ac:chgData name="Kebba Jeng" userId="fe4cc296-ba7d-48a2-8799-89b58d218255" providerId="ADAL" clId="{388EFDEE-447E-42B4-98EF-30C01AB2E8CD}" dt="2022-03-28T18:32:46.358" v="2975" actId="21"/>
          <ac:spMkLst>
            <pc:docMk/>
            <pc:sldMk cId="3057876422" sldId="1879256067"/>
            <ac:spMk id="1298" creationId="{F1C38242-1C36-4D66-9FF8-AE9AB51D5EF0}"/>
          </ac:spMkLst>
        </pc:spChg>
        <pc:spChg chg="del">
          <ac:chgData name="Kebba Jeng" userId="fe4cc296-ba7d-48a2-8799-89b58d218255" providerId="ADAL" clId="{388EFDEE-447E-42B4-98EF-30C01AB2E8CD}" dt="2022-03-28T18:32:46.358" v="2975" actId="21"/>
          <ac:spMkLst>
            <pc:docMk/>
            <pc:sldMk cId="3057876422" sldId="1879256067"/>
            <ac:spMk id="1299" creationId="{FC1E740D-D0E3-4C77-991C-55EDE6BA4926}"/>
          </ac:spMkLst>
        </pc:spChg>
        <pc:spChg chg="del">
          <ac:chgData name="Kebba Jeng" userId="fe4cc296-ba7d-48a2-8799-89b58d218255" providerId="ADAL" clId="{388EFDEE-447E-42B4-98EF-30C01AB2E8CD}" dt="2022-03-28T18:32:46.358" v="2975" actId="21"/>
          <ac:spMkLst>
            <pc:docMk/>
            <pc:sldMk cId="3057876422" sldId="1879256067"/>
            <ac:spMk id="1300" creationId="{7F70B9BE-E2BE-499F-B2EB-28BBD80F6878}"/>
          </ac:spMkLst>
        </pc:spChg>
        <pc:spChg chg="del">
          <ac:chgData name="Kebba Jeng" userId="fe4cc296-ba7d-48a2-8799-89b58d218255" providerId="ADAL" clId="{388EFDEE-447E-42B4-98EF-30C01AB2E8CD}" dt="2022-03-28T18:32:46.358" v="2975" actId="21"/>
          <ac:spMkLst>
            <pc:docMk/>
            <pc:sldMk cId="3057876422" sldId="1879256067"/>
            <ac:spMk id="1301" creationId="{18C6728C-3901-4352-80CF-40745599B6E7}"/>
          </ac:spMkLst>
        </pc:spChg>
        <pc:spChg chg="del">
          <ac:chgData name="Kebba Jeng" userId="fe4cc296-ba7d-48a2-8799-89b58d218255" providerId="ADAL" clId="{388EFDEE-447E-42B4-98EF-30C01AB2E8CD}" dt="2022-03-28T18:32:46.358" v="2975" actId="21"/>
          <ac:spMkLst>
            <pc:docMk/>
            <pc:sldMk cId="3057876422" sldId="1879256067"/>
            <ac:spMk id="1302" creationId="{1C8ED583-03F7-4FB8-A8B8-1B3429247E71}"/>
          </ac:spMkLst>
        </pc:spChg>
        <pc:spChg chg="del">
          <ac:chgData name="Kebba Jeng" userId="fe4cc296-ba7d-48a2-8799-89b58d218255" providerId="ADAL" clId="{388EFDEE-447E-42B4-98EF-30C01AB2E8CD}" dt="2022-03-28T18:32:46.358" v="2975" actId="21"/>
          <ac:spMkLst>
            <pc:docMk/>
            <pc:sldMk cId="3057876422" sldId="1879256067"/>
            <ac:spMk id="1303" creationId="{5DA709C2-89E2-4394-9F5F-B6DC7A5462A9}"/>
          </ac:spMkLst>
        </pc:spChg>
        <pc:spChg chg="del">
          <ac:chgData name="Kebba Jeng" userId="fe4cc296-ba7d-48a2-8799-89b58d218255" providerId="ADAL" clId="{388EFDEE-447E-42B4-98EF-30C01AB2E8CD}" dt="2022-03-28T18:32:46.358" v="2975" actId="21"/>
          <ac:spMkLst>
            <pc:docMk/>
            <pc:sldMk cId="3057876422" sldId="1879256067"/>
            <ac:spMk id="1304" creationId="{40C77F5E-4539-48F4-9CD7-C7712C2989CF}"/>
          </ac:spMkLst>
        </pc:spChg>
        <pc:spChg chg="del">
          <ac:chgData name="Kebba Jeng" userId="fe4cc296-ba7d-48a2-8799-89b58d218255" providerId="ADAL" clId="{388EFDEE-447E-42B4-98EF-30C01AB2E8CD}" dt="2022-03-28T18:32:46.358" v="2975" actId="21"/>
          <ac:spMkLst>
            <pc:docMk/>
            <pc:sldMk cId="3057876422" sldId="1879256067"/>
            <ac:spMk id="1305" creationId="{453B9889-1EB5-4ADF-ABE7-6A55CAA0C334}"/>
          </ac:spMkLst>
        </pc:spChg>
        <pc:spChg chg="del">
          <ac:chgData name="Kebba Jeng" userId="fe4cc296-ba7d-48a2-8799-89b58d218255" providerId="ADAL" clId="{388EFDEE-447E-42B4-98EF-30C01AB2E8CD}" dt="2022-03-28T18:32:46.358" v="2975" actId="21"/>
          <ac:spMkLst>
            <pc:docMk/>
            <pc:sldMk cId="3057876422" sldId="1879256067"/>
            <ac:spMk id="1306" creationId="{928C927E-882B-408E-97F8-1D52BDD013B4}"/>
          </ac:spMkLst>
        </pc:spChg>
        <pc:spChg chg="del">
          <ac:chgData name="Kebba Jeng" userId="fe4cc296-ba7d-48a2-8799-89b58d218255" providerId="ADAL" clId="{388EFDEE-447E-42B4-98EF-30C01AB2E8CD}" dt="2022-03-28T18:32:46.358" v="2975" actId="21"/>
          <ac:spMkLst>
            <pc:docMk/>
            <pc:sldMk cId="3057876422" sldId="1879256067"/>
            <ac:spMk id="1307" creationId="{D851C29F-E187-49EA-B6B8-CE55BC5BFA8A}"/>
          </ac:spMkLst>
        </pc:spChg>
        <pc:spChg chg="del">
          <ac:chgData name="Kebba Jeng" userId="fe4cc296-ba7d-48a2-8799-89b58d218255" providerId="ADAL" clId="{388EFDEE-447E-42B4-98EF-30C01AB2E8CD}" dt="2022-03-28T18:32:46.358" v="2975" actId="21"/>
          <ac:spMkLst>
            <pc:docMk/>
            <pc:sldMk cId="3057876422" sldId="1879256067"/>
            <ac:spMk id="1308" creationId="{33F773C5-0F69-4A4A-A662-66E6A1D34960}"/>
          </ac:spMkLst>
        </pc:spChg>
        <pc:spChg chg="del">
          <ac:chgData name="Kebba Jeng" userId="fe4cc296-ba7d-48a2-8799-89b58d218255" providerId="ADAL" clId="{388EFDEE-447E-42B4-98EF-30C01AB2E8CD}" dt="2022-03-28T18:32:46.358" v="2975" actId="21"/>
          <ac:spMkLst>
            <pc:docMk/>
            <pc:sldMk cId="3057876422" sldId="1879256067"/>
            <ac:spMk id="1309" creationId="{5D7294A3-0E32-486A-A592-B43BB0B8D8A7}"/>
          </ac:spMkLst>
        </pc:spChg>
        <pc:spChg chg="del">
          <ac:chgData name="Kebba Jeng" userId="fe4cc296-ba7d-48a2-8799-89b58d218255" providerId="ADAL" clId="{388EFDEE-447E-42B4-98EF-30C01AB2E8CD}" dt="2022-03-28T18:32:46.358" v="2975" actId="21"/>
          <ac:spMkLst>
            <pc:docMk/>
            <pc:sldMk cId="3057876422" sldId="1879256067"/>
            <ac:spMk id="1310" creationId="{E90C01AC-74F4-4302-ACDD-E6E347E3DF3A}"/>
          </ac:spMkLst>
        </pc:spChg>
        <pc:spChg chg="del">
          <ac:chgData name="Kebba Jeng" userId="fe4cc296-ba7d-48a2-8799-89b58d218255" providerId="ADAL" clId="{388EFDEE-447E-42B4-98EF-30C01AB2E8CD}" dt="2022-03-28T18:32:46.358" v="2975" actId="21"/>
          <ac:spMkLst>
            <pc:docMk/>
            <pc:sldMk cId="3057876422" sldId="1879256067"/>
            <ac:spMk id="1311" creationId="{A5D9909E-C2D2-40AC-9478-F33D97CFDC0E}"/>
          </ac:spMkLst>
        </pc:spChg>
        <pc:spChg chg="del">
          <ac:chgData name="Kebba Jeng" userId="fe4cc296-ba7d-48a2-8799-89b58d218255" providerId="ADAL" clId="{388EFDEE-447E-42B4-98EF-30C01AB2E8CD}" dt="2022-03-28T18:32:46.358" v="2975" actId="21"/>
          <ac:spMkLst>
            <pc:docMk/>
            <pc:sldMk cId="3057876422" sldId="1879256067"/>
            <ac:spMk id="1312" creationId="{4F746177-9E1D-4E1D-9A1B-BC93A12E7339}"/>
          </ac:spMkLst>
        </pc:spChg>
        <pc:spChg chg="del">
          <ac:chgData name="Kebba Jeng" userId="fe4cc296-ba7d-48a2-8799-89b58d218255" providerId="ADAL" clId="{388EFDEE-447E-42B4-98EF-30C01AB2E8CD}" dt="2022-03-28T18:32:46.358" v="2975" actId="21"/>
          <ac:spMkLst>
            <pc:docMk/>
            <pc:sldMk cId="3057876422" sldId="1879256067"/>
            <ac:spMk id="1313" creationId="{44BFB47B-039C-4DDC-940C-E075113081BE}"/>
          </ac:spMkLst>
        </pc:spChg>
        <pc:spChg chg="del">
          <ac:chgData name="Kebba Jeng" userId="fe4cc296-ba7d-48a2-8799-89b58d218255" providerId="ADAL" clId="{388EFDEE-447E-42B4-98EF-30C01AB2E8CD}" dt="2022-03-28T18:32:46.358" v="2975" actId="21"/>
          <ac:spMkLst>
            <pc:docMk/>
            <pc:sldMk cId="3057876422" sldId="1879256067"/>
            <ac:spMk id="1314" creationId="{D3CE49A5-804E-4B83-A6C2-62D7812654DC}"/>
          </ac:spMkLst>
        </pc:spChg>
        <pc:spChg chg="del">
          <ac:chgData name="Kebba Jeng" userId="fe4cc296-ba7d-48a2-8799-89b58d218255" providerId="ADAL" clId="{388EFDEE-447E-42B4-98EF-30C01AB2E8CD}" dt="2022-03-28T18:32:46.358" v="2975" actId="21"/>
          <ac:spMkLst>
            <pc:docMk/>
            <pc:sldMk cId="3057876422" sldId="1879256067"/>
            <ac:spMk id="1315" creationId="{C7AABDE4-0112-4D43-8139-AF0942B4F985}"/>
          </ac:spMkLst>
        </pc:spChg>
        <pc:spChg chg="del">
          <ac:chgData name="Kebba Jeng" userId="fe4cc296-ba7d-48a2-8799-89b58d218255" providerId="ADAL" clId="{388EFDEE-447E-42B4-98EF-30C01AB2E8CD}" dt="2022-03-28T18:32:46.358" v="2975" actId="21"/>
          <ac:spMkLst>
            <pc:docMk/>
            <pc:sldMk cId="3057876422" sldId="1879256067"/>
            <ac:spMk id="1316" creationId="{472957D9-4271-4EF2-BFB1-B9B13199619B}"/>
          </ac:spMkLst>
        </pc:spChg>
        <pc:spChg chg="del">
          <ac:chgData name="Kebba Jeng" userId="fe4cc296-ba7d-48a2-8799-89b58d218255" providerId="ADAL" clId="{388EFDEE-447E-42B4-98EF-30C01AB2E8CD}" dt="2022-03-28T18:32:46.358" v="2975" actId="21"/>
          <ac:spMkLst>
            <pc:docMk/>
            <pc:sldMk cId="3057876422" sldId="1879256067"/>
            <ac:spMk id="1317" creationId="{4C964C13-E70B-467E-BADF-BB5A5A085B65}"/>
          </ac:spMkLst>
        </pc:spChg>
        <pc:spChg chg="del">
          <ac:chgData name="Kebba Jeng" userId="fe4cc296-ba7d-48a2-8799-89b58d218255" providerId="ADAL" clId="{388EFDEE-447E-42B4-98EF-30C01AB2E8CD}" dt="2022-03-28T18:32:46.358" v="2975" actId="21"/>
          <ac:spMkLst>
            <pc:docMk/>
            <pc:sldMk cId="3057876422" sldId="1879256067"/>
            <ac:spMk id="1318" creationId="{FF7BF8F4-9162-492E-9707-272CF7FB0433}"/>
          </ac:spMkLst>
        </pc:spChg>
        <pc:spChg chg="del">
          <ac:chgData name="Kebba Jeng" userId="fe4cc296-ba7d-48a2-8799-89b58d218255" providerId="ADAL" clId="{388EFDEE-447E-42B4-98EF-30C01AB2E8CD}" dt="2022-03-28T18:32:46.358" v="2975" actId="21"/>
          <ac:spMkLst>
            <pc:docMk/>
            <pc:sldMk cId="3057876422" sldId="1879256067"/>
            <ac:spMk id="1319" creationId="{74C4E0C3-D916-4432-A703-C13988D0152B}"/>
          </ac:spMkLst>
        </pc:spChg>
        <pc:spChg chg="del">
          <ac:chgData name="Kebba Jeng" userId="fe4cc296-ba7d-48a2-8799-89b58d218255" providerId="ADAL" clId="{388EFDEE-447E-42B4-98EF-30C01AB2E8CD}" dt="2022-03-28T18:32:46.358" v="2975" actId="21"/>
          <ac:spMkLst>
            <pc:docMk/>
            <pc:sldMk cId="3057876422" sldId="1879256067"/>
            <ac:spMk id="1320" creationId="{35294CAB-2DD0-428A-B1A4-6AD69CE96622}"/>
          </ac:spMkLst>
        </pc:spChg>
        <pc:spChg chg="del">
          <ac:chgData name="Kebba Jeng" userId="fe4cc296-ba7d-48a2-8799-89b58d218255" providerId="ADAL" clId="{388EFDEE-447E-42B4-98EF-30C01AB2E8CD}" dt="2022-03-28T18:32:46.358" v="2975" actId="21"/>
          <ac:spMkLst>
            <pc:docMk/>
            <pc:sldMk cId="3057876422" sldId="1879256067"/>
            <ac:spMk id="1321" creationId="{B59D1244-E554-4A11-A396-E389AD8119F8}"/>
          </ac:spMkLst>
        </pc:spChg>
        <pc:spChg chg="del">
          <ac:chgData name="Kebba Jeng" userId="fe4cc296-ba7d-48a2-8799-89b58d218255" providerId="ADAL" clId="{388EFDEE-447E-42B4-98EF-30C01AB2E8CD}" dt="2022-03-28T18:32:46.358" v="2975" actId="21"/>
          <ac:spMkLst>
            <pc:docMk/>
            <pc:sldMk cId="3057876422" sldId="1879256067"/>
            <ac:spMk id="1322" creationId="{43810A91-F7D0-4221-892C-5AF5DC50947D}"/>
          </ac:spMkLst>
        </pc:spChg>
        <pc:spChg chg="del">
          <ac:chgData name="Kebba Jeng" userId="fe4cc296-ba7d-48a2-8799-89b58d218255" providerId="ADAL" clId="{388EFDEE-447E-42B4-98EF-30C01AB2E8CD}" dt="2022-03-28T18:32:46.358" v="2975" actId="21"/>
          <ac:spMkLst>
            <pc:docMk/>
            <pc:sldMk cId="3057876422" sldId="1879256067"/>
            <ac:spMk id="1323" creationId="{6804B035-B38B-4D24-95D1-36C59C4EA343}"/>
          </ac:spMkLst>
        </pc:spChg>
        <pc:spChg chg="del">
          <ac:chgData name="Kebba Jeng" userId="fe4cc296-ba7d-48a2-8799-89b58d218255" providerId="ADAL" clId="{388EFDEE-447E-42B4-98EF-30C01AB2E8CD}" dt="2022-03-28T18:32:46.358" v="2975" actId="21"/>
          <ac:spMkLst>
            <pc:docMk/>
            <pc:sldMk cId="3057876422" sldId="1879256067"/>
            <ac:spMk id="1324" creationId="{E3717E91-45EF-4E0B-AD86-22C55AC79CD6}"/>
          </ac:spMkLst>
        </pc:spChg>
        <pc:spChg chg="del">
          <ac:chgData name="Kebba Jeng" userId="fe4cc296-ba7d-48a2-8799-89b58d218255" providerId="ADAL" clId="{388EFDEE-447E-42B4-98EF-30C01AB2E8CD}" dt="2022-03-28T18:32:46.358" v="2975" actId="21"/>
          <ac:spMkLst>
            <pc:docMk/>
            <pc:sldMk cId="3057876422" sldId="1879256067"/>
            <ac:spMk id="1325" creationId="{F83F337F-4199-4217-8BF4-D8CA204AC76B}"/>
          </ac:spMkLst>
        </pc:spChg>
        <pc:spChg chg="del">
          <ac:chgData name="Kebba Jeng" userId="fe4cc296-ba7d-48a2-8799-89b58d218255" providerId="ADAL" clId="{388EFDEE-447E-42B4-98EF-30C01AB2E8CD}" dt="2022-03-28T18:32:46.358" v="2975" actId="21"/>
          <ac:spMkLst>
            <pc:docMk/>
            <pc:sldMk cId="3057876422" sldId="1879256067"/>
            <ac:spMk id="1326" creationId="{3316B228-096E-4528-8DAE-338262E3507B}"/>
          </ac:spMkLst>
        </pc:spChg>
        <pc:spChg chg="del">
          <ac:chgData name="Kebba Jeng" userId="fe4cc296-ba7d-48a2-8799-89b58d218255" providerId="ADAL" clId="{388EFDEE-447E-42B4-98EF-30C01AB2E8CD}" dt="2022-03-28T18:32:46.358" v="2975" actId="21"/>
          <ac:spMkLst>
            <pc:docMk/>
            <pc:sldMk cId="3057876422" sldId="1879256067"/>
            <ac:spMk id="1327" creationId="{B975BD5A-2B8A-4ADB-BFCC-9C4EB13D1797}"/>
          </ac:spMkLst>
        </pc:spChg>
        <pc:spChg chg="del">
          <ac:chgData name="Kebba Jeng" userId="fe4cc296-ba7d-48a2-8799-89b58d218255" providerId="ADAL" clId="{388EFDEE-447E-42B4-98EF-30C01AB2E8CD}" dt="2022-03-28T18:32:46.358" v="2975" actId="21"/>
          <ac:spMkLst>
            <pc:docMk/>
            <pc:sldMk cId="3057876422" sldId="1879256067"/>
            <ac:spMk id="1328" creationId="{37E85CEA-A284-492D-B944-3D2FE2E04103}"/>
          </ac:spMkLst>
        </pc:spChg>
        <pc:spChg chg="del">
          <ac:chgData name="Kebba Jeng" userId="fe4cc296-ba7d-48a2-8799-89b58d218255" providerId="ADAL" clId="{388EFDEE-447E-42B4-98EF-30C01AB2E8CD}" dt="2022-03-28T18:32:46.358" v="2975" actId="21"/>
          <ac:spMkLst>
            <pc:docMk/>
            <pc:sldMk cId="3057876422" sldId="1879256067"/>
            <ac:spMk id="1329" creationId="{C60D839C-024B-4024-9CEC-C1311D227C96}"/>
          </ac:spMkLst>
        </pc:spChg>
        <pc:spChg chg="del">
          <ac:chgData name="Kebba Jeng" userId="fe4cc296-ba7d-48a2-8799-89b58d218255" providerId="ADAL" clId="{388EFDEE-447E-42B4-98EF-30C01AB2E8CD}" dt="2022-03-28T18:32:46.358" v="2975" actId="21"/>
          <ac:spMkLst>
            <pc:docMk/>
            <pc:sldMk cId="3057876422" sldId="1879256067"/>
            <ac:spMk id="1330" creationId="{5C0DD353-3638-4AA9-ADC6-6C9C458F0829}"/>
          </ac:spMkLst>
        </pc:spChg>
        <pc:spChg chg="del">
          <ac:chgData name="Kebba Jeng" userId="fe4cc296-ba7d-48a2-8799-89b58d218255" providerId="ADAL" clId="{388EFDEE-447E-42B4-98EF-30C01AB2E8CD}" dt="2022-03-28T18:32:46.358" v="2975" actId="21"/>
          <ac:spMkLst>
            <pc:docMk/>
            <pc:sldMk cId="3057876422" sldId="1879256067"/>
            <ac:spMk id="1331" creationId="{F699B813-B189-4943-8DA0-4662079A25BF}"/>
          </ac:spMkLst>
        </pc:spChg>
        <pc:spChg chg="del">
          <ac:chgData name="Kebba Jeng" userId="fe4cc296-ba7d-48a2-8799-89b58d218255" providerId="ADAL" clId="{388EFDEE-447E-42B4-98EF-30C01AB2E8CD}" dt="2022-03-28T18:32:46.358" v="2975" actId="21"/>
          <ac:spMkLst>
            <pc:docMk/>
            <pc:sldMk cId="3057876422" sldId="1879256067"/>
            <ac:spMk id="1332" creationId="{02C07F43-1CEB-4578-BD4E-175EEFCEE328}"/>
          </ac:spMkLst>
        </pc:spChg>
        <pc:spChg chg="del">
          <ac:chgData name="Kebba Jeng" userId="fe4cc296-ba7d-48a2-8799-89b58d218255" providerId="ADAL" clId="{388EFDEE-447E-42B4-98EF-30C01AB2E8CD}" dt="2022-03-28T18:32:46.358" v="2975" actId="21"/>
          <ac:spMkLst>
            <pc:docMk/>
            <pc:sldMk cId="3057876422" sldId="1879256067"/>
            <ac:spMk id="1333" creationId="{AEC86709-03E2-4659-8915-06C135A8D3D8}"/>
          </ac:spMkLst>
        </pc:spChg>
        <pc:spChg chg="del">
          <ac:chgData name="Kebba Jeng" userId="fe4cc296-ba7d-48a2-8799-89b58d218255" providerId="ADAL" clId="{388EFDEE-447E-42B4-98EF-30C01AB2E8CD}" dt="2022-03-28T18:32:46.358" v="2975" actId="21"/>
          <ac:spMkLst>
            <pc:docMk/>
            <pc:sldMk cId="3057876422" sldId="1879256067"/>
            <ac:spMk id="1334" creationId="{1622CE41-CE58-43AA-B187-6E99E5C4101D}"/>
          </ac:spMkLst>
        </pc:spChg>
        <pc:spChg chg="del">
          <ac:chgData name="Kebba Jeng" userId="fe4cc296-ba7d-48a2-8799-89b58d218255" providerId="ADAL" clId="{388EFDEE-447E-42B4-98EF-30C01AB2E8CD}" dt="2022-03-28T18:32:46.358" v="2975" actId="21"/>
          <ac:spMkLst>
            <pc:docMk/>
            <pc:sldMk cId="3057876422" sldId="1879256067"/>
            <ac:spMk id="1335" creationId="{D8AD874C-5FC6-4BC2-AFD8-AF261D4C5CE0}"/>
          </ac:spMkLst>
        </pc:spChg>
        <pc:spChg chg="del">
          <ac:chgData name="Kebba Jeng" userId="fe4cc296-ba7d-48a2-8799-89b58d218255" providerId="ADAL" clId="{388EFDEE-447E-42B4-98EF-30C01AB2E8CD}" dt="2022-03-28T18:32:46.358" v="2975" actId="21"/>
          <ac:spMkLst>
            <pc:docMk/>
            <pc:sldMk cId="3057876422" sldId="1879256067"/>
            <ac:spMk id="1336" creationId="{83B9B52E-2977-4294-A1EF-D90BFD67D0DE}"/>
          </ac:spMkLst>
        </pc:spChg>
        <pc:spChg chg="del">
          <ac:chgData name="Kebba Jeng" userId="fe4cc296-ba7d-48a2-8799-89b58d218255" providerId="ADAL" clId="{388EFDEE-447E-42B4-98EF-30C01AB2E8CD}" dt="2022-03-28T18:32:46.358" v="2975" actId="21"/>
          <ac:spMkLst>
            <pc:docMk/>
            <pc:sldMk cId="3057876422" sldId="1879256067"/>
            <ac:spMk id="1337" creationId="{DDFEA8E7-0D6B-42A4-B901-3A4D35368BA9}"/>
          </ac:spMkLst>
        </pc:spChg>
        <pc:spChg chg="del">
          <ac:chgData name="Kebba Jeng" userId="fe4cc296-ba7d-48a2-8799-89b58d218255" providerId="ADAL" clId="{388EFDEE-447E-42B4-98EF-30C01AB2E8CD}" dt="2022-03-28T18:32:46.358" v="2975" actId="21"/>
          <ac:spMkLst>
            <pc:docMk/>
            <pc:sldMk cId="3057876422" sldId="1879256067"/>
            <ac:spMk id="1338" creationId="{9C381EA1-F8DA-4524-9499-B590E4EECB2E}"/>
          </ac:spMkLst>
        </pc:spChg>
        <pc:spChg chg="del">
          <ac:chgData name="Kebba Jeng" userId="fe4cc296-ba7d-48a2-8799-89b58d218255" providerId="ADAL" clId="{388EFDEE-447E-42B4-98EF-30C01AB2E8CD}" dt="2022-03-28T18:32:46.358" v="2975" actId="21"/>
          <ac:spMkLst>
            <pc:docMk/>
            <pc:sldMk cId="3057876422" sldId="1879256067"/>
            <ac:spMk id="1339" creationId="{7A60C27B-0F96-4849-A6F5-E537B581B179}"/>
          </ac:spMkLst>
        </pc:spChg>
        <pc:spChg chg="del">
          <ac:chgData name="Kebba Jeng" userId="fe4cc296-ba7d-48a2-8799-89b58d218255" providerId="ADAL" clId="{388EFDEE-447E-42B4-98EF-30C01AB2E8CD}" dt="2022-03-28T18:32:46.358" v="2975" actId="21"/>
          <ac:spMkLst>
            <pc:docMk/>
            <pc:sldMk cId="3057876422" sldId="1879256067"/>
            <ac:spMk id="1340" creationId="{070FBD00-7741-4CDF-8BD4-B8A33431FAE4}"/>
          </ac:spMkLst>
        </pc:spChg>
        <pc:spChg chg="del">
          <ac:chgData name="Kebba Jeng" userId="fe4cc296-ba7d-48a2-8799-89b58d218255" providerId="ADAL" clId="{388EFDEE-447E-42B4-98EF-30C01AB2E8CD}" dt="2022-03-28T18:32:46.358" v="2975" actId="21"/>
          <ac:spMkLst>
            <pc:docMk/>
            <pc:sldMk cId="3057876422" sldId="1879256067"/>
            <ac:spMk id="1341" creationId="{A27D60F9-17EA-414E-AA85-61453E6F0B63}"/>
          </ac:spMkLst>
        </pc:spChg>
        <pc:spChg chg="del">
          <ac:chgData name="Kebba Jeng" userId="fe4cc296-ba7d-48a2-8799-89b58d218255" providerId="ADAL" clId="{388EFDEE-447E-42B4-98EF-30C01AB2E8CD}" dt="2022-03-28T18:32:46.358" v="2975" actId="21"/>
          <ac:spMkLst>
            <pc:docMk/>
            <pc:sldMk cId="3057876422" sldId="1879256067"/>
            <ac:spMk id="1342" creationId="{8071857E-4FD2-4566-9D49-CC06ECCD282F}"/>
          </ac:spMkLst>
        </pc:spChg>
        <pc:spChg chg="del">
          <ac:chgData name="Kebba Jeng" userId="fe4cc296-ba7d-48a2-8799-89b58d218255" providerId="ADAL" clId="{388EFDEE-447E-42B4-98EF-30C01AB2E8CD}" dt="2022-03-28T18:32:46.358" v="2975" actId="21"/>
          <ac:spMkLst>
            <pc:docMk/>
            <pc:sldMk cId="3057876422" sldId="1879256067"/>
            <ac:spMk id="1343" creationId="{04973B86-1226-4C2C-AE8E-AB9B30BD099D}"/>
          </ac:spMkLst>
        </pc:spChg>
        <pc:spChg chg="del">
          <ac:chgData name="Kebba Jeng" userId="fe4cc296-ba7d-48a2-8799-89b58d218255" providerId="ADAL" clId="{388EFDEE-447E-42B4-98EF-30C01AB2E8CD}" dt="2022-03-28T18:32:46.358" v="2975" actId="21"/>
          <ac:spMkLst>
            <pc:docMk/>
            <pc:sldMk cId="3057876422" sldId="1879256067"/>
            <ac:spMk id="1344" creationId="{5C505A2A-74B6-4BAB-8492-3C814D74242D}"/>
          </ac:spMkLst>
        </pc:spChg>
        <pc:spChg chg="del">
          <ac:chgData name="Kebba Jeng" userId="fe4cc296-ba7d-48a2-8799-89b58d218255" providerId="ADAL" clId="{388EFDEE-447E-42B4-98EF-30C01AB2E8CD}" dt="2022-03-28T18:32:46.358" v="2975" actId="21"/>
          <ac:spMkLst>
            <pc:docMk/>
            <pc:sldMk cId="3057876422" sldId="1879256067"/>
            <ac:spMk id="1345" creationId="{ADC60F8F-BE75-44C5-B756-D69034E3DF39}"/>
          </ac:spMkLst>
        </pc:spChg>
        <pc:spChg chg="del">
          <ac:chgData name="Kebba Jeng" userId="fe4cc296-ba7d-48a2-8799-89b58d218255" providerId="ADAL" clId="{388EFDEE-447E-42B4-98EF-30C01AB2E8CD}" dt="2022-03-28T18:32:46.358" v="2975" actId="21"/>
          <ac:spMkLst>
            <pc:docMk/>
            <pc:sldMk cId="3057876422" sldId="1879256067"/>
            <ac:spMk id="1346" creationId="{B5564F0F-496F-43CD-BECB-13BFC160D9AE}"/>
          </ac:spMkLst>
        </pc:spChg>
        <pc:spChg chg="del">
          <ac:chgData name="Kebba Jeng" userId="fe4cc296-ba7d-48a2-8799-89b58d218255" providerId="ADAL" clId="{388EFDEE-447E-42B4-98EF-30C01AB2E8CD}" dt="2022-03-28T18:32:46.358" v="2975" actId="21"/>
          <ac:spMkLst>
            <pc:docMk/>
            <pc:sldMk cId="3057876422" sldId="1879256067"/>
            <ac:spMk id="1347" creationId="{A35F8F2D-CCEB-4E17-9B40-D9A3E5450C10}"/>
          </ac:spMkLst>
        </pc:spChg>
        <pc:spChg chg="del">
          <ac:chgData name="Kebba Jeng" userId="fe4cc296-ba7d-48a2-8799-89b58d218255" providerId="ADAL" clId="{388EFDEE-447E-42B4-98EF-30C01AB2E8CD}" dt="2022-03-28T18:32:46.358" v="2975" actId="21"/>
          <ac:spMkLst>
            <pc:docMk/>
            <pc:sldMk cId="3057876422" sldId="1879256067"/>
            <ac:spMk id="1348" creationId="{4A166CC2-D72C-4FC2-B699-54F1DB6B609C}"/>
          </ac:spMkLst>
        </pc:spChg>
        <pc:spChg chg="del">
          <ac:chgData name="Kebba Jeng" userId="fe4cc296-ba7d-48a2-8799-89b58d218255" providerId="ADAL" clId="{388EFDEE-447E-42B4-98EF-30C01AB2E8CD}" dt="2022-03-28T18:32:46.358" v="2975" actId="21"/>
          <ac:spMkLst>
            <pc:docMk/>
            <pc:sldMk cId="3057876422" sldId="1879256067"/>
            <ac:spMk id="1349" creationId="{DB241566-C971-4C13-98E7-42AFF5147B3D}"/>
          </ac:spMkLst>
        </pc:spChg>
        <pc:spChg chg="del">
          <ac:chgData name="Kebba Jeng" userId="fe4cc296-ba7d-48a2-8799-89b58d218255" providerId="ADAL" clId="{388EFDEE-447E-42B4-98EF-30C01AB2E8CD}" dt="2022-03-28T18:32:46.358" v="2975" actId="21"/>
          <ac:spMkLst>
            <pc:docMk/>
            <pc:sldMk cId="3057876422" sldId="1879256067"/>
            <ac:spMk id="1350" creationId="{A6C59253-B1B9-46DE-9AD4-AF18B0F72A93}"/>
          </ac:spMkLst>
        </pc:spChg>
        <pc:spChg chg="del">
          <ac:chgData name="Kebba Jeng" userId="fe4cc296-ba7d-48a2-8799-89b58d218255" providerId="ADAL" clId="{388EFDEE-447E-42B4-98EF-30C01AB2E8CD}" dt="2022-03-28T18:32:46.358" v="2975" actId="21"/>
          <ac:spMkLst>
            <pc:docMk/>
            <pc:sldMk cId="3057876422" sldId="1879256067"/>
            <ac:spMk id="1351" creationId="{7DC25A71-B528-4D36-8B8F-04E653E7940F}"/>
          </ac:spMkLst>
        </pc:spChg>
        <pc:spChg chg="del">
          <ac:chgData name="Kebba Jeng" userId="fe4cc296-ba7d-48a2-8799-89b58d218255" providerId="ADAL" clId="{388EFDEE-447E-42B4-98EF-30C01AB2E8CD}" dt="2022-03-28T18:32:46.358" v="2975" actId="21"/>
          <ac:spMkLst>
            <pc:docMk/>
            <pc:sldMk cId="3057876422" sldId="1879256067"/>
            <ac:spMk id="1352" creationId="{CF14CFCD-2205-487B-8030-727359CE3BCB}"/>
          </ac:spMkLst>
        </pc:spChg>
        <pc:spChg chg="del">
          <ac:chgData name="Kebba Jeng" userId="fe4cc296-ba7d-48a2-8799-89b58d218255" providerId="ADAL" clId="{388EFDEE-447E-42B4-98EF-30C01AB2E8CD}" dt="2022-03-28T18:32:46.358" v="2975" actId="21"/>
          <ac:spMkLst>
            <pc:docMk/>
            <pc:sldMk cId="3057876422" sldId="1879256067"/>
            <ac:spMk id="1353" creationId="{110EFF53-C35F-4CEF-AD89-7C1E991B69C4}"/>
          </ac:spMkLst>
        </pc:spChg>
        <pc:spChg chg="del">
          <ac:chgData name="Kebba Jeng" userId="fe4cc296-ba7d-48a2-8799-89b58d218255" providerId="ADAL" clId="{388EFDEE-447E-42B4-98EF-30C01AB2E8CD}" dt="2022-03-28T18:32:46.358" v="2975" actId="21"/>
          <ac:spMkLst>
            <pc:docMk/>
            <pc:sldMk cId="3057876422" sldId="1879256067"/>
            <ac:spMk id="1354" creationId="{A8A0BD69-1A69-46E8-88CB-3F631718019C}"/>
          </ac:spMkLst>
        </pc:spChg>
        <pc:spChg chg="del">
          <ac:chgData name="Kebba Jeng" userId="fe4cc296-ba7d-48a2-8799-89b58d218255" providerId="ADAL" clId="{388EFDEE-447E-42B4-98EF-30C01AB2E8CD}" dt="2022-03-28T18:32:46.358" v="2975" actId="21"/>
          <ac:spMkLst>
            <pc:docMk/>
            <pc:sldMk cId="3057876422" sldId="1879256067"/>
            <ac:spMk id="1355" creationId="{81238C74-9E5E-47F8-B954-1CED97BD9A9B}"/>
          </ac:spMkLst>
        </pc:spChg>
        <pc:spChg chg="del">
          <ac:chgData name="Kebba Jeng" userId="fe4cc296-ba7d-48a2-8799-89b58d218255" providerId="ADAL" clId="{388EFDEE-447E-42B4-98EF-30C01AB2E8CD}" dt="2022-03-28T18:32:46.358" v="2975" actId="21"/>
          <ac:spMkLst>
            <pc:docMk/>
            <pc:sldMk cId="3057876422" sldId="1879256067"/>
            <ac:spMk id="1356" creationId="{122DBCAD-6E3B-4B81-A98E-904D5AA8DBEB}"/>
          </ac:spMkLst>
        </pc:spChg>
        <pc:spChg chg="del">
          <ac:chgData name="Kebba Jeng" userId="fe4cc296-ba7d-48a2-8799-89b58d218255" providerId="ADAL" clId="{388EFDEE-447E-42B4-98EF-30C01AB2E8CD}" dt="2022-03-28T18:32:46.358" v="2975" actId="21"/>
          <ac:spMkLst>
            <pc:docMk/>
            <pc:sldMk cId="3057876422" sldId="1879256067"/>
            <ac:spMk id="1357" creationId="{B92AA64A-C4AB-4D35-A2F7-D62B8ECB0FF8}"/>
          </ac:spMkLst>
        </pc:spChg>
        <pc:spChg chg="del">
          <ac:chgData name="Kebba Jeng" userId="fe4cc296-ba7d-48a2-8799-89b58d218255" providerId="ADAL" clId="{388EFDEE-447E-42B4-98EF-30C01AB2E8CD}" dt="2022-03-28T18:32:46.358" v="2975" actId="21"/>
          <ac:spMkLst>
            <pc:docMk/>
            <pc:sldMk cId="3057876422" sldId="1879256067"/>
            <ac:spMk id="1358" creationId="{3F1CF96B-9414-441F-AEBB-8EEA6875F91A}"/>
          </ac:spMkLst>
        </pc:spChg>
        <pc:spChg chg="del">
          <ac:chgData name="Kebba Jeng" userId="fe4cc296-ba7d-48a2-8799-89b58d218255" providerId="ADAL" clId="{388EFDEE-447E-42B4-98EF-30C01AB2E8CD}" dt="2022-03-28T18:32:46.358" v="2975" actId="21"/>
          <ac:spMkLst>
            <pc:docMk/>
            <pc:sldMk cId="3057876422" sldId="1879256067"/>
            <ac:spMk id="1359" creationId="{A732C036-0B91-46F0-90D3-74425E2ECA0E}"/>
          </ac:spMkLst>
        </pc:spChg>
        <pc:spChg chg="del">
          <ac:chgData name="Kebba Jeng" userId="fe4cc296-ba7d-48a2-8799-89b58d218255" providerId="ADAL" clId="{388EFDEE-447E-42B4-98EF-30C01AB2E8CD}" dt="2022-03-28T18:32:46.358" v="2975" actId="21"/>
          <ac:spMkLst>
            <pc:docMk/>
            <pc:sldMk cId="3057876422" sldId="1879256067"/>
            <ac:spMk id="1360" creationId="{64FDC1DB-AC4B-4FC2-B25E-8A883F37E382}"/>
          </ac:spMkLst>
        </pc:spChg>
        <pc:spChg chg="del">
          <ac:chgData name="Kebba Jeng" userId="fe4cc296-ba7d-48a2-8799-89b58d218255" providerId="ADAL" clId="{388EFDEE-447E-42B4-98EF-30C01AB2E8CD}" dt="2022-03-28T18:32:46.358" v="2975" actId="21"/>
          <ac:spMkLst>
            <pc:docMk/>
            <pc:sldMk cId="3057876422" sldId="1879256067"/>
            <ac:spMk id="1361" creationId="{6C51629F-0399-4DAB-B853-173AB9CE4129}"/>
          </ac:spMkLst>
        </pc:spChg>
        <pc:spChg chg="del">
          <ac:chgData name="Kebba Jeng" userId="fe4cc296-ba7d-48a2-8799-89b58d218255" providerId="ADAL" clId="{388EFDEE-447E-42B4-98EF-30C01AB2E8CD}" dt="2022-03-28T18:32:46.358" v="2975" actId="21"/>
          <ac:spMkLst>
            <pc:docMk/>
            <pc:sldMk cId="3057876422" sldId="1879256067"/>
            <ac:spMk id="1362" creationId="{38EFE3AD-0D28-466E-B9F8-722268D93DB9}"/>
          </ac:spMkLst>
        </pc:spChg>
        <pc:spChg chg="del">
          <ac:chgData name="Kebba Jeng" userId="fe4cc296-ba7d-48a2-8799-89b58d218255" providerId="ADAL" clId="{388EFDEE-447E-42B4-98EF-30C01AB2E8CD}" dt="2022-03-28T18:32:46.358" v="2975" actId="21"/>
          <ac:spMkLst>
            <pc:docMk/>
            <pc:sldMk cId="3057876422" sldId="1879256067"/>
            <ac:spMk id="1363" creationId="{D69D7BA4-D5E0-452A-B968-4B16780F7087}"/>
          </ac:spMkLst>
        </pc:spChg>
        <pc:spChg chg="del">
          <ac:chgData name="Kebba Jeng" userId="fe4cc296-ba7d-48a2-8799-89b58d218255" providerId="ADAL" clId="{388EFDEE-447E-42B4-98EF-30C01AB2E8CD}" dt="2022-03-28T18:32:46.358" v="2975" actId="21"/>
          <ac:spMkLst>
            <pc:docMk/>
            <pc:sldMk cId="3057876422" sldId="1879256067"/>
            <ac:spMk id="1364" creationId="{DA62FB37-716F-4431-A432-3455F8347403}"/>
          </ac:spMkLst>
        </pc:spChg>
        <pc:spChg chg="del">
          <ac:chgData name="Kebba Jeng" userId="fe4cc296-ba7d-48a2-8799-89b58d218255" providerId="ADAL" clId="{388EFDEE-447E-42B4-98EF-30C01AB2E8CD}" dt="2022-03-28T18:32:46.358" v="2975" actId="21"/>
          <ac:spMkLst>
            <pc:docMk/>
            <pc:sldMk cId="3057876422" sldId="1879256067"/>
            <ac:spMk id="1365" creationId="{0A9405BE-0AC6-4FA3-8973-EBA88630A4EB}"/>
          </ac:spMkLst>
        </pc:spChg>
        <pc:spChg chg="del">
          <ac:chgData name="Kebba Jeng" userId="fe4cc296-ba7d-48a2-8799-89b58d218255" providerId="ADAL" clId="{388EFDEE-447E-42B4-98EF-30C01AB2E8CD}" dt="2022-03-28T18:32:46.358" v="2975" actId="21"/>
          <ac:spMkLst>
            <pc:docMk/>
            <pc:sldMk cId="3057876422" sldId="1879256067"/>
            <ac:spMk id="1366" creationId="{2DED9162-B9A1-4722-B25D-B7290D06D603}"/>
          </ac:spMkLst>
        </pc:spChg>
        <pc:spChg chg="del">
          <ac:chgData name="Kebba Jeng" userId="fe4cc296-ba7d-48a2-8799-89b58d218255" providerId="ADAL" clId="{388EFDEE-447E-42B4-98EF-30C01AB2E8CD}" dt="2022-03-28T18:32:46.358" v="2975" actId="21"/>
          <ac:spMkLst>
            <pc:docMk/>
            <pc:sldMk cId="3057876422" sldId="1879256067"/>
            <ac:spMk id="1367" creationId="{4DA402BC-F83A-4778-8B4D-7D7E7C9D769E}"/>
          </ac:spMkLst>
        </pc:spChg>
        <pc:spChg chg="del">
          <ac:chgData name="Kebba Jeng" userId="fe4cc296-ba7d-48a2-8799-89b58d218255" providerId="ADAL" clId="{388EFDEE-447E-42B4-98EF-30C01AB2E8CD}" dt="2022-03-28T18:32:46.358" v="2975" actId="21"/>
          <ac:spMkLst>
            <pc:docMk/>
            <pc:sldMk cId="3057876422" sldId="1879256067"/>
            <ac:spMk id="1368" creationId="{50921841-7C0F-40DE-89AE-BB643DB8A512}"/>
          </ac:spMkLst>
        </pc:spChg>
        <pc:spChg chg="del">
          <ac:chgData name="Kebba Jeng" userId="fe4cc296-ba7d-48a2-8799-89b58d218255" providerId="ADAL" clId="{388EFDEE-447E-42B4-98EF-30C01AB2E8CD}" dt="2022-03-28T18:32:46.358" v="2975" actId="21"/>
          <ac:spMkLst>
            <pc:docMk/>
            <pc:sldMk cId="3057876422" sldId="1879256067"/>
            <ac:spMk id="1369" creationId="{8F82CCCE-07FB-4DAA-B89C-864F48AC5454}"/>
          </ac:spMkLst>
        </pc:spChg>
        <pc:spChg chg="del">
          <ac:chgData name="Kebba Jeng" userId="fe4cc296-ba7d-48a2-8799-89b58d218255" providerId="ADAL" clId="{388EFDEE-447E-42B4-98EF-30C01AB2E8CD}" dt="2022-03-28T18:32:46.358" v="2975" actId="21"/>
          <ac:spMkLst>
            <pc:docMk/>
            <pc:sldMk cId="3057876422" sldId="1879256067"/>
            <ac:spMk id="1370" creationId="{4F05F2BE-D037-42CE-851D-20676DB6353F}"/>
          </ac:spMkLst>
        </pc:spChg>
        <pc:spChg chg="del">
          <ac:chgData name="Kebba Jeng" userId="fe4cc296-ba7d-48a2-8799-89b58d218255" providerId="ADAL" clId="{388EFDEE-447E-42B4-98EF-30C01AB2E8CD}" dt="2022-03-28T18:32:46.358" v="2975" actId="21"/>
          <ac:spMkLst>
            <pc:docMk/>
            <pc:sldMk cId="3057876422" sldId="1879256067"/>
            <ac:spMk id="1371" creationId="{4825E34D-2FA2-46F6-9839-9989479C2DDA}"/>
          </ac:spMkLst>
        </pc:spChg>
        <pc:spChg chg="del">
          <ac:chgData name="Kebba Jeng" userId="fe4cc296-ba7d-48a2-8799-89b58d218255" providerId="ADAL" clId="{388EFDEE-447E-42B4-98EF-30C01AB2E8CD}" dt="2022-03-28T18:32:46.358" v="2975" actId="21"/>
          <ac:spMkLst>
            <pc:docMk/>
            <pc:sldMk cId="3057876422" sldId="1879256067"/>
            <ac:spMk id="1372" creationId="{37A64CF6-BED9-48BE-B732-937C50A223F6}"/>
          </ac:spMkLst>
        </pc:spChg>
        <pc:spChg chg="del">
          <ac:chgData name="Kebba Jeng" userId="fe4cc296-ba7d-48a2-8799-89b58d218255" providerId="ADAL" clId="{388EFDEE-447E-42B4-98EF-30C01AB2E8CD}" dt="2022-03-28T18:32:46.358" v="2975" actId="21"/>
          <ac:spMkLst>
            <pc:docMk/>
            <pc:sldMk cId="3057876422" sldId="1879256067"/>
            <ac:spMk id="1373" creationId="{32AEE2EC-7AA2-4B8A-89B0-3EA264C37CAA}"/>
          </ac:spMkLst>
        </pc:spChg>
        <pc:spChg chg="del">
          <ac:chgData name="Kebba Jeng" userId="fe4cc296-ba7d-48a2-8799-89b58d218255" providerId="ADAL" clId="{388EFDEE-447E-42B4-98EF-30C01AB2E8CD}" dt="2022-03-28T18:32:46.358" v="2975" actId="21"/>
          <ac:spMkLst>
            <pc:docMk/>
            <pc:sldMk cId="3057876422" sldId="1879256067"/>
            <ac:spMk id="1374" creationId="{054344E0-42A2-4042-8465-3619B219450D}"/>
          </ac:spMkLst>
        </pc:spChg>
        <pc:spChg chg="del">
          <ac:chgData name="Kebba Jeng" userId="fe4cc296-ba7d-48a2-8799-89b58d218255" providerId="ADAL" clId="{388EFDEE-447E-42B4-98EF-30C01AB2E8CD}" dt="2022-03-28T18:32:46.358" v="2975" actId="21"/>
          <ac:spMkLst>
            <pc:docMk/>
            <pc:sldMk cId="3057876422" sldId="1879256067"/>
            <ac:spMk id="1375" creationId="{5E82175A-C214-4B92-AF92-2A5D20E0C546}"/>
          </ac:spMkLst>
        </pc:spChg>
        <pc:spChg chg="del">
          <ac:chgData name="Kebba Jeng" userId="fe4cc296-ba7d-48a2-8799-89b58d218255" providerId="ADAL" clId="{388EFDEE-447E-42B4-98EF-30C01AB2E8CD}" dt="2022-03-28T18:32:46.358" v="2975" actId="21"/>
          <ac:spMkLst>
            <pc:docMk/>
            <pc:sldMk cId="3057876422" sldId="1879256067"/>
            <ac:spMk id="1376" creationId="{BF15FB32-5C99-4136-BA38-8684C0E63DEB}"/>
          </ac:spMkLst>
        </pc:spChg>
        <pc:spChg chg="del">
          <ac:chgData name="Kebba Jeng" userId="fe4cc296-ba7d-48a2-8799-89b58d218255" providerId="ADAL" clId="{388EFDEE-447E-42B4-98EF-30C01AB2E8CD}" dt="2022-03-28T18:32:46.358" v="2975" actId="21"/>
          <ac:spMkLst>
            <pc:docMk/>
            <pc:sldMk cId="3057876422" sldId="1879256067"/>
            <ac:spMk id="1377" creationId="{24DBCFC4-2FD0-4018-9E16-7BC36DD69377}"/>
          </ac:spMkLst>
        </pc:spChg>
        <pc:spChg chg="del">
          <ac:chgData name="Kebba Jeng" userId="fe4cc296-ba7d-48a2-8799-89b58d218255" providerId="ADAL" clId="{388EFDEE-447E-42B4-98EF-30C01AB2E8CD}" dt="2022-03-28T18:32:46.358" v="2975" actId="21"/>
          <ac:spMkLst>
            <pc:docMk/>
            <pc:sldMk cId="3057876422" sldId="1879256067"/>
            <ac:spMk id="1378" creationId="{2A8E7DA2-A0EB-4FDF-AE58-9A103F120979}"/>
          </ac:spMkLst>
        </pc:spChg>
        <pc:spChg chg="del">
          <ac:chgData name="Kebba Jeng" userId="fe4cc296-ba7d-48a2-8799-89b58d218255" providerId="ADAL" clId="{388EFDEE-447E-42B4-98EF-30C01AB2E8CD}" dt="2022-03-28T18:32:46.358" v="2975" actId="21"/>
          <ac:spMkLst>
            <pc:docMk/>
            <pc:sldMk cId="3057876422" sldId="1879256067"/>
            <ac:spMk id="1379" creationId="{B7371709-D100-45BF-9B67-75650DF56A8B}"/>
          </ac:spMkLst>
        </pc:spChg>
        <pc:spChg chg="del">
          <ac:chgData name="Kebba Jeng" userId="fe4cc296-ba7d-48a2-8799-89b58d218255" providerId="ADAL" clId="{388EFDEE-447E-42B4-98EF-30C01AB2E8CD}" dt="2022-03-28T18:32:46.358" v="2975" actId="21"/>
          <ac:spMkLst>
            <pc:docMk/>
            <pc:sldMk cId="3057876422" sldId="1879256067"/>
            <ac:spMk id="1380" creationId="{125A2480-DC82-4930-93E7-A891B9D489C0}"/>
          </ac:spMkLst>
        </pc:spChg>
        <pc:spChg chg="del">
          <ac:chgData name="Kebba Jeng" userId="fe4cc296-ba7d-48a2-8799-89b58d218255" providerId="ADAL" clId="{388EFDEE-447E-42B4-98EF-30C01AB2E8CD}" dt="2022-03-28T18:32:46.358" v="2975" actId="21"/>
          <ac:spMkLst>
            <pc:docMk/>
            <pc:sldMk cId="3057876422" sldId="1879256067"/>
            <ac:spMk id="1381" creationId="{AAA1B374-035B-4F71-A654-94E6F7B4A62F}"/>
          </ac:spMkLst>
        </pc:spChg>
        <pc:spChg chg="del">
          <ac:chgData name="Kebba Jeng" userId="fe4cc296-ba7d-48a2-8799-89b58d218255" providerId="ADAL" clId="{388EFDEE-447E-42B4-98EF-30C01AB2E8CD}" dt="2022-03-28T18:32:46.358" v="2975" actId="21"/>
          <ac:spMkLst>
            <pc:docMk/>
            <pc:sldMk cId="3057876422" sldId="1879256067"/>
            <ac:spMk id="1382" creationId="{FAA65C5E-52FA-408B-9B10-B16333497188}"/>
          </ac:spMkLst>
        </pc:spChg>
        <pc:spChg chg="del">
          <ac:chgData name="Kebba Jeng" userId="fe4cc296-ba7d-48a2-8799-89b58d218255" providerId="ADAL" clId="{388EFDEE-447E-42B4-98EF-30C01AB2E8CD}" dt="2022-03-28T18:32:46.358" v="2975" actId="21"/>
          <ac:spMkLst>
            <pc:docMk/>
            <pc:sldMk cId="3057876422" sldId="1879256067"/>
            <ac:spMk id="1383" creationId="{5B695043-7909-44C4-A004-003589D55B76}"/>
          </ac:spMkLst>
        </pc:spChg>
        <pc:spChg chg="del">
          <ac:chgData name="Kebba Jeng" userId="fe4cc296-ba7d-48a2-8799-89b58d218255" providerId="ADAL" clId="{388EFDEE-447E-42B4-98EF-30C01AB2E8CD}" dt="2022-03-28T18:32:46.358" v="2975" actId="21"/>
          <ac:spMkLst>
            <pc:docMk/>
            <pc:sldMk cId="3057876422" sldId="1879256067"/>
            <ac:spMk id="1384" creationId="{E155BD63-DD88-40D9-B3EA-FE429EDE64B6}"/>
          </ac:spMkLst>
        </pc:spChg>
        <pc:spChg chg="del">
          <ac:chgData name="Kebba Jeng" userId="fe4cc296-ba7d-48a2-8799-89b58d218255" providerId="ADAL" clId="{388EFDEE-447E-42B4-98EF-30C01AB2E8CD}" dt="2022-03-28T18:32:46.358" v="2975" actId="21"/>
          <ac:spMkLst>
            <pc:docMk/>
            <pc:sldMk cId="3057876422" sldId="1879256067"/>
            <ac:spMk id="1385" creationId="{13323F01-2409-42C7-AEC9-C795686DC5F6}"/>
          </ac:spMkLst>
        </pc:spChg>
        <pc:spChg chg="del">
          <ac:chgData name="Kebba Jeng" userId="fe4cc296-ba7d-48a2-8799-89b58d218255" providerId="ADAL" clId="{388EFDEE-447E-42B4-98EF-30C01AB2E8CD}" dt="2022-03-28T18:32:46.358" v="2975" actId="21"/>
          <ac:spMkLst>
            <pc:docMk/>
            <pc:sldMk cId="3057876422" sldId="1879256067"/>
            <ac:spMk id="1386" creationId="{00394D7D-9409-4A38-BD7F-31A858181787}"/>
          </ac:spMkLst>
        </pc:spChg>
        <pc:spChg chg="del">
          <ac:chgData name="Kebba Jeng" userId="fe4cc296-ba7d-48a2-8799-89b58d218255" providerId="ADAL" clId="{388EFDEE-447E-42B4-98EF-30C01AB2E8CD}" dt="2022-03-28T18:32:46.358" v="2975" actId="21"/>
          <ac:spMkLst>
            <pc:docMk/>
            <pc:sldMk cId="3057876422" sldId="1879256067"/>
            <ac:spMk id="1387" creationId="{FB7D00A1-652E-46DB-A4CD-EF182F89E48D}"/>
          </ac:spMkLst>
        </pc:spChg>
        <pc:spChg chg="del">
          <ac:chgData name="Kebba Jeng" userId="fe4cc296-ba7d-48a2-8799-89b58d218255" providerId="ADAL" clId="{388EFDEE-447E-42B4-98EF-30C01AB2E8CD}" dt="2022-03-28T18:32:46.358" v="2975" actId="21"/>
          <ac:spMkLst>
            <pc:docMk/>
            <pc:sldMk cId="3057876422" sldId="1879256067"/>
            <ac:spMk id="1388" creationId="{5A071607-7146-4BC3-997A-DC05414BFF17}"/>
          </ac:spMkLst>
        </pc:spChg>
        <pc:spChg chg="del">
          <ac:chgData name="Kebba Jeng" userId="fe4cc296-ba7d-48a2-8799-89b58d218255" providerId="ADAL" clId="{388EFDEE-447E-42B4-98EF-30C01AB2E8CD}" dt="2022-03-28T18:32:46.358" v="2975" actId="21"/>
          <ac:spMkLst>
            <pc:docMk/>
            <pc:sldMk cId="3057876422" sldId="1879256067"/>
            <ac:spMk id="1389" creationId="{38D1EA58-2E33-4618-871F-4E9A4601A6FE}"/>
          </ac:spMkLst>
        </pc:spChg>
        <pc:spChg chg="del">
          <ac:chgData name="Kebba Jeng" userId="fe4cc296-ba7d-48a2-8799-89b58d218255" providerId="ADAL" clId="{388EFDEE-447E-42B4-98EF-30C01AB2E8CD}" dt="2022-03-28T18:32:46.358" v="2975" actId="21"/>
          <ac:spMkLst>
            <pc:docMk/>
            <pc:sldMk cId="3057876422" sldId="1879256067"/>
            <ac:spMk id="1390" creationId="{6D14AF81-CA55-469E-8C4B-249BD49D13FF}"/>
          </ac:spMkLst>
        </pc:spChg>
        <pc:spChg chg="del">
          <ac:chgData name="Kebba Jeng" userId="fe4cc296-ba7d-48a2-8799-89b58d218255" providerId="ADAL" clId="{388EFDEE-447E-42B4-98EF-30C01AB2E8CD}" dt="2022-03-28T18:32:46.358" v="2975" actId="21"/>
          <ac:spMkLst>
            <pc:docMk/>
            <pc:sldMk cId="3057876422" sldId="1879256067"/>
            <ac:spMk id="1391" creationId="{CA6A4D32-57DE-4D23-A9C8-895FFF62BC40}"/>
          </ac:spMkLst>
        </pc:spChg>
        <pc:spChg chg="del">
          <ac:chgData name="Kebba Jeng" userId="fe4cc296-ba7d-48a2-8799-89b58d218255" providerId="ADAL" clId="{388EFDEE-447E-42B4-98EF-30C01AB2E8CD}" dt="2022-03-28T18:32:46.358" v="2975" actId="21"/>
          <ac:spMkLst>
            <pc:docMk/>
            <pc:sldMk cId="3057876422" sldId="1879256067"/>
            <ac:spMk id="1392" creationId="{9597439B-4DA0-4B18-9B69-C3DE613B3090}"/>
          </ac:spMkLst>
        </pc:spChg>
        <pc:spChg chg="del">
          <ac:chgData name="Kebba Jeng" userId="fe4cc296-ba7d-48a2-8799-89b58d218255" providerId="ADAL" clId="{388EFDEE-447E-42B4-98EF-30C01AB2E8CD}" dt="2022-03-28T18:32:46.358" v="2975" actId="21"/>
          <ac:spMkLst>
            <pc:docMk/>
            <pc:sldMk cId="3057876422" sldId="1879256067"/>
            <ac:spMk id="1393" creationId="{E726340B-BB47-40CF-843A-C849F02FCBD9}"/>
          </ac:spMkLst>
        </pc:spChg>
        <pc:spChg chg="del">
          <ac:chgData name="Kebba Jeng" userId="fe4cc296-ba7d-48a2-8799-89b58d218255" providerId="ADAL" clId="{388EFDEE-447E-42B4-98EF-30C01AB2E8CD}" dt="2022-03-28T18:32:46.358" v="2975" actId="21"/>
          <ac:spMkLst>
            <pc:docMk/>
            <pc:sldMk cId="3057876422" sldId="1879256067"/>
            <ac:spMk id="1394" creationId="{106CF98F-860B-4D9E-9944-B0780769FF67}"/>
          </ac:spMkLst>
        </pc:spChg>
        <pc:spChg chg="del">
          <ac:chgData name="Kebba Jeng" userId="fe4cc296-ba7d-48a2-8799-89b58d218255" providerId="ADAL" clId="{388EFDEE-447E-42B4-98EF-30C01AB2E8CD}" dt="2022-03-28T18:32:46.358" v="2975" actId="21"/>
          <ac:spMkLst>
            <pc:docMk/>
            <pc:sldMk cId="3057876422" sldId="1879256067"/>
            <ac:spMk id="1395" creationId="{BDD3A035-F1F8-4956-9B7F-9F1DBD30D0EE}"/>
          </ac:spMkLst>
        </pc:spChg>
        <pc:spChg chg="del">
          <ac:chgData name="Kebba Jeng" userId="fe4cc296-ba7d-48a2-8799-89b58d218255" providerId="ADAL" clId="{388EFDEE-447E-42B4-98EF-30C01AB2E8CD}" dt="2022-03-28T18:32:46.358" v="2975" actId="21"/>
          <ac:spMkLst>
            <pc:docMk/>
            <pc:sldMk cId="3057876422" sldId="1879256067"/>
            <ac:spMk id="1396" creationId="{FC46456C-A8A8-40CB-A3C5-2A3B6D8C0DA9}"/>
          </ac:spMkLst>
        </pc:spChg>
        <pc:spChg chg="del">
          <ac:chgData name="Kebba Jeng" userId="fe4cc296-ba7d-48a2-8799-89b58d218255" providerId="ADAL" clId="{388EFDEE-447E-42B4-98EF-30C01AB2E8CD}" dt="2022-03-28T18:32:46.358" v="2975" actId="21"/>
          <ac:spMkLst>
            <pc:docMk/>
            <pc:sldMk cId="3057876422" sldId="1879256067"/>
            <ac:spMk id="1397" creationId="{E94CB3BB-B1E2-4C78-924B-699642D18021}"/>
          </ac:spMkLst>
        </pc:spChg>
        <pc:spChg chg="del">
          <ac:chgData name="Kebba Jeng" userId="fe4cc296-ba7d-48a2-8799-89b58d218255" providerId="ADAL" clId="{388EFDEE-447E-42B4-98EF-30C01AB2E8CD}" dt="2022-03-28T18:32:46.358" v="2975" actId="21"/>
          <ac:spMkLst>
            <pc:docMk/>
            <pc:sldMk cId="3057876422" sldId="1879256067"/>
            <ac:spMk id="1398" creationId="{365025F3-712D-47FB-87C7-7717C4E30598}"/>
          </ac:spMkLst>
        </pc:spChg>
        <pc:spChg chg="del">
          <ac:chgData name="Kebba Jeng" userId="fe4cc296-ba7d-48a2-8799-89b58d218255" providerId="ADAL" clId="{388EFDEE-447E-42B4-98EF-30C01AB2E8CD}" dt="2022-03-28T18:32:46.358" v="2975" actId="21"/>
          <ac:spMkLst>
            <pc:docMk/>
            <pc:sldMk cId="3057876422" sldId="1879256067"/>
            <ac:spMk id="1399" creationId="{096DCD4B-B37A-4D8A-B417-B842954857AE}"/>
          </ac:spMkLst>
        </pc:spChg>
        <pc:spChg chg="del">
          <ac:chgData name="Kebba Jeng" userId="fe4cc296-ba7d-48a2-8799-89b58d218255" providerId="ADAL" clId="{388EFDEE-447E-42B4-98EF-30C01AB2E8CD}" dt="2022-03-28T18:32:46.358" v="2975" actId="21"/>
          <ac:spMkLst>
            <pc:docMk/>
            <pc:sldMk cId="3057876422" sldId="1879256067"/>
            <ac:spMk id="1400" creationId="{8F78C776-130B-4EC0-AC73-4C8087BEFF46}"/>
          </ac:spMkLst>
        </pc:spChg>
        <pc:spChg chg="del">
          <ac:chgData name="Kebba Jeng" userId="fe4cc296-ba7d-48a2-8799-89b58d218255" providerId="ADAL" clId="{388EFDEE-447E-42B4-98EF-30C01AB2E8CD}" dt="2022-03-28T18:32:46.358" v="2975" actId="21"/>
          <ac:spMkLst>
            <pc:docMk/>
            <pc:sldMk cId="3057876422" sldId="1879256067"/>
            <ac:spMk id="1401" creationId="{B7E2BD16-C7FE-43DD-AC87-AF9197B79B35}"/>
          </ac:spMkLst>
        </pc:spChg>
        <pc:spChg chg="del">
          <ac:chgData name="Kebba Jeng" userId="fe4cc296-ba7d-48a2-8799-89b58d218255" providerId="ADAL" clId="{388EFDEE-447E-42B4-98EF-30C01AB2E8CD}" dt="2022-03-28T18:32:46.358" v="2975" actId="21"/>
          <ac:spMkLst>
            <pc:docMk/>
            <pc:sldMk cId="3057876422" sldId="1879256067"/>
            <ac:spMk id="1402" creationId="{495952A0-BBFC-417E-A1CF-A5FCA7649E41}"/>
          </ac:spMkLst>
        </pc:spChg>
        <pc:spChg chg="del">
          <ac:chgData name="Kebba Jeng" userId="fe4cc296-ba7d-48a2-8799-89b58d218255" providerId="ADAL" clId="{388EFDEE-447E-42B4-98EF-30C01AB2E8CD}" dt="2022-03-28T18:32:46.358" v="2975" actId="21"/>
          <ac:spMkLst>
            <pc:docMk/>
            <pc:sldMk cId="3057876422" sldId="1879256067"/>
            <ac:spMk id="1403" creationId="{B5654271-E929-42D0-99C7-217573F1D2C4}"/>
          </ac:spMkLst>
        </pc:spChg>
        <pc:spChg chg="del">
          <ac:chgData name="Kebba Jeng" userId="fe4cc296-ba7d-48a2-8799-89b58d218255" providerId="ADAL" clId="{388EFDEE-447E-42B4-98EF-30C01AB2E8CD}" dt="2022-03-28T18:32:46.358" v="2975" actId="21"/>
          <ac:spMkLst>
            <pc:docMk/>
            <pc:sldMk cId="3057876422" sldId="1879256067"/>
            <ac:spMk id="1404" creationId="{A007FB8A-C269-4466-84D5-D0E6DA07C08B}"/>
          </ac:spMkLst>
        </pc:spChg>
        <pc:spChg chg="del">
          <ac:chgData name="Kebba Jeng" userId="fe4cc296-ba7d-48a2-8799-89b58d218255" providerId="ADAL" clId="{388EFDEE-447E-42B4-98EF-30C01AB2E8CD}" dt="2022-03-28T18:32:46.358" v="2975" actId="21"/>
          <ac:spMkLst>
            <pc:docMk/>
            <pc:sldMk cId="3057876422" sldId="1879256067"/>
            <ac:spMk id="1405" creationId="{B65570C7-5DF3-431A-92FB-4392A9E52131}"/>
          </ac:spMkLst>
        </pc:spChg>
        <pc:spChg chg="del">
          <ac:chgData name="Kebba Jeng" userId="fe4cc296-ba7d-48a2-8799-89b58d218255" providerId="ADAL" clId="{388EFDEE-447E-42B4-98EF-30C01AB2E8CD}" dt="2022-03-28T18:32:46.358" v="2975" actId="21"/>
          <ac:spMkLst>
            <pc:docMk/>
            <pc:sldMk cId="3057876422" sldId="1879256067"/>
            <ac:spMk id="1406" creationId="{7E6C1AC0-54CC-450A-87ED-88E164B98F0E}"/>
          </ac:spMkLst>
        </pc:spChg>
        <pc:spChg chg="del">
          <ac:chgData name="Kebba Jeng" userId="fe4cc296-ba7d-48a2-8799-89b58d218255" providerId="ADAL" clId="{388EFDEE-447E-42B4-98EF-30C01AB2E8CD}" dt="2022-03-28T18:32:46.358" v="2975" actId="21"/>
          <ac:spMkLst>
            <pc:docMk/>
            <pc:sldMk cId="3057876422" sldId="1879256067"/>
            <ac:spMk id="1407" creationId="{06A486CF-B428-4144-8B26-DB27E589C7CE}"/>
          </ac:spMkLst>
        </pc:spChg>
        <pc:spChg chg="del">
          <ac:chgData name="Kebba Jeng" userId="fe4cc296-ba7d-48a2-8799-89b58d218255" providerId="ADAL" clId="{388EFDEE-447E-42B4-98EF-30C01AB2E8CD}" dt="2022-03-28T18:32:46.358" v="2975" actId="21"/>
          <ac:spMkLst>
            <pc:docMk/>
            <pc:sldMk cId="3057876422" sldId="1879256067"/>
            <ac:spMk id="1408" creationId="{56E14C08-2B4E-43C3-86DF-3F234760F3CA}"/>
          </ac:spMkLst>
        </pc:spChg>
        <pc:spChg chg="del">
          <ac:chgData name="Kebba Jeng" userId="fe4cc296-ba7d-48a2-8799-89b58d218255" providerId="ADAL" clId="{388EFDEE-447E-42B4-98EF-30C01AB2E8CD}" dt="2022-03-28T18:32:46.358" v="2975" actId="21"/>
          <ac:spMkLst>
            <pc:docMk/>
            <pc:sldMk cId="3057876422" sldId="1879256067"/>
            <ac:spMk id="1409" creationId="{4CB00F07-F12A-4E58-9345-BEED654DE4E4}"/>
          </ac:spMkLst>
        </pc:spChg>
        <pc:spChg chg="del">
          <ac:chgData name="Kebba Jeng" userId="fe4cc296-ba7d-48a2-8799-89b58d218255" providerId="ADAL" clId="{388EFDEE-447E-42B4-98EF-30C01AB2E8CD}" dt="2022-03-28T18:32:46.358" v="2975" actId="21"/>
          <ac:spMkLst>
            <pc:docMk/>
            <pc:sldMk cId="3057876422" sldId="1879256067"/>
            <ac:spMk id="1410" creationId="{CB953CEA-17C7-4563-89C2-A904A5B87DD8}"/>
          </ac:spMkLst>
        </pc:spChg>
        <pc:spChg chg="del">
          <ac:chgData name="Kebba Jeng" userId="fe4cc296-ba7d-48a2-8799-89b58d218255" providerId="ADAL" clId="{388EFDEE-447E-42B4-98EF-30C01AB2E8CD}" dt="2022-03-28T18:32:46.358" v="2975" actId="21"/>
          <ac:spMkLst>
            <pc:docMk/>
            <pc:sldMk cId="3057876422" sldId="1879256067"/>
            <ac:spMk id="1411" creationId="{AFEE72D7-221E-43A3-BA00-0E5FE2B0CD31}"/>
          </ac:spMkLst>
        </pc:spChg>
        <pc:spChg chg="del">
          <ac:chgData name="Kebba Jeng" userId="fe4cc296-ba7d-48a2-8799-89b58d218255" providerId="ADAL" clId="{388EFDEE-447E-42B4-98EF-30C01AB2E8CD}" dt="2022-03-28T18:32:46.358" v="2975" actId="21"/>
          <ac:spMkLst>
            <pc:docMk/>
            <pc:sldMk cId="3057876422" sldId="1879256067"/>
            <ac:spMk id="1412" creationId="{72C5B580-8715-4637-BB5E-9947D7CAE2A5}"/>
          </ac:spMkLst>
        </pc:spChg>
        <pc:spChg chg="del">
          <ac:chgData name="Kebba Jeng" userId="fe4cc296-ba7d-48a2-8799-89b58d218255" providerId="ADAL" clId="{388EFDEE-447E-42B4-98EF-30C01AB2E8CD}" dt="2022-03-28T18:32:46.358" v="2975" actId="21"/>
          <ac:spMkLst>
            <pc:docMk/>
            <pc:sldMk cId="3057876422" sldId="1879256067"/>
            <ac:spMk id="1413" creationId="{59A9CDFD-5C9F-4853-B737-191E2B0B1390}"/>
          </ac:spMkLst>
        </pc:spChg>
        <pc:spChg chg="del">
          <ac:chgData name="Kebba Jeng" userId="fe4cc296-ba7d-48a2-8799-89b58d218255" providerId="ADAL" clId="{388EFDEE-447E-42B4-98EF-30C01AB2E8CD}" dt="2022-03-28T18:32:46.358" v="2975" actId="21"/>
          <ac:spMkLst>
            <pc:docMk/>
            <pc:sldMk cId="3057876422" sldId="1879256067"/>
            <ac:spMk id="1414" creationId="{829B2A0F-D9F3-402C-9617-89506E530808}"/>
          </ac:spMkLst>
        </pc:spChg>
        <pc:spChg chg="del">
          <ac:chgData name="Kebba Jeng" userId="fe4cc296-ba7d-48a2-8799-89b58d218255" providerId="ADAL" clId="{388EFDEE-447E-42B4-98EF-30C01AB2E8CD}" dt="2022-03-28T18:32:46.358" v="2975" actId="21"/>
          <ac:spMkLst>
            <pc:docMk/>
            <pc:sldMk cId="3057876422" sldId="1879256067"/>
            <ac:spMk id="1415" creationId="{10A81FE7-70A4-486B-8CEA-282F2FD73889}"/>
          </ac:spMkLst>
        </pc:spChg>
        <pc:spChg chg="del">
          <ac:chgData name="Kebba Jeng" userId="fe4cc296-ba7d-48a2-8799-89b58d218255" providerId="ADAL" clId="{388EFDEE-447E-42B4-98EF-30C01AB2E8CD}" dt="2022-03-28T18:32:46.358" v="2975" actId="21"/>
          <ac:spMkLst>
            <pc:docMk/>
            <pc:sldMk cId="3057876422" sldId="1879256067"/>
            <ac:spMk id="1416" creationId="{238B3D1A-92C4-43F1-A4EA-84A9E7B89C71}"/>
          </ac:spMkLst>
        </pc:spChg>
        <pc:spChg chg="del">
          <ac:chgData name="Kebba Jeng" userId="fe4cc296-ba7d-48a2-8799-89b58d218255" providerId="ADAL" clId="{388EFDEE-447E-42B4-98EF-30C01AB2E8CD}" dt="2022-03-28T18:32:46.358" v="2975" actId="21"/>
          <ac:spMkLst>
            <pc:docMk/>
            <pc:sldMk cId="3057876422" sldId="1879256067"/>
            <ac:spMk id="1417" creationId="{BB5888CB-2135-4B0B-982B-07A232FA13FC}"/>
          </ac:spMkLst>
        </pc:spChg>
        <pc:spChg chg="del">
          <ac:chgData name="Kebba Jeng" userId="fe4cc296-ba7d-48a2-8799-89b58d218255" providerId="ADAL" clId="{388EFDEE-447E-42B4-98EF-30C01AB2E8CD}" dt="2022-03-28T18:32:46.358" v="2975" actId="21"/>
          <ac:spMkLst>
            <pc:docMk/>
            <pc:sldMk cId="3057876422" sldId="1879256067"/>
            <ac:spMk id="1418" creationId="{8CB264C0-3D6E-46DB-8470-0F20E2E71E37}"/>
          </ac:spMkLst>
        </pc:spChg>
        <pc:spChg chg="del">
          <ac:chgData name="Kebba Jeng" userId="fe4cc296-ba7d-48a2-8799-89b58d218255" providerId="ADAL" clId="{388EFDEE-447E-42B4-98EF-30C01AB2E8CD}" dt="2022-03-28T18:32:46.358" v="2975" actId="21"/>
          <ac:spMkLst>
            <pc:docMk/>
            <pc:sldMk cId="3057876422" sldId="1879256067"/>
            <ac:spMk id="1419" creationId="{972E4D12-6FEF-421E-8200-3E45955C3B39}"/>
          </ac:spMkLst>
        </pc:spChg>
        <pc:spChg chg="del">
          <ac:chgData name="Kebba Jeng" userId="fe4cc296-ba7d-48a2-8799-89b58d218255" providerId="ADAL" clId="{388EFDEE-447E-42B4-98EF-30C01AB2E8CD}" dt="2022-03-28T18:32:46.358" v="2975" actId="21"/>
          <ac:spMkLst>
            <pc:docMk/>
            <pc:sldMk cId="3057876422" sldId="1879256067"/>
            <ac:spMk id="1420" creationId="{A389903D-4297-45DD-8FF2-D4D3D4661D07}"/>
          </ac:spMkLst>
        </pc:spChg>
        <pc:spChg chg="del">
          <ac:chgData name="Kebba Jeng" userId="fe4cc296-ba7d-48a2-8799-89b58d218255" providerId="ADAL" clId="{388EFDEE-447E-42B4-98EF-30C01AB2E8CD}" dt="2022-03-28T18:32:46.358" v="2975" actId="21"/>
          <ac:spMkLst>
            <pc:docMk/>
            <pc:sldMk cId="3057876422" sldId="1879256067"/>
            <ac:spMk id="1421" creationId="{DE9E71C9-40B8-49DC-AEBB-59F932F8A33C}"/>
          </ac:spMkLst>
        </pc:spChg>
        <pc:spChg chg="del">
          <ac:chgData name="Kebba Jeng" userId="fe4cc296-ba7d-48a2-8799-89b58d218255" providerId="ADAL" clId="{388EFDEE-447E-42B4-98EF-30C01AB2E8CD}" dt="2022-03-28T18:32:46.358" v="2975" actId="21"/>
          <ac:spMkLst>
            <pc:docMk/>
            <pc:sldMk cId="3057876422" sldId="1879256067"/>
            <ac:spMk id="1422" creationId="{42D99EDE-8A08-461B-9533-7CCD89C8E25F}"/>
          </ac:spMkLst>
        </pc:spChg>
        <pc:spChg chg="del">
          <ac:chgData name="Kebba Jeng" userId="fe4cc296-ba7d-48a2-8799-89b58d218255" providerId="ADAL" clId="{388EFDEE-447E-42B4-98EF-30C01AB2E8CD}" dt="2022-03-28T18:32:46.358" v="2975" actId="21"/>
          <ac:spMkLst>
            <pc:docMk/>
            <pc:sldMk cId="3057876422" sldId="1879256067"/>
            <ac:spMk id="1423" creationId="{4B167D00-09CE-4CAE-AEE8-1AD3F068F0A7}"/>
          </ac:spMkLst>
        </pc:spChg>
        <pc:spChg chg="del">
          <ac:chgData name="Kebba Jeng" userId="fe4cc296-ba7d-48a2-8799-89b58d218255" providerId="ADAL" clId="{388EFDEE-447E-42B4-98EF-30C01AB2E8CD}" dt="2022-03-28T18:32:46.358" v="2975" actId="21"/>
          <ac:spMkLst>
            <pc:docMk/>
            <pc:sldMk cId="3057876422" sldId="1879256067"/>
            <ac:spMk id="1424" creationId="{A284CAE8-D2D1-49F7-BAF0-DDD6BBD09826}"/>
          </ac:spMkLst>
        </pc:spChg>
        <pc:spChg chg="del">
          <ac:chgData name="Kebba Jeng" userId="fe4cc296-ba7d-48a2-8799-89b58d218255" providerId="ADAL" clId="{388EFDEE-447E-42B4-98EF-30C01AB2E8CD}" dt="2022-03-28T18:32:46.358" v="2975" actId="21"/>
          <ac:spMkLst>
            <pc:docMk/>
            <pc:sldMk cId="3057876422" sldId="1879256067"/>
            <ac:spMk id="1425" creationId="{09EE560B-8B5E-47B1-80B5-15B0784561A8}"/>
          </ac:spMkLst>
        </pc:spChg>
        <pc:spChg chg="del">
          <ac:chgData name="Kebba Jeng" userId="fe4cc296-ba7d-48a2-8799-89b58d218255" providerId="ADAL" clId="{388EFDEE-447E-42B4-98EF-30C01AB2E8CD}" dt="2022-03-28T18:32:46.358" v="2975" actId="21"/>
          <ac:spMkLst>
            <pc:docMk/>
            <pc:sldMk cId="3057876422" sldId="1879256067"/>
            <ac:spMk id="1426" creationId="{89AB92CE-FDD6-48EF-8C12-9D28D146F716}"/>
          </ac:spMkLst>
        </pc:spChg>
        <pc:spChg chg="del">
          <ac:chgData name="Kebba Jeng" userId="fe4cc296-ba7d-48a2-8799-89b58d218255" providerId="ADAL" clId="{388EFDEE-447E-42B4-98EF-30C01AB2E8CD}" dt="2022-03-28T18:32:46.358" v="2975" actId="21"/>
          <ac:spMkLst>
            <pc:docMk/>
            <pc:sldMk cId="3057876422" sldId="1879256067"/>
            <ac:spMk id="1427" creationId="{B15FF60F-00B0-440F-93D5-9E068BB300E5}"/>
          </ac:spMkLst>
        </pc:spChg>
        <pc:spChg chg="del">
          <ac:chgData name="Kebba Jeng" userId="fe4cc296-ba7d-48a2-8799-89b58d218255" providerId="ADAL" clId="{388EFDEE-447E-42B4-98EF-30C01AB2E8CD}" dt="2022-03-28T18:32:46.358" v="2975" actId="21"/>
          <ac:spMkLst>
            <pc:docMk/>
            <pc:sldMk cId="3057876422" sldId="1879256067"/>
            <ac:spMk id="1428" creationId="{8DE2CB57-2D27-4C8B-9753-752FDA89CC3D}"/>
          </ac:spMkLst>
        </pc:spChg>
        <pc:spChg chg="del">
          <ac:chgData name="Kebba Jeng" userId="fe4cc296-ba7d-48a2-8799-89b58d218255" providerId="ADAL" clId="{388EFDEE-447E-42B4-98EF-30C01AB2E8CD}" dt="2022-03-28T18:32:46.358" v="2975" actId="21"/>
          <ac:spMkLst>
            <pc:docMk/>
            <pc:sldMk cId="3057876422" sldId="1879256067"/>
            <ac:spMk id="1429" creationId="{AD606177-5A0D-4D67-B556-E8855AEF2126}"/>
          </ac:spMkLst>
        </pc:spChg>
        <pc:spChg chg="del">
          <ac:chgData name="Kebba Jeng" userId="fe4cc296-ba7d-48a2-8799-89b58d218255" providerId="ADAL" clId="{388EFDEE-447E-42B4-98EF-30C01AB2E8CD}" dt="2022-03-28T18:32:46.358" v="2975" actId="21"/>
          <ac:spMkLst>
            <pc:docMk/>
            <pc:sldMk cId="3057876422" sldId="1879256067"/>
            <ac:spMk id="1430" creationId="{644F42B7-133B-4B0D-B3B6-878BF0525E58}"/>
          </ac:spMkLst>
        </pc:spChg>
        <pc:spChg chg="del">
          <ac:chgData name="Kebba Jeng" userId="fe4cc296-ba7d-48a2-8799-89b58d218255" providerId="ADAL" clId="{388EFDEE-447E-42B4-98EF-30C01AB2E8CD}" dt="2022-03-28T18:32:46.358" v="2975" actId="21"/>
          <ac:spMkLst>
            <pc:docMk/>
            <pc:sldMk cId="3057876422" sldId="1879256067"/>
            <ac:spMk id="1431" creationId="{2C1170FD-18FF-4F1A-A32B-FD813D4C62E4}"/>
          </ac:spMkLst>
        </pc:spChg>
        <pc:spChg chg="del">
          <ac:chgData name="Kebba Jeng" userId="fe4cc296-ba7d-48a2-8799-89b58d218255" providerId="ADAL" clId="{388EFDEE-447E-42B4-98EF-30C01AB2E8CD}" dt="2022-03-28T18:32:46.358" v="2975" actId="21"/>
          <ac:spMkLst>
            <pc:docMk/>
            <pc:sldMk cId="3057876422" sldId="1879256067"/>
            <ac:spMk id="1432" creationId="{316FC609-602E-494B-9027-C677A196B410}"/>
          </ac:spMkLst>
        </pc:spChg>
        <pc:spChg chg="del">
          <ac:chgData name="Kebba Jeng" userId="fe4cc296-ba7d-48a2-8799-89b58d218255" providerId="ADAL" clId="{388EFDEE-447E-42B4-98EF-30C01AB2E8CD}" dt="2022-03-28T18:32:46.358" v="2975" actId="21"/>
          <ac:spMkLst>
            <pc:docMk/>
            <pc:sldMk cId="3057876422" sldId="1879256067"/>
            <ac:spMk id="1433" creationId="{522E7557-C42C-48CA-AF55-57C6A37086E2}"/>
          </ac:spMkLst>
        </pc:spChg>
        <pc:spChg chg="del">
          <ac:chgData name="Kebba Jeng" userId="fe4cc296-ba7d-48a2-8799-89b58d218255" providerId="ADAL" clId="{388EFDEE-447E-42B4-98EF-30C01AB2E8CD}" dt="2022-03-28T18:32:46.358" v="2975" actId="21"/>
          <ac:spMkLst>
            <pc:docMk/>
            <pc:sldMk cId="3057876422" sldId="1879256067"/>
            <ac:spMk id="1434" creationId="{236D189F-0989-403F-A8CC-31477E58C8A3}"/>
          </ac:spMkLst>
        </pc:spChg>
        <pc:spChg chg="del">
          <ac:chgData name="Kebba Jeng" userId="fe4cc296-ba7d-48a2-8799-89b58d218255" providerId="ADAL" clId="{388EFDEE-447E-42B4-98EF-30C01AB2E8CD}" dt="2022-03-28T18:32:46.358" v="2975" actId="21"/>
          <ac:spMkLst>
            <pc:docMk/>
            <pc:sldMk cId="3057876422" sldId="1879256067"/>
            <ac:spMk id="1435" creationId="{FACF4CE8-60A6-47B6-8A6A-A966B354BF65}"/>
          </ac:spMkLst>
        </pc:spChg>
        <pc:spChg chg="del">
          <ac:chgData name="Kebba Jeng" userId="fe4cc296-ba7d-48a2-8799-89b58d218255" providerId="ADAL" clId="{388EFDEE-447E-42B4-98EF-30C01AB2E8CD}" dt="2022-03-28T18:32:46.358" v="2975" actId="21"/>
          <ac:spMkLst>
            <pc:docMk/>
            <pc:sldMk cId="3057876422" sldId="1879256067"/>
            <ac:spMk id="1436" creationId="{2E21B0B0-6F33-4DA7-AA56-2A8C37B3CB65}"/>
          </ac:spMkLst>
        </pc:spChg>
        <pc:spChg chg="del">
          <ac:chgData name="Kebba Jeng" userId="fe4cc296-ba7d-48a2-8799-89b58d218255" providerId="ADAL" clId="{388EFDEE-447E-42B4-98EF-30C01AB2E8CD}" dt="2022-03-28T18:32:46.358" v="2975" actId="21"/>
          <ac:spMkLst>
            <pc:docMk/>
            <pc:sldMk cId="3057876422" sldId="1879256067"/>
            <ac:spMk id="1437" creationId="{A99B83D2-929B-4337-B80E-A6162D0EF9B2}"/>
          </ac:spMkLst>
        </pc:spChg>
        <pc:spChg chg="del">
          <ac:chgData name="Kebba Jeng" userId="fe4cc296-ba7d-48a2-8799-89b58d218255" providerId="ADAL" clId="{388EFDEE-447E-42B4-98EF-30C01AB2E8CD}" dt="2022-03-28T18:32:46.358" v="2975" actId="21"/>
          <ac:spMkLst>
            <pc:docMk/>
            <pc:sldMk cId="3057876422" sldId="1879256067"/>
            <ac:spMk id="1438" creationId="{5F8B2133-024E-481D-A734-D13132290C80}"/>
          </ac:spMkLst>
        </pc:spChg>
        <pc:spChg chg="del">
          <ac:chgData name="Kebba Jeng" userId="fe4cc296-ba7d-48a2-8799-89b58d218255" providerId="ADAL" clId="{388EFDEE-447E-42B4-98EF-30C01AB2E8CD}" dt="2022-03-28T18:32:46.358" v="2975" actId="21"/>
          <ac:spMkLst>
            <pc:docMk/>
            <pc:sldMk cId="3057876422" sldId="1879256067"/>
            <ac:spMk id="1439" creationId="{59AE1FA7-7E9A-4341-9B89-852CB48EED29}"/>
          </ac:spMkLst>
        </pc:spChg>
        <pc:spChg chg="del">
          <ac:chgData name="Kebba Jeng" userId="fe4cc296-ba7d-48a2-8799-89b58d218255" providerId="ADAL" clId="{388EFDEE-447E-42B4-98EF-30C01AB2E8CD}" dt="2022-03-28T18:32:46.358" v="2975" actId="21"/>
          <ac:spMkLst>
            <pc:docMk/>
            <pc:sldMk cId="3057876422" sldId="1879256067"/>
            <ac:spMk id="1440" creationId="{1A5A8C00-96F3-4560-83AA-917D04946155}"/>
          </ac:spMkLst>
        </pc:spChg>
        <pc:spChg chg="del">
          <ac:chgData name="Kebba Jeng" userId="fe4cc296-ba7d-48a2-8799-89b58d218255" providerId="ADAL" clId="{388EFDEE-447E-42B4-98EF-30C01AB2E8CD}" dt="2022-03-28T18:32:46.358" v="2975" actId="21"/>
          <ac:spMkLst>
            <pc:docMk/>
            <pc:sldMk cId="3057876422" sldId="1879256067"/>
            <ac:spMk id="1441" creationId="{F4F1453A-C509-41DC-B36A-82FD368799C8}"/>
          </ac:spMkLst>
        </pc:spChg>
        <pc:spChg chg="del">
          <ac:chgData name="Kebba Jeng" userId="fe4cc296-ba7d-48a2-8799-89b58d218255" providerId="ADAL" clId="{388EFDEE-447E-42B4-98EF-30C01AB2E8CD}" dt="2022-03-28T18:32:46.358" v="2975" actId="21"/>
          <ac:spMkLst>
            <pc:docMk/>
            <pc:sldMk cId="3057876422" sldId="1879256067"/>
            <ac:spMk id="1442" creationId="{D4429F18-E6CD-406E-A234-0839A471C284}"/>
          </ac:spMkLst>
        </pc:spChg>
        <pc:spChg chg="del">
          <ac:chgData name="Kebba Jeng" userId="fe4cc296-ba7d-48a2-8799-89b58d218255" providerId="ADAL" clId="{388EFDEE-447E-42B4-98EF-30C01AB2E8CD}" dt="2022-03-28T18:32:46.358" v="2975" actId="21"/>
          <ac:spMkLst>
            <pc:docMk/>
            <pc:sldMk cId="3057876422" sldId="1879256067"/>
            <ac:spMk id="1443" creationId="{C06FE500-C529-45E3-B748-53F842493BA9}"/>
          </ac:spMkLst>
        </pc:spChg>
        <pc:spChg chg="del">
          <ac:chgData name="Kebba Jeng" userId="fe4cc296-ba7d-48a2-8799-89b58d218255" providerId="ADAL" clId="{388EFDEE-447E-42B4-98EF-30C01AB2E8CD}" dt="2022-03-28T18:32:46.358" v="2975" actId="21"/>
          <ac:spMkLst>
            <pc:docMk/>
            <pc:sldMk cId="3057876422" sldId="1879256067"/>
            <ac:spMk id="1444" creationId="{1FB93604-CE82-4072-AD10-8E0F896DEDF5}"/>
          </ac:spMkLst>
        </pc:spChg>
        <pc:spChg chg="del">
          <ac:chgData name="Kebba Jeng" userId="fe4cc296-ba7d-48a2-8799-89b58d218255" providerId="ADAL" clId="{388EFDEE-447E-42B4-98EF-30C01AB2E8CD}" dt="2022-03-28T18:32:46.358" v="2975" actId="21"/>
          <ac:spMkLst>
            <pc:docMk/>
            <pc:sldMk cId="3057876422" sldId="1879256067"/>
            <ac:spMk id="1445" creationId="{9E55AF68-7235-4391-93D4-FA43A6D129EE}"/>
          </ac:spMkLst>
        </pc:spChg>
        <pc:spChg chg="del">
          <ac:chgData name="Kebba Jeng" userId="fe4cc296-ba7d-48a2-8799-89b58d218255" providerId="ADAL" clId="{388EFDEE-447E-42B4-98EF-30C01AB2E8CD}" dt="2022-03-28T18:32:46.358" v="2975" actId="21"/>
          <ac:spMkLst>
            <pc:docMk/>
            <pc:sldMk cId="3057876422" sldId="1879256067"/>
            <ac:spMk id="1446" creationId="{DDF73C1B-5FFD-4D6E-A7C0-9550B07D143A}"/>
          </ac:spMkLst>
        </pc:spChg>
        <pc:spChg chg="del">
          <ac:chgData name="Kebba Jeng" userId="fe4cc296-ba7d-48a2-8799-89b58d218255" providerId="ADAL" clId="{388EFDEE-447E-42B4-98EF-30C01AB2E8CD}" dt="2022-03-28T18:32:46.358" v="2975" actId="21"/>
          <ac:spMkLst>
            <pc:docMk/>
            <pc:sldMk cId="3057876422" sldId="1879256067"/>
            <ac:spMk id="1447" creationId="{5E310A98-AC6E-4257-BAB9-405BB09B227F}"/>
          </ac:spMkLst>
        </pc:spChg>
        <pc:spChg chg="del">
          <ac:chgData name="Kebba Jeng" userId="fe4cc296-ba7d-48a2-8799-89b58d218255" providerId="ADAL" clId="{388EFDEE-447E-42B4-98EF-30C01AB2E8CD}" dt="2022-03-28T18:32:46.358" v="2975" actId="21"/>
          <ac:spMkLst>
            <pc:docMk/>
            <pc:sldMk cId="3057876422" sldId="1879256067"/>
            <ac:spMk id="1448" creationId="{3172B6E8-0C13-435F-BBA0-29FFECD6FB87}"/>
          </ac:spMkLst>
        </pc:spChg>
        <pc:spChg chg="del">
          <ac:chgData name="Kebba Jeng" userId="fe4cc296-ba7d-48a2-8799-89b58d218255" providerId="ADAL" clId="{388EFDEE-447E-42B4-98EF-30C01AB2E8CD}" dt="2022-03-28T18:32:46.358" v="2975" actId="21"/>
          <ac:spMkLst>
            <pc:docMk/>
            <pc:sldMk cId="3057876422" sldId="1879256067"/>
            <ac:spMk id="1449" creationId="{C17C09D3-0FF1-4346-9034-8464F1C57273}"/>
          </ac:spMkLst>
        </pc:spChg>
        <pc:spChg chg="del">
          <ac:chgData name="Kebba Jeng" userId="fe4cc296-ba7d-48a2-8799-89b58d218255" providerId="ADAL" clId="{388EFDEE-447E-42B4-98EF-30C01AB2E8CD}" dt="2022-03-28T18:32:46.358" v="2975" actId="21"/>
          <ac:spMkLst>
            <pc:docMk/>
            <pc:sldMk cId="3057876422" sldId="1879256067"/>
            <ac:spMk id="1450" creationId="{BF2C5172-9607-496A-93ED-FBE734F8E83A}"/>
          </ac:spMkLst>
        </pc:spChg>
        <pc:spChg chg="del">
          <ac:chgData name="Kebba Jeng" userId="fe4cc296-ba7d-48a2-8799-89b58d218255" providerId="ADAL" clId="{388EFDEE-447E-42B4-98EF-30C01AB2E8CD}" dt="2022-03-28T18:32:46.358" v="2975" actId="21"/>
          <ac:spMkLst>
            <pc:docMk/>
            <pc:sldMk cId="3057876422" sldId="1879256067"/>
            <ac:spMk id="1451" creationId="{D6C15581-078C-41A0-AC51-79ED0D660FE9}"/>
          </ac:spMkLst>
        </pc:spChg>
        <pc:spChg chg="del">
          <ac:chgData name="Kebba Jeng" userId="fe4cc296-ba7d-48a2-8799-89b58d218255" providerId="ADAL" clId="{388EFDEE-447E-42B4-98EF-30C01AB2E8CD}" dt="2022-03-28T18:32:46.358" v="2975" actId="21"/>
          <ac:spMkLst>
            <pc:docMk/>
            <pc:sldMk cId="3057876422" sldId="1879256067"/>
            <ac:spMk id="1452" creationId="{F675DF92-CC5E-4378-99C4-640EE54293C7}"/>
          </ac:spMkLst>
        </pc:spChg>
        <pc:spChg chg="del">
          <ac:chgData name="Kebba Jeng" userId="fe4cc296-ba7d-48a2-8799-89b58d218255" providerId="ADAL" clId="{388EFDEE-447E-42B4-98EF-30C01AB2E8CD}" dt="2022-03-28T18:32:46.358" v="2975" actId="21"/>
          <ac:spMkLst>
            <pc:docMk/>
            <pc:sldMk cId="3057876422" sldId="1879256067"/>
            <ac:spMk id="1453" creationId="{06DE426C-DA01-465C-BE1F-B74D50D362E0}"/>
          </ac:spMkLst>
        </pc:spChg>
        <pc:spChg chg="add del mod">
          <ac:chgData name="Kebba Jeng" userId="fe4cc296-ba7d-48a2-8799-89b58d218255" providerId="ADAL" clId="{388EFDEE-447E-42B4-98EF-30C01AB2E8CD}" dt="2022-03-28T18:32:42.990" v="2973"/>
          <ac:spMkLst>
            <pc:docMk/>
            <pc:sldMk cId="3057876422" sldId="1879256067"/>
            <ac:spMk id="1455" creationId="{D3A884C5-1618-4416-B898-1DB20BBE2124}"/>
          </ac:spMkLst>
        </pc:spChg>
        <pc:spChg chg="add del mod">
          <ac:chgData name="Kebba Jeng" userId="fe4cc296-ba7d-48a2-8799-89b58d218255" providerId="ADAL" clId="{388EFDEE-447E-42B4-98EF-30C01AB2E8CD}" dt="2022-03-28T18:32:42.990" v="2973"/>
          <ac:spMkLst>
            <pc:docMk/>
            <pc:sldMk cId="3057876422" sldId="1879256067"/>
            <ac:spMk id="1456" creationId="{D6062987-7836-4C01-9E34-AB1AA4909507}"/>
          </ac:spMkLst>
        </pc:spChg>
        <pc:spChg chg="add del mod">
          <ac:chgData name="Kebba Jeng" userId="fe4cc296-ba7d-48a2-8799-89b58d218255" providerId="ADAL" clId="{388EFDEE-447E-42B4-98EF-30C01AB2E8CD}" dt="2022-03-28T18:32:42.990" v="2973"/>
          <ac:spMkLst>
            <pc:docMk/>
            <pc:sldMk cId="3057876422" sldId="1879256067"/>
            <ac:spMk id="1457" creationId="{CA0A1867-B73C-4700-BB07-0645356F90FA}"/>
          </ac:spMkLst>
        </pc:spChg>
        <pc:spChg chg="add del mod">
          <ac:chgData name="Kebba Jeng" userId="fe4cc296-ba7d-48a2-8799-89b58d218255" providerId="ADAL" clId="{388EFDEE-447E-42B4-98EF-30C01AB2E8CD}" dt="2022-03-28T18:32:42.990" v="2973"/>
          <ac:spMkLst>
            <pc:docMk/>
            <pc:sldMk cId="3057876422" sldId="1879256067"/>
            <ac:spMk id="1458" creationId="{BF19AB46-46B7-4744-B4F4-65B5CB04FAD4}"/>
          </ac:spMkLst>
        </pc:spChg>
        <pc:spChg chg="add del mod">
          <ac:chgData name="Kebba Jeng" userId="fe4cc296-ba7d-48a2-8799-89b58d218255" providerId="ADAL" clId="{388EFDEE-447E-42B4-98EF-30C01AB2E8CD}" dt="2022-03-28T18:32:42.990" v="2973"/>
          <ac:spMkLst>
            <pc:docMk/>
            <pc:sldMk cId="3057876422" sldId="1879256067"/>
            <ac:spMk id="1459" creationId="{05B8AEB8-56EE-43DB-A256-4C8289B61C48}"/>
          </ac:spMkLst>
        </pc:spChg>
        <pc:spChg chg="add del mod">
          <ac:chgData name="Kebba Jeng" userId="fe4cc296-ba7d-48a2-8799-89b58d218255" providerId="ADAL" clId="{388EFDEE-447E-42B4-98EF-30C01AB2E8CD}" dt="2022-03-28T18:32:42.990" v="2973"/>
          <ac:spMkLst>
            <pc:docMk/>
            <pc:sldMk cId="3057876422" sldId="1879256067"/>
            <ac:spMk id="1460" creationId="{2CBA93EB-2570-411F-B4BC-34EAD9E2AF9E}"/>
          </ac:spMkLst>
        </pc:spChg>
        <pc:spChg chg="add del mod">
          <ac:chgData name="Kebba Jeng" userId="fe4cc296-ba7d-48a2-8799-89b58d218255" providerId="ADAL" clId="{388EFDEE-447E-42B4-98EF-30C01AB2E8CD}" dt="2022-03-28T18:32:42.990" v="2973"/>
          <ac:spMkLst>
            <pc:docMk/>
            <pc:sldMk cId="3057876422" sldId="1879256067"/>
            <ac:spMk id="1461" creationId="{7ECB0EAE-EBDD-4F2B-B009-A77B061AA9A6}"/>
          </ac:spMkLst>
        </pc:spChg>
        <pc:spChg chg="add del mod">
          <ac:chgData name="Kebba Jeng" userId="fe4cc296-ba7d-48a2-8799-89b58d218255" providerId="ADAL" clId="{388EFDEE-447E-42B4-98EF-30C01AB2E8CD}" dt="2022-03-28T18:32:42.990" v="2973"/>
          <ac:spMkLst>
            <pc:docMk/>
            <pc:sldMk cId="3057876422" sldId="1879256067"/>
            <ac:spMk id="1462" creationId="{2A5663EC-0D6B-45FB-9890-68EFF9CE0861}"/>
          </ac:spMkLst>
        </pc:spChg>
        <pc:spChg chg="add del mod">
          <ac:chgData name="Kebba Jeng" userId="fe4cc296-ba7d-48a2-8799-89b58d218255" providerId="ADAL" clId="{388EFDEE-447E-42B4-98EF-30C01AB2E8CD}" dt="2022-03-28T18:32:42.990" v="2973"/>
          <ac:spMkLst>
            <pc:docMk/>
            <pc:sldMk cId="3057876422" sldId="1879256067"/>
            <ac:spMk id="1463" creationId="{8E57A617-A133-460E-9E7B-A20765D07427}"/>
          </ac:spMkLst>
        </pc:spChg>
        <pc:spChg chg="add del mod">
          <ac:chgData name="Kebba Jeng" userId="fe4cc296-ba7d-48a2-8799-89b58d218255" providerId="ADAL" clId="{388EFDEE-447E-42B4-98EF-30C01AB2E8CD}" dt="2022-03-28T18:32:42.990" v="2973"/>
          <ac:spMkLst>
            <pc:docMk/>
            <pc:sldMk cId="3057876422" sldId="1879256067"/>
            <ac:spMk id="1464" creationId="{56A367CD-50A7-4516-9388-0071708CCE69}"/>
          </ac:spMkLst>
        </pc:spChg>
        <pc:spChg chg="add del mod">
          <ac:chgData name="Kebba Jeng" userId="fe4cc296-ba7d-48a2-8799-89b58d218255" providerId="ADAL" clId="{388EFDEE-447E-42B4-98EF-30C01AB2E8CD}" dt="2022-03-28T18:32:42.990" v="2973"/>
          <ac:spMkLst>
            <pc:docMk/>
            <pc:sldMk cId="3057876422" sldId="1879256067"/>
            <ac:spMk id="1465" creationId="{E5A4D163-4B26-443C-BB4C-92DC2B41A02B}"/>
          </ac:spMkLst>
        </pc:spChg>
        <pc:spChg chg="add del mod">
          <ac:chgData name="Kebba Jeng" userId="fe4cc296-ba7d-48a2-8799-89b58d218255" providerId="ADAL" clId="{388EFDEE-447E-42B4-98EF-30C01AB2E8CD}" dt="2022-03-28T18:32:42.990" v="2973"/>
          <ac:spMkLst>
            <pc:docMk/>
            <pc:sldMk cId="3057876422" sldId="1879256067"/>
            <ac:spMk id="1466" creationId="{AF91840A-D13C-41D9-8ACE-ED3A26C865EA}"/>
          </ac:spMkLst>
        </pc:spChg>
        <pc:spChg chg="add del mod">
          <ac:chgData name="Kebba Jeng" userId="fe4cc296-ba7d-48a2-8799-89b58d218255" providerId="ADAL" clId="{388EFDEE-447E-42B4-98EF-30C01AB2E8CD}" dt="2022-03-28T18:32:42.990" v="2973"/>
          <ac:spMkLst>
            <pc:docMk/>
            <pc:sldMk cId="3057876422" sldId="1879256067"/>
            <ac:spMk id="1467" creationId="{D7DFDB68-3FA4-4E9F-8D49-66486C81C53A}"/>
          </ac:spMkLst>
        </pc:spChg>
        <pc:spChg chg="add del mod">
          <ac:chgData name="Kebba Jeng" userId="fe4cc296-ba7d-48a2-8799-89b58d218255" providerId="ADAL" clId="{388EFDEE-447E-42B4-98EF-30C01AB2E8CD}" dt="2022-03-28T18:32:42.990" v="2973"/>
          <ac:spMkLst>
            <pc:docMk/>
            <pc:sldMk cId="3057876422" sldId="1879256067"/>
            <ac:spMk id="1468" creationId="{8554E075-2BB5-465A-A279-86AF3C73D5C5}"/>
          </ac:spMkLst>
        </pc:spChg>
        <pc:spChg chg="add del mod">
          <ac:chgData name="Kebba Jeng" userId="fe4cc296-ba7d-48a2-8799-89b58d218255" providerId="ADAL" clId="{388EFDEE-447E-42B4-98EF-30C01AB2E8CD}" dt="2022-03-28T18:32:42.990" v="2973"/>
          <ac:spMkLst>
            <pc:docMk/>
            <pc:sldMk cId="3057876422" sldId="1879256067"/>
            <ac:spMk id="1469" creationId="{7A0099AC-B962-49EC-A707-5A02B0DE9AEC}"/>
          </ac:spMkLst>
        </pc:spChg>
        <pc:spChg chg="add del mod">
          <ac:chgData name="Kebba Jeng" userId="fe4cc296-ba7d-48a2-8799-89b58d218255" providerId="ADAL" clId="{388EFDEE-447E-42B4-98EF-30C01AB2E8CD}" dt="2022-03-28T18:32:42.990" v="2973"/>
          <ac:spMkLst>
            <pc:docMk/>
            <pc:sldMk cId="3057876422" sldId="1879256067"/>
            <ac:spMk id="1470" creationId="{99C6AABA-F903-4D18-BFFD-C640A0EA0CA2}"/>
          </ac:spMkLst>
        </pc:spChg>
        <pc:spChg chg="add del mod">
          <ac:chgData name="Kebba Jeng" userId="fe4cc296-ba7d-48a2-8799-89b58d218255" providerId="ADAL" clId="{388EFDEE-447E-42B4-98EF-30C01AB2E8CD}" dt="2022-03-28T18:32:42.990" v="2973"/>
          <ac:spMkLst>
            <pc:docMk/>
            <pc:sldMk cId="3057876422" sldId="1879256067"/>
            <ac:spMk id="1471" creationId="{0484345B-05FC-47AE-898F-6ADC86777E74}"/>
          </ac:spMkLst>
        </pc:spChg>
        <pc:spChg chg="add del mod">
          <ac:chgData name="Kebba Jeng" userId="fe4cc296-ba7d-48a2-8799-89b58d218255" providerId="ADAL" clId="{388EFDEE-447E-42B4-98EF-30C01AB2E8CD}" dt="2022-03-28T18:32:42.990" v="2973"/>
          <ac:spMkLst>
            <pc:docMk/>
            <pc:sldMk cId="3057876422" sldId="1879256067"/>
            <ac:spMk id="1472" creationId="{30CD9D25-E538-4960-89AA-DE539A7FC337}"/>
          </ac:spMkLst>
        </pc:spChg>
        <pc:spChg chg="add del mod">
          <ac:chgData name="Kebba Jeng" userId="fe4cc296-ba7d-48a2-8799-89b58d218255" providerId="ADAL" clId="{388EFDEE-447E-42B4-98EF-30C01AB2E8CD}" dt="2022-03-28T18:32:42.990" v="2973"/>
          <ac:spMkLst>
            <pc:docMk/>
            <pc:sldMk cId="3057876422" sldId="1879256067"/>
            <ac:spMk id="1473" creationId="{A1B3D044-794E-42BE-8037-3F33A6C2BEB7}"/>
          </ac:spMkLst>
        </pc:spChg>
        <pc:spChg chg="add del mod">
          <ac:chgData name="Kebba Jeng" userId="fe4cc296-ba7d-48a2-8799-89b58d218255" providerId="ADAL" clId="{388EFDEE-447E-42B4-98EF-30C01AB2E8CD}" dt="2022-03-28T18:32:42.990" v="2973"/>
          <ac:spMkLst>
            <pc:docMk/>
            <pc:sldMk cId="3057876422" sldId="1879256067"/>
            <ac:spMk id="1474" creationId="{2C7ECCD5-646B-48CA-B2AE-DF04C863D81E}"/>
          </ac:spMkLst>
        </pc:spChg>
        <pc:spChg chg="add del mod">
          <ac:chgData name="Kebba Jeng" userId="fe4cc296-ba7d-48a2-8799-89b58d218255" providerId="ADAL" clId="{388EFDEE-447E-42B4-98EF-30C01AB2E8CD}" dt="2022-03-28T18:32:42.990" v="2973"/>
          <ac:spMkLst>
            <pc:docMk/>
            <pc:sldMk cId="3057876422" sldId="1879256067"/>
            <ac:spMk id="1475" creationId="{1340487E-0015-4E9B-BF08-7B35B2B8ED83}"/>
          </ac:spMkLst>
        </pc:spChg>
        <pc:spChg chg="add del mod">
          <ac:chgData name="Kebba Jeng" userId="fe4cc296-ba7d-48a2-8799-89b58d218255" providerId="ADAL" clId="{388EFDEE-447E-42B4-98EF-30C01AB2E8CD}" dt="2022-03-28T18:32:42.990" v="2973"/>
          <ac:spMkLst>
            <pc:docMk/>
            <pc:sldMk cId="3057876422" sldId="1879256067"/>
            <ac:spMk id="1476" creationId="{DB58B66C-B801-42B6-A5F7-8BEA3C1E7C49}"/>
          </ac:spMkLst>
        </pc:spChg>
        <pc:spChg chg="add del mod">
          <ac:chgData name="Kebba Jeng" userId="fe4cc296-ba7d-48a2-8799-89b58d218255" providerId="ADAL" clId="{388EFDEE-447E-42B4-98EF-30C01AB2E8CD}" dt="2022-03-28T18:32:42.990" v="2973"/>
          <ac:spMkLst>
            <pc:docMk/>
            <pc:sldMk cId="3057876422" sldId="1879256067"/>
            <ac:spMk id="1477" creationId="{91ECE222-6AB9-4F4E-BA27-4CFBB833A4F6}"/>
          </ac:spMkLst>
        </pc:spChg>
        <pc:spChg chg="add del mod">
          <ac:chgData name="Kebba Jeng" userId="fe4cc296-ba7d-48a2-8799-89b58d218255" providerId="ADAL" clId="{388EFDEE-447E-42B4-98EF-30C01AB2E8CD}" dt="2022-03-28T18:32:42.990" v="2973"/>
          <ac:spMkLst>
            <pc:docMk/>
            <pc:sldMk cId="3057876422" sldId="1879256067"/>
            <ac:spMk id="1478" creationId="{AD5EAADE-9E5F-43A4-B03D-7320A0EEE284}"/>
          </ac:spMkLst>
        </pc:spChg>
        <pc:spChg chg="add del mod">
          <ac:chgData name="Kebba Jeng" userId="fe4cc296-ba7d-48a2-8799-89b58d218255" providerId="ADAL" clId="{388EFDEE-447E-42B4-98EF-30C01AB2E8CD}" dt="2022-03-28T18:32:42.990" v="2973"/>
          <ac:spMkLst>
            <pc:docMk/>
            <pc:sldMk cId="3057876422" sldId="1879256067"/>
            <ac:spMk id="1479" creationId="{68C65372-BA4F-4E95-AB00-2192A4719C67}"/>
          </ac:spMkLst>
        </pc:spChg>
        <pc:spChg chg="add del mod">
          <ac:chgData name="Kebba Jeng" userId="fe4cc296-ba7d-48a2-8799-89b58d218255" providerId="ADAL" clId="{388EFDEE-447E-42B4-98EF-30C01AB2E8CD}" dt="2022-03-28T18:32:42.990" v="2973"/>
          <ac:spMkLst>
            <pc:docMk/>
            <pc:sldMk cId="3057876422" sldId="1879256067"/>
            <ac:spMk id="1480" creationId="{E5149CB4-43FF-48F2-96C0-4D44AFD68490}"/>
          </ac:spMkLst>
        </pc:spChg>
        <pc:spChg chg="add del mod">
          <ac:chgData name="Kebba Jeng" userId="fe4cc296-ba7d-48a2-8799-89b58d218255" providerId="ADAL" clId="{388EFDEE-447E-42B4-98EF-30C01AB2E8CD}" dt="2022-03-28T18:32:42.990" v="2973"/>
          <ac:spMkLst>
            <pc:docMk/>
            <pc:sldMk cId="3057876422" sldId="1879256067"/>
            <ac:spMk id="1481" creationId="{AB46EEC9-C679-495C-A674-C8B77B371662}"/>
          </ac:spMkLst>
        </pc:spChg>
        <pc:spChg chg="add del mod">
          <ac:chgData name="Kebba Jeng" userId="fe4cc296-ba7d-48a2-8799-89b58d218255" providerId="ADAL" clId="{388EFDEE-447E-42B4-98EF-30C01AB2E8CD}" dt="2022-03-28T18:32:42.990" v="2973"/>
          <ac:spMkLst>
            <pc:docMk/>
            <pc:sldMk cId="3057876422" sldId="1879256067"/>
            <ac:spMk id="1482" creationId="{C6C107A0-8837-4BAC-B90D-8389F9A1B95F}"/>
          </ac:spMkLst>
        </pc:spChg>
        <pc:spChg chg="add del mod">
          <ac:chgData name="Kebba Jeng" userId="fe4cc296-ba7d-48a2-8799-89b58d218255" providerId="ADAL" clId="{388EFDEE-447E-42B4-98EF-30C01AB2E8CD}" dt="2022-03-28T18:32:42.990" v="2973"/>
          <ac:spMkLst>
            <pc:docMk/>
            <pc:sldMk cId="3057876422" sldId="1879256067"/>
            <ac:spMk id="1483" creationId="{EEB3AB44-DECF-4A6A-A669-24806634F4B3}"/>
          </ac:spMkLst>
        </pc:spChg>
        <pc:spChg chg="add del mod">
          <ac:chgData name="Kebba Jeng" userId="fe4cc296-ba7d-48a2-8799-89b58d218255" providerId="ADAL" clId="{388EFDEE-447E-42B4-98EF-30C01AB2E8CD}" dt="2022-03-28T18:32:42.990" v="2973"/>
          <ac:spMkLst>
            <pc:docMk/>
            <pc:sldMk cId="3057876422" sldId="1879256067"/>
            <ac:spMk id="1484" creationId="{B40A2C4A-4AA5-4643-A5FA-1782F53A445B}"/>
          </ac:spMkLst>
        </pc:spChg>
        <pc:spChg chg="add del mod">
          <ac:chgData name="Kebba Jeng" userId="fe4cc296-ba7d-48a2-8799-89b58d218255" providerId="ADAL" clId="{388EFDEE-447E-42B4-98EF-30C01AB2E8CD}" dt="2022-03-28T18:32:42.990" v="2973"/>
          <ac:spMkLst>
            <pc:docMk/>
            <pc:sldMk cId="3057876422" sldId="1879256067"/>
            <ac:spMk id="1485" creationId="{977A9BE8-8148-45F5-9B90-C1ACB1A72F14}"/>
          </ac:spMkLst>
        </pc:spChg>
        <pc:spChg chg="add del mod">
          <ac:chgData name="Kebba Jeng" userId="fe4cc296-ba7d-48a2-8799-89b58d218255" providerId="ADAL" clId="{388EFDEE-447E-42B4-98EF-30C01AB2E8CD}" dt="2022-03-28T18:32:42.990" v="2973"/>
          <ac:spMkLst>
            <pc:docMk/>
            <pc:sldMk cId="3057876422" sldId="1879256067"/>
            <ac:spMk id="1486" creationId="{A0F807E5-6374-4DB1-B4B4-E42A6A8A03D1}"/>
          </ac:spMkLst>
        </pc:spChg>
        <pc:spChg chg="add del mod">
          <ac:chgData name="Kebba Jeng" userId="fe4cc296-ba7d-48a2-8799-89b58d218255" providerId="ADAL" clId="{388EFDEE-447E-42B4-98EF-30C01AB2E8CD}" dt="2022-03-28T18:32:42.990" v="2973"/>
          <ac:spMkLst>
            <pc:docMk/>
            <pc:sldMk cId="3057876422" sldId="1879256067"/>
            <ac:spMk id="1487" creationId="{FCEE7065-43A8-48CF-86D5-48DCF466963D}"/>
          </ac:spMkLst>
        </pc:spChg>
        <pc:spChg chg="add del mod">
          <ac:chgData name="Kebba Jeng" userId="fe4cc296-ba7d-48a2-8799-89b58d218255" providerId="ADAL" clId="{388EFDEE-447E-42B4-98EF-30C01AB2E8CD}" dt="2022-03-28T18:32:42.990" v="2973"/>
          <ac:spMkLst>
            <pc:docMk/>
            <pc:sldMk cId="3057876422" sldId="1879256067"/>
            <ac:spMk id="1488" creationId="{575CB448-9F6A-4060-83DF-168C7C4B146C}"/>
          </ac:spMkLst>
        </pc:spChg>
        <pc:spChg chg="add del mod">
          <ac:chgData name="Kebba Jeng" userId="fe4cc296-ba7d-48a2-8799-89b58d218255" providerId="ADAL" clId="{388EFDEE-447E-42B4-98EF-30C01AB2E8CD}" dt="2022-03-28T18:32:42.990" v="2973"/>
          <ac:spMkLst>
            <pc:docMk/>
            <pc:sldMk cId="3057876422" sldId="1879256067"/>
            <ac:spMk id="1489" creationId="{C524794C-0CA1-4DED-B71F-21BFDBEE75E8}"/>
          </ac:spMkLst>
        </pc:spChg>
        <pc:spChg chg="add del mod">
          <ac:chgData name="Kebba Jeng" userId="fe4cc296-ba7d-48a2-8799-89b58d218255" providerId="ADAL" clId="{388EFDEE-447E-42B4-98EF-30C01AB2E8CD}" dt="2022-03-28T18:32:42.990" v="2973"/>
          <ac:spMkLst>
            <pc:docMk/>
            <pc:sldMk cId="3057876422" sldId="1879256067"/>
            <ac:spMk id="1490" creationId="{7390AB6C-31CC-48C3-884A-7E49B0A70260}"/>
          </ac:spMkLst>
        </pc:spChg>
        <pc:spChg chg="add del mod">
          <ac:chgData name="Kebba Jeng" userId="fe4cc296-ba7d-48a2-8799-89b58d218255" providerId="ADAL" clId="{388EFDEE-447E-42B4-98EF-30C01AB2E8CD}" dt="2022-03-28T18:32:42.990" v="2973"/>
          <ac:spMkLst>
            <pc:docMk/>
            <pc:sldMk cId="3057876422" sldId="1879256067"/>
            <ac:spMk id="1491" creationId="{A6D3104E-E2B5-4F83-BC72-01883EEC6071}"/>
          </ac:spMkLst>
        </pc:spChg>
        <pc:spChg chg="add del mod">
          <ac:chgData name="Kebba Jeng" userId="fe4cc296-ba7d-48a2-8799-89b58d218255" providerId="ADAL" clId="{388EFDEE-447E-42B4-98EF-30C01AB2E8CD}" dt="2022-03-28T18:32:42.990" v="2973"/>
          <ac:spMkLst>
            <pc:docMk/>
            <pc:sldMk cId="3057876422" sldId="1879256067"/>
            <ac:spMk id="1492" creationId="{BB7562F3-44A1-468B-BFA9-296F3266CD76}"/>
          </ac:spMkLst>
        </pc:spChg>
        <pc:spChg chg="add del mod">
          <ac:chgData name="Kebba Jeng" userId="fe4cc296-ba7d-48a2-8799-89b58d218255" providerId="ADAL" clId="{388EFDEE-447E-42B4-98EF-30C01AB2E8CD}" dt="2022-03-28T18:32:42.990" v="2973"/>
          <ac:spMkLst>
            <pc:docMk/>
            <pc:sldMk cId="3057876422" sldId="1879256067"/>
            <ac:spMk id="1493" creationId="{E507DFE7-8337-4862-A8A0-AB3C53818CB2}"/>
          </ac:spMkLst>
        </pc:spChg>
        <pc:spChg chg="add del mod">
          <ac:chgData name="Kebba Jeng" userId="fe4cc296-ba7d-48a2-8799-89b58d218255" providerId="ADAL" clId="{388EFDEE-447E-42B4-98EF-30C01AB2E8CD}" dt="2022-03-28T18:32:42.990" v="2973"/>
          <ac:spMkLst>
            <pc:docMk/>
            <pc:sldMk cId="3057876422" sldId="1879256067"/>
            <ac:spMk id="1494" creationId="{59D75E98-F40E-4ECB-B6E7-909D4F3589D4}"/>
          </ac:spMkLst>
        </pc:spChg>
        <pc:spChg chg="add del mod">
          <ac:chgData name="Kebba Jeng" userId="fe4cc296-ba7d-48a2-8799-89b58d218255" providerId="ADAL" clId="{388EFDEE-447E-42B4-98EF-30C01AB2E8CD}" dt="2022-03-28T18:32:42.990" v="2973"/>
          <ac:spMkLst>
            <pc:docMk/>
            <pc:sldMk cId="3057876422" sldId="1879256067"/>
            <ac:spMk id="1495" creationId="{CDC582F5-9D46-4744-8C7A-04409D621667}"/>
          </ac:spMkLst>
        </pc:spChg>
        <pc:spChg chg="add del mod">
          <ac:chgData name="Kebba Jeng" userId="fe4cc296-ba7d-48a2-8799-89b58d218255" providerId="ADAL" clId="{388EFDEE-447E-42B4-98EF-30C01AB2E8CD}" dt="2022-03-28T18:32:42.990" v="2973"/>
          <ac:spMkLst>
            <pc:docMk/>
            <pc:sldMk cId="3057876422" sldId="1879256067"/>
            <ac:spMk id="1496" creationId="{F9A01E84-BAA5-4563-9565-ADD4E5592CCF}"/>
          </ac:spMkLst>
        </pc:spChg>
        <pc:spChg chg="add del mod">
          <ac:chgData name="Kebba Jeng" userId="fe4cc296-ba7d-48a2-8799-89b58d218255" providerId="ADAL" clId="{388EFDEE-447E-42B4-98EF-30C01AB2E8CD}" dt="2022-03-28T18:32:42.990" v="2973"/>
          <ac:spMkLst>
            <pc:docMk/>
            <pc:sldMk cId="3057876422" sldId="1879256067"/>
            <ac:spMk id="1497" creationId="{FFECEBB4-9BAC-46DF-8D55-7C0D89D5B603}"/>
          </ac:spMkLst>
        </pc:spChg>
        <pc:spChg chg="add del mod">
          <ac:chgData name="Kebba Jeng" userId="fe4cc296-ba7d-48a2-8799-89b58d218255" providerId="ADAL" clId="{388EFDEE-447E-42B4-98EF-30C01AB2E8CD}" dt="2022-03-28T18:32:42.990" v="2973"/>
          <ac:spMkLst>
            <pc:docMk/>
            <pc:sldMk cId="3057876422" sldId="1879256067"/>
            <ac:spMk id="1498" creationId="{49B51D46-B744-46F2-9059-A8A3AA84283C}"/>
          </ac:spMkLst>
        </pc:spChg>
        <pc:spChg chg="add del mod">
          <ac:chgData name="Kebba Jeng" userId="fe4cc296-ba7d-48a2-8799-89b58d218255" providerId="ADAL" clId="{388EFDEE-447E-42B4-98EF-30C01AB2E8CD}" dt="2022-03-28T18:32:42.990" v="2973"/>
          <ac:spMkLst>
            <pc:docMk/>
            <pc:sldMk cId="3057876422" sldId="1879256067"/>
            <ac:spMk id="1499" creationId="{9AFC8C60-F1A9-4197-BD6B-FE7EAFB0B7E7}"/>
          </ac:spMkLst>
        </pc:spChg>
        <pc:spChg chg="add del mod">
          <ac:chgData name="Kebba Jeng" userId="fe4cc296-ba7d-48a2-8799-89b58d218255" providerId="ADAL" clId="{388EFDEE-447E-42B4-98EF-30C01AB2E8CD}" dt="2022-03-28T18:32:42.990" v="2973"/>
          <ac:spMkLst>
            <pc:docMk/>
            <pc:sldMk cId="3057876422" sldId="1879256067"/>
            <ac:spMk id="1500" creationId="{19AB3C7D-7182-4D64-B29B-993D4102EDE1}"/>
          </ac:spMkLst>
        </pc:spChg>
        <pc:spChg chg="add del mod">
          <ac:chgData name="Kebba Jeng" userId="fe4cc296-ba7d-48a2-8799-89b58d218255" providerId="ADAL" clId="{388EFDEE-447E-42B4-98EF-30C01AB2E8CD}" dt="2022-03-28T18:32:42.990" v="2973"/>
          <ac:spMkLst>
            <pc:docMk/>
            <pc:sldMk cId="3057876422" sldId="1879256067"/>
            <ac:spMk id="1501" creationId="{30C2A574-CDDA-4F82-AE41-A86FF316100F}"/>
          </ac:spMkLst>
        </pc:spChg>
        <pc:spChg chg="add del mod">
          <ac:chgData name="Kebba Jeng" userId="fe4cc296-ba7d-48a2-8799-89b58d218255" providerId="ADAL" clId="{388EFDEE-447E-42B4-98EF-30C01AB2E8CD}" dt="2022-03-28T18:32:42.990" v="2973"/>
          <ac:spMkLst>
            <pc:docMk/>
            <pc:sldMk cId="3057876422" sldId="1879256067"/>
            <ac:spMk id="1502" creationId="{DD068541-C0BD-4E69-A2C5-0F7A6E4DB214}"/>
          </ac:spMkLst>
        </pc:spChg>
        <pc:spChg chg="add del mod">
          <ac:chgData name="Kebba Jeng" userId="fe4cc296-ba7d-48a2-8799-89b58d218255" providerId="ADAL" clId="{388EFDEE-447E-42B4-98EF-30C01AB2E8CD}" dt="2022-03-28T18:32:42.990" v="2973"/>
          <ac:spMkLst>
            <pc:docMk/>
            <pc:sldMk cId="3057876422" sldId="1879256067"/>
            <ac:spMk id="1503" creationId="{546E59CB-9B3F-435E-8D5D-5BEB66C7A429}"/>
          </ac:spMkLst>
        </pc:spChg>
        <pc:spChg chg="add del mod">
          <ac:chgData name="Kebba Jeng" userId="fe4cc296-ba7d-48a2-8799-89b58d218255" providerId="ADAL" clId="{388EFDEE-447E-42B4-98EF-30C01AB2E8CD}" dt="2022-03-28T18:32:42.990" v="2973"/>
          <ac:spMkLst>
            <pc:docMk/>
            <pc:sldMk cId="3057876422" sldId="1879256067"/>
            <ac:spMk id="1504" creationId="{7659179D-6179-400A-9734-0C5C2660A4CE}"/>
          </ac:spMkLst>
        </pc:spChg>
        <pc:spChg chg="add del mod">
          <ac:chgData name="Kebba Jeng" userId="fe4cc296-ba7d-48a2-8799-89b58d218255" providerId="ADAL" clId="{388EFDEE-447E-42B4-98EF-30C01AB2E8CD}" dt="2022-03-28T18:32:42.990" v="2973"/>
          <ac:spMkLst>
            <pc:docMk/>
            <pc:sldMk cId="3057876422" sldId="1879256067"/>
            <ac:spMk id="1505" creationId="{D71299CD-B6C3-4405-A483-CB0D61F34F68}"/>
          </ac:spMkLst>
        </pc:spChg>
        <pc:spChg chg="add del mod">
          <ac:chgData name="Kebba Jeng" userId="fe4cc296-ba7d-48a2-8799-89b58d218255" providerId="ADAL" clId="{388EFDEE-447E-42B4-98EF-30C01AB2E8CD}" dt="2022-03-28T18:32:42.990" v="2973"/>
          <ac:spMkLst>
            <pc:docMk/>
            <pc:sldMk cId="3057876422" sldId="1879256067"/>
            <ac:spMk id="1506" creationId="{9F201BB1-029C-4465-B4F7-433584ED44E4}"/>
          </ac:spMkLst>
        </pc:spChg>
        <pc:spChg chg="add del mod">
          <ac:chgData name="Kebba Jeng" userId="fe4cc296-ba7d-48a2-8799-89b58d218255" providerId="ADAL" clId="{388EFDEE-447E-42B4-98EF-30C01AB2E8CD}" dt="2022-03-28T18:32:42.990" v="2973"/>
          <ac:spMkLst>
            <pc:docMk/>
            <pc:sldMk cId="3057876422" sldId="1879256067"/>
            <ac:spMk id="1507" creationId="{1DAEB99D-C6FA-4C3D-BDA7-2AB3C503B808}"/>
          </ac:spMkLst>
        </pc:spChg>
        <pc:spChg chg="add del mod">
          <ac:chgData name="Kebba Jeng" userId="fe4cc296-ba7d-48a2-8799-89b58d218255" providerId="ADAL" clId="{388EFDEE-447E-42B4-98EF-30C01AB2E8CD}" dt="2022-03-28T18:32:42.990" v="2973"/>
          <ac:spMkLst>
            <pc:docMk/>
            <pc:sldMk cId="3057876422" sldId="1879256067"/>
            <ac:spMk id="1508" creationId="{CB56CDA8-13A1-48B7-B008-5C68302D2388}"/>
          </ac:spMkLst>
        </pc:spChg>
        <pc:spChg chg="add del mod">
          <ac:chgData name="Kebba Jeng" userId="fe4cc296-ba7d-48a2-8799-89b58d218255" providerId="ADAL" clId="{388EFDEE-447E-42B4-98EF-30C01AB2E8CD}" dt="2022-03-28T18:32:42.990" v="2973"/>
          <ac:spMkLst>
            <pc:docMk/>
            <pc:sldMk cId="3057876422" sldId="1879256067"/>
            <ac:spMk id="1509" creationId="{C19929AA-5C1C-4E32-9879-529B3C16ACAC}"/>
          </ac:spMkLst>
        </pc:spChg>
        <pc:spChg chg="add del mod">
          <ac:chgData name="Kebba Jeng" userId="fe4cc296-ba7d-48a2-8799-89b58d218255" providerId="ADAL" clId="{388EFDEE-447E-42B4-98EF-30C01AB2E8CD}" dt="2022-03-28T18:32:42.990" v="2973"/>
          <ac:spMkLst>
            <pc:docMk/>
            <pc:sldMk cId="3057876422" sldId="1879256067"/>
            <ac:spMk id="1510" creationId="{ECA5276B-5508-405A-A6F2-1568B7241FEB}"/>
          </ac:spMkLst>
        </pc:spChg>
        <pc:spChg chg="add del mod">
          <ac:chgData name="Kebba Jeng" userId="fe4cc296-ba7d-48a2-8799-89b58d218255" providerId="ADAL" clId="{388EFDEE-447E-42B4-98EF-30C01AB2E8CD}" dt="2022-03-28T18:32:42.990" v="2973"/>
          <ac:spMkLst>
            <pc:docMk/>
            <pc:sldMk cId="3057876422" sldId="1879256067"/>
            <ac:spMk id="1511" creationId="{2327D5D6-E08C-4152-9121-6B5146FCCA8E}"/>
          </ac:spMkLst>
        </pc:spChg>
        <pc:spChg chg="add del mod">
          <ac:chgData name="Kebba Jeng" userId="fe4cc296-ba7d-48a2-8799-89b58d218255" providerId="ADAL" clId="{388EFDEE-447E-42B4-98EF-30C01AB2E8CD}" dt="2022-03-28T18:32:42.990" v="2973"/>
          <ac:spMkLst>
            <pc:docMk/>
            <pc:sldMk cId="3057876422" sldId="1879256067"/>
            <ac:spMk id="1512" creationId="{D490F27A-EEFE-42F6-8DAD-72DA3D88103E}"/>
          </ac:spMkLst>
        </pc:spChg>
        <pc:spChg chg="add del mod">
          <ac:chgData name="Kebba Jeng" userId="fe4cc296-ba7d-48a2-8799-89b58d218255" providerId="ADAL" clId="{388EFDEE-447E-42B4-98EF-30C01AB2E8CD}" dt="2022-03-28T18:32:42.990" v="2973"/>
          <ac:spMkLst>
            <pc:docMk/>
            <pc:sldMk cId="3057876422" sldId="1879256067"/>
            <ac:spMk id="1513" creationId="{ECED37F7-91D0-4B76-AE1C-56F900AA165D}"/>
          </ac:spMkLst>
        </pc:spChg>
        <pc:spChg chg="add del mod">
          <ac:chgData name="Kebba Jeng" userId="fe4cc296-ba7d-48a2-8799-89b58d218255" providerId="ADAL" clId="{388EFDEE-447E-42B4-98EF-30C01AB2E8CD}" dt="2022-03-28T18:32:42.990" v="2973"/>
          <ac:spMkLst>
            <pc:docMk/>
            <pc:sldMk cId="3057876422" sldId="1879256067"/>
            <ac:spMk id="1514" creationId="{44BDCBFD-93DB-42C7-A24A-711CFD6C7105}"/>
          </ac:spMkLst>
        </pc:spChg>
        <pc:spChg chg="add del mod">
          <ac:chgData name="Kebba Jeng" userId="fe4cc296-ba7d-48a2-8799-89b58d218255" providerId="ADAL" clId="{388EFDEE-447E-42B4-98EF-30C01AB2E8CD}" dt="2022-03-28T18:32:42.990" v="2973"/>
          <ac:spMkLst>
            <pc:docMk/>
            <pc:sldMk cId="3057876422" sldId="1879256067"/>
            <ac:spMk id="1515" creationId="{53F0BED1-DA13-4A88-9CD7-B0CDE80BA024}"/>
          </ac:spMkLst>
        </pc:spChg>
        <pc:spChg chg="add del mod">
          <ac:chgData name="Kebba Jeng" userId="fe4cc296-ba7d-48a2-8799-89b58d218255" providerId="ADAL" clId="{388EFDEE-447E-42B4-98EF-30C01AB2E8CD}" dt="2022-03-28T18:32:42.990" v="2973"/>
          <ac:spMkLst>
            <pc:docMk/>
            <pc:sldMk cId="3057876422" sldId="1879256067"/>
            <ac:spMk id="1516" creationId="{B4B3B478-4029-47A9-916F-5E5E2D2B24E5}"/>
          </ac:spMkLst>
        </pc:spChg>
        <pc:spChg chg="add del mod">
          <ac:chgData name="Kebba Jeng" userId="fe4cc296-ba7d-48a2-8799-89b58d218255" providerId="ADAL" clId="{388EFDEE-447E-42B4-98EF-30C01AB2E8CD}" dt="2022-03-28T18:32:42.990" v="2973"/>
          <ac:spMkLst>
            <pc:docMk/>
            <pc:sldMk cId="3057876422" sldId="1879256067"/>
            <ac:spMk id="1517" creationId="{4D24C0AA-B804-46CF-B02F-BA59012638B5}"/>
          </ac:spMkLst>
        </pc:spChg>
        <pc:spChg chg="add del mod">
          <ac:chgData name="Kebba Jeng" userId="fe4cc296-ba7d-48a2-8799-89b58d218255" providerId="ADAL" clId="{388EFDEE-447E-42B4-98EF-30C01AB2E8CD}" dt="2022-03-28T18:32:42.990" v="2973"/>
          <ac:spMkLst>
            <pc:docMk/>
            <pc:sldMk cId="3057876422" sldId="1879256067"/>
            <ac:spMk id="1518" creationId="{AA04C284-0668-4280-94FE-B98B41E7DD67}"/>
          </ac:spMkLst>
        </pc:spChg>
        <pc:spChg chg="add del mod">
          <ac:chgData name="Kebba Jeng" userId="fe4cc296-ba7d-48a2-8799-89b58d218255" providerId="ADAL" clId="{388EFDEE-447E-42B4-98EF-30C01AB2E8CD}" dt="2022-03-28T18:32:42.990" v="2973"/>
          <ac:spMkLst>
            <pc:docMk/>
            <pc:sldMk cId="3057876422" sldId="1879256067"/>
            <ac:spMk id="1519" creationId="{865E5398-A1CC-47EC-B34D-47C5436098A5}"/>
          </ac:spMkLst>
        </pc:spChg>
        <pc:spChg chg="add del mod">
          <ac:chgData name="Kebba Jeng" userId="fe4cc296-ba7d-48a2-8799-89b58d218255" providerId="ADAL" clId="{388EFDEE-447E-42B4-98EF-30C01AB2E8CD}" dt="2022-03-28T18:32:42.990" v="2973"/>
          <ac:spMkLst>
            <pc:docMk/>
            <pc:sldMk cId="3057876422" sldId="1879256067"/>
            <ac:spMk id="1520" creationId="{9366098D-3D46-4034-BF9D-928CCFC2B1B2}"/>
          </ac:spMkLst>
        </pc:spChg>
        <pc:spChg chg="add del mod">
          <ac:chgData name="Kebba Jeng" userId="fe4cc296-ba7d-48a2-8799-89b58d218255" providerId="ADAL" clId="{388EFDEE-447E-42B4-98EF-30C01AB2E8CD}" dt="2022-03-28T18:32:42.990" v="2973"/>
          <ac:spMkLst>
            <pc:docMk/>
            <pc:sldMk cId="3057876422" sldId="1879256067"/>
            <ac:spMk id="1521" creationId="{5B3E746D-A7B5-4642-8540-6254258123DA}"/>
          </ac:spMkLst>
        </pc:spChg>
        <pc:spChg chg="add del mod">
          <ac:chgData name="Kebba Jeng" userId="fe4cc296-ba7d-48a2-8799-89b58d218255" providerId="ADAL" clId="{388EFDEE-447E-42B4-98EF-30C01AB2E8CD}" dt="2022-03-28T18:32:42.990" v="2973"/>
          <ac:spMkLst>
            <pc:docMk/>
            <pc:sldMk cId="3057876422" sldId="1879256067"/>
            <ac:spMk id="1522" creationId="{6191F69F-3CDA-451D-BF71-F36B1239C7F9}"/>
          </ac:spMkLst>
        </pc:spChg>
        <pc:spChg chg="add del mod">
          <ac:chgData name="Kebba Jeng" userId="fe4cc296-ba7d-48a2-8799-89b58d218255" providerId="ADAL" clId="{388EFDEE-447E-42B4-98EF-30C01AB2E8CD}" dt="2022-03-28T18:32:42.990" v="2973"/>
          <ac:spMkLst>
            <pc:docMk/>
            <pc:sldMk cId="3057876422" sldId="1879256067"/>
            <ac:spMk id="1523" creationId="{357FB22F-CE08-4098-900B-C5FCCB9C3ACC}"/>
          </ac:spMkLst>
        </pc:spChg>
        <pc:spChg chg="add del mod">
          <ac:chgData name="Kebba Jeng" userId="fe4cc296-ba7d-48a2-8799-89b58d218255" providerId="ADAL" clId="{388EFDEE-447E-42B4-98EF-30C01AB2E8CD}" dt="2022-03-28T18:32:42.990" v="2973"/>
          <ac:spMkLst>
            <pc:docMk/>
            <pc:sldMk cId="3057876422" sldId="1879256067"/>
            <ac:spMk id="1524" creationId="{831B50FF-070B-453A-8753-E047ED8A6BC9}"/>
          </ac:spMkLst>
        </pc:spChg>
        <pc:spChg chg="add del mod">
          <ac:chgData name="Kebba Jeng" userId="fe4cc296-ba7d-48a2-8799-89b58d218255" providerId="ADAL" clId="{388EFDEE-447E-42B4-98EF-30C01AB2E8CD}" dt="2022-03-28T18:32:42.990" v="2973"/>
          <ac:spMkLst>
            <pc:docMk/>
            <pc:sldMk cId="3057876422" sldId="1879256067"/>
            <ac:spMk id="1525" creationId="{0E909054-A55D-4E3A-9117-F64D3111F831}"/>
          </ac:spMkLst>
        </pc:spChg>
        <pc:spChg chg="add del mod">
          <ac:chgData name="Kebba Jeng" userId="fe4cc296-ba7d-48a2-8799-89b58d218255" providerId="ADAL" clId="{388EFDEE-447E-42B4-98EF-30C01AB2E8CD}" dt="2022-03-28T18:32:42.990" v="2973"/>
          <ac:spMkLst>
            <pc:docMk/>
            <pc:sldMk cId="3057876422" sldId="1879256067"/>
            <ac:spMk id="1526" creationId="{25F42AE6-3195-4764-819D-7BD6F46A1443}"/>
          </ac:spMkLst>
        </pc:spChg>
        <pc:spChg chg="add del mod">
          <ac:chgData name="Kebba Jeng" userId="fe4cc296-ba7d-48a2-8799-89b58d218255" providerId="ADAL" clId="{388EFDEE-447E-42B4-98EF-30C01AB2E8CD}" dt="2022-03-28T18:32:42.990" v="2973"/>
          <ac:spMkLst>
            <pc:docMk/>
            <pc:sldMk cId="3057876422" sldId="1879256067"/>
            <ac:spMk id="1527" creationId="{E0D4F8A8-6407-4684-8F31-5912CB05F3AC}"/>
          </ac:spMkLst>
        </pc:spChg>
        <pc:spChg chg="add del mod">
          <ac:chgData name="Kebba Jeng" userId="fe4cc296-ba7d-48a2-8799-89b58d218255" providerId="ADAL" clId="{388EFDEE-447E-42B4-98EF-30C01AB2E8CD}" dt="2022-03-28T18:32:42.990" v="2973"/>
          <ac:spMkLst>
            <pc:docMk/>
            <pc:sldMk cId="3057876422" sldId="1879256067"/>
            <ac:spMk id="1528" creationId="{F6278C58-A9A9-4187-A8BB-7A6955B32B96}"/>
          </ac:spMkLst>
        </pc:spChg>
        <pc:spChg chg="add del mod">
          <ac:chgData name="Kebba Jeng" userId="fe4cc296-ba7d-48a2-8799-89b58d218255" providerId="ADAL" clId="{388EFDEE-447E-42B4-98EF-30C01AB2E8CD}" dt="2022-03-28T18:32:42.990" v="2973"/>
          <ac:spMkLst>
            <pc:docMk/>
            <pc:sldMk cId="3057876422" sldId="1879256067"/>
            <ac:spMk id="1529" creationId="{671DD3AF-562A-4A6C-9790-3FEA42CDB9B5}"/>
          </ac:spMkLst>
        </pc:spChg>
        <pc:spChg chg="add del mod">
          <ac:chgData name="Kebba Jeng" userId="fe4cc296-ba7d-48a2-8799-89b58d218255" providerId="ADAL" clId="{388EFDEE-447E-42B4-98EF-30C01AB2E8CD}" dt="2022-03-28T18:32:42.990" v="2973"/>
          <ac:spMkLst>
            <pc:docMk/>
            <pc:sldMk cId="3057876422" sldId="1879256067"/>
            <ac:spMk id="1530" creationId="{99CFC7AE-FE6A-4F45-9029-CB25C96C6BE5}"/>
          </ac:spMkLst>
        </pc:spChg>
        <pc:spChg chg="add del mod">
          <ac:chgData name="Kebba Jeng" userId="fe4cc296-ba7d-48a2-8799-89b58d218255" providerId="ADAL" clId="{388EFDEE-447E-42B4-98EF-30C01AB2E8CD}" dt="2022-03-28T18:32:42.990" v="2973"/>
          <ac:spMkLst>
            <pc:docMk/>
            <pc:sldMk cId="3057876422" sldId="1879256067"/>
            <ac:spMk id="1531" creationId="{0A00CB1D-60C0-4D0D-93F9-E6CF276C1C98}"/>
          </ac:spMkLst>
        </pc:spChg>
        <pc:spChg chg="add del mod">
          <ac:chgData name="Kebba Jeng" userId="fe4cc296-ba7d-48a2-8799-89b58d218255" providerId="ADAL" clId="{388EFDEE-447E-42B4-98EF-30C01AB2E8CD}" dt="2022-03-28T18:32:42.990" v="2973"/>
          <ac:spMkLst>
            <pc:docMk/>
            <pc:sldMk cId="3057876422" sldId="1879256067"/>
            <ac:spMk id="1532" creationId="{0060381A-A7D4-4FB1-9140-072564F8BDF3}"/>
          </ac:spMkLst>
        </pc:spChg>
        <pc:spChg chg="add del mod">
          <ac:chgData name="Kebba Jeng" userId="fe4cc296-ba7d-48a2-8799-89b58d218255" providerId="ADAL" clId="{388EFDEE-447E-42B4-98EF-30C01AB2E8CD}" dt="2022-03-28T18:32:42.990" v="2973"/>
          <ac:spMkLst>
            <pc:docMk/>
            <pc:sldMk cId="3057876422" sldId="1879256067"/>
            <ac:spMk id="1533" creationId="{324DABE4-47FB-465B-9ED9-40DD8C6C66EC}"/>
          </ac:spMkLst>
        </pc:spChg>
        <pc:spChg chg="add del mod">
          <ac:chgData name="Kebba Jeng" userId="fe4cc296-ba7d-48a2-8799-89b58d218255" providerId="ADAL" clId="{388EFDEE-447E-42B4-98EF-30C01AB2E8CD}" dt="2022-03-28T18:32:42.990" v="2973"/>
          <ac:spMkLst>
            <pc:docMk/>
            <pc:sldMk cId="3057876422" sldId="1879256067"/>
            <ac:spMk id="1534" creationId="{AEB91B0F-B792-4AD5-A347-D85B89C8A0DD}"/>
          </ac:spMkLst>
        </pc:spChg>
        <pc:spChg chg="add del mod">
          <ac:chgData name="Kebba Jeng" userId="fe4cc296-ba7d-48a2-8799-89b58d218255" providerId="ADAL" clId="{388EFDEE-447E-42B4-98EF-30C01AB2E8CD}" dt="2022-03-28T18:32:42.990" v="2973"/>
          <ac:spMkLst>
            <pc:docMk/>
            <pc:sldMk cId="3057876422" sldId="1879256067"/>
            <ac:spMk id="1535" creationId="{49E5ADA5-4608-4918-B4F9-F31BD425E4F9}"/>
          </ac:spMkLst>
        </pc:spChg>
        <pc:spChg chg="add del mod">
          <ac:chgData name="Kebba Jeng" userId="fe4cc296-ba7d-48a2-8799-89b58d218255" providerId="ADAL" clId="{388EFDEE-447E-42B4-98EF-30C01AB2E8CD}" dt="2022-03-28T18:32:42.990" v="2973"/>
          <ac:spMkLst>
            <pc:docMk/>
            <pc:sldMk cId="3057876422" sldId="1879256067"/>
            <ac:spMk id="1536" creationId="{D1142BDB-7DB6-4037-A130-A051A95AC504}"/>
          </ac:spMkLst>
        </pc:spChg>
        <pc:spChg chg="add del mod">
          <ac:chgData name="Kebba Jeng" userId="fe4cc296-ba7d-48a2-8799-89b58d218255" providerId="ADAL" clId="{388EFDEE-447E-42B4-98EF-30C01AB2E8CD}" dt="2022-03-28T18:32:42.990" v="2973"/>
          <ac:spMkLst>
            <pc:docMk/>
            <pc:sldMk cId="3057876422" sldId="1879256067"/>
            <ac:spMk id="1537" creationId="{3DD0E26F-FBFD-45D9-8004-4B83A4F0CB50}"/>
          </ac:spMkLst>
        </pc:spChg>
        <pc:spChg chg="add del mod">
          <ac:chgData name="Kebba Jeng" userId="fe4cc296-ba7d-48a2-8799-89b58d218255" providerId="ADAL" clId="{388EFDEE-447E-42B4-98EF-30C01AB2E8CD}" dt="2022-03-28T18:32:42.990" v="2973"/>
          <ac:spMkLst>
            <pc:docMk/>
            <pc:sldMk cId="3057876422" sldId="1879256067"/>
            <ac:spMk id="1538" creationId="{237323BA-73C6-4028-9825-C29895B29907}"/>
          </ac:spMkLst>
        </pc:spChg>
        <pc:spChg chg="add del mod">
          <ac:chgData name="Kebba Jeng" userId="fe4cc296-ba7d-48a2-8799-89b58d218255" providerId="ADAL" clId="{388EFDEE-447E-42B4-98EF-30C01AB2E8CD}" dt="2022-03-28T18:32:42.990" v="2973"/>
          <ac:spMkLst>
            <pc:docMk/>
            <pc:sldMk cId="3057876422" sldId="1879256067"/>
            <ac:spMk id="1539" creationId="{B04CA81E-5FEA-4B78-97FE-32CE87CA1670}"/>
          </ac:spMkLst>
        </pc:spChg>
        <pc:spChg chg="add del mod">
          <ac:chgData name="Kebba Jeng" userId="fe4cc296-ba7d-48a2-8799-89b58d218255" providerId="ADAL" clId="{388EFDEE-447E-42B4-98EF-30C01AB2E8CD}" dt="2022-03-28T18:32:42.990" v="2973"/>
          <ac:spMkLst>
            <pc:docMk/>
            <pc:sldMk cId="3057876422" sldId="1879256067"/>
            <ac:spMk id="1540" creationId="{11168359-2E8D-49AA-8E85-5DC66293F3BD}"/>
          </ac:spMkLst>
        </pc:spChg>
        <pc:spChg chg="add del mod">
          <ac:chgData name="Kebba Jeng" userId="fe4cc296-ba7d-48a2-8799-89b58d218255" providerId="ADAL" clId="{388EFDEE-447E-42B4-98EF-30C01AB2E8CD}" dt="2022-03-28T18:32:42.990" v="2973"/>
          <ac:spMkLst>
            <pc:docMk/>
            <pc:sldMk cId="3057876422" sldId="1879256067"/>
            <ac:spMk id="1541" creationId="{C96FDDBB-58E4-406F-B03D-D5EEF3A1C9E8}"/>
          </ac:spMkLst>
        </pc:spChg>
        <pc:spChg chg="add del mod">
          <ac:chgData name="Kebba Jeng" userId="fe4cc296-ba7d-48a2-8799-89b58d218255" providerId="ADAL" clId="{388EFDEE-447E-42B4-98EF-30C01AB2E8CD}" dt="2022-03-28T18:32:42.990" v="2973"/>
          <ac:spMkLst>
            <pc:docMk/>
            <pc:sldMk cId="3057876422" sldId="1879256067"/>
            <ac:spMk id="1542" creationId="{ECE1328C-E3BC-4EC3-B509-2A052FABBA32}"/>
          </ac:spMkLst>
        </pc:spChg>
        <pc:spChg chg="add del mod">
          <ac:chgData name="Kebba Jeng" userId="fe4cc296-ba7d-48a2-8799-89b58d218255" providerId="ADAL" clId="{388EFDEE-447E-42B4-98EF-30C01AB2E8CD}" dt="2022-03-28T18:32:42.990" v="2973"/>
          <ac:spMkLst>
            <pc:docMk/>
            <pc:sldMk cId="3057876422" sldId="1879256067"/>
            <ac:spMk id="1543" creationId="{F44D9173-CA17-492B-B959-44ED026AED44}"/>
          </ac:spMkLst>
        </pc:spChg>
        <pc:spChg chg="add del mod">
          <ac:chgData name="Kebba Jeng" userId="fe4cc296-ba7d-48a2-8799-89b58d218255" providerId="ADAL" clId="{388EFDEE-447E-42B4-98EF-30C01AB2E8CD}" dt="2022-03-28T18:32:42.990" v="2973"/>
          <ac:spMkLst>
            <pc:docMk/>
            <pc:sldMk cId="3057876422" sldId="1879256067"/>
            <ac:spMk id="1544" creationId="{53AFEE23-0261-403F-8D61-6EBE51A4F4AD}"/>
          </ac:spMkLst>
        </pc:spChg>
        <pc:spChg chg="add del mod">
          <ac:chgData name="Kebba Jeng" userId="fe4cc296-ba7d-48a2-8799-89b58d218255" providerId="ADAL" clId="{388EFDEE-447E-42B4-98EF-30C01AB2E8CD}" dt="2022-03-28T18:32:42.990" v="2973"/>
          <ac:spMkLst>
            <pc:docMk/>
            <pc:sldMk cId="3057876422" sldId="1879256067"/>
            <ac:spMk id="1545" creationId="{65E46F3F-CC12-4121-A18A-606761EEA490}"/>
          </ac:spMkLst>
        </pc:spChg>
        <pc:spChg chg="add del mod">
          <ac:chgData name="Kebba Jeng" userId="fe4cc296-ba7d-48a2-8799-89b58d218255" providerId="ADAL" clId="{388EFDEE-447E-42B4-98EF-30C01AB2E8CD}" dt="2022-03-28T18:32:42.990" v="2973"/>
          <ac:spMkLst>
            <pc:docMk/>
            <pc:sldMk cId="3057876422" sldId="1879256067"/>
            <ac:spMk id="1546" creationId="{815396C7-220D-4126-9F6E-A8E1BDDD930C}"/>
          </ac:spMkLst>
        </pc:spChg>
        <pc:spChg chg="add del mod">
          <ac:chgData name="Kebba Jeng" userId="fe4cc296-ba7d-48a2-8799-89b58d218255" providerId="ADAL" clId="{388EFDEE-447E-42B4-98EF-30C01AB2E8CD}" dt="2022-03-28T18:32:42.990" v="2973"/>
          <ac:spMkLst>
            <pc:docMk/>
            <pc:sldMk cId="3057876422" sldId="1879256067"/>
            <ac:spMk id="1547" creationId="{BF7B9215-9768-46FE-851B-36D915E85BDC}"/>
          </ac:spMkLst>
        </pc:spChg>
        <pc:spChg chg="add del mod">
          <ac:chgData name="Kebba Jeng" userId="fe4cc296-ba7d-48a2-8799-89b58d218255" providerId="ADAL" clId="{388EFDEE-447E-42B4-98EF-30C01AB2E8CD}" dt="2022-03-28T18:32:42.990" v="2973"/>
          <ac:spMkLst>
            <pc:docMk/>
            <pc:sldMk cId="3057876422" sldId="1879256067"/>
            <ac:spMk id="1548" creationId="{2D986272-2124-46A3-ACA9-32385E01A25A}"/>
          </ac:spMkLst>
        </pc:spChg>
        <pc:spChg chg="add del mod">
          <ac:chgData name="Kebba Jeng" userId="fe4cc296-ba7d-48a2-8799-89b58d218255" providerId="ADAL" clId="{388EFDEE-447E-42B4-98EF-30C01AB2E8CD}" dt="2022-03-28T18:32:42.990" v="2973"/>
          <ac:spMkLst>
            <pc:docMk/>
            <pc:sldMk cId="3057876422" sldId="1879256067"/>
            <ac:spMk id="1549" creationId="{8C920569-E461-4960-A86A-0C92FC204C94}"/>
          </ac:spMkLst>
        </pc:spChg>
        <pc:spChg chg="add del mod">
          <ac:chgData name="Kebba Jeng" userId="fe4cc296-ba7d-48a2-8799-89b58d218255" providerId="ADAL" clId="{388EFDEE-447E-42B4-98EF-30C01AB2E8CD}" dt="2022-03-28T18:32:42.990" v="2973"/>
          <ac:spMkLst>
            <pc:docMk/>
            <pc:sldMk cId="3057876422" sldId="1879256067"/>
            <ac:spMk id="1550" creationId="{8B96B22B-B6D0-494E-85FE-FE6C334542BC}"/>
          </ac:spMkLst>
        </pc:spChg>
        <pc:spChg chg="add del mod">
          <ac:chgData name="Kebba Jeng" userId="fe4cc296-ba7d-48a2-8799-89b58d218255" providerId="ADAL" clId="{388EFDEE-447E-42B4-98EF-30C01AB2E8CD}" dt="2022-03-28T18:32:42.990" v="2973"/>
          <ac:spMkLst>
            <pc:docMk/>
            <pc:sldMk cId="3057876422" sldId="1879256067"/>
            <ac:spMk id="1551" creationId="{2DD96490-E49B-4371-913F-ADE0B6515B10}"/>
          </ac:spMkLst>
        </pc:spChg>
        <pc:spChg chg="add del mod">
          <ac:chgData name="Kebba Jeng" userId="fe4cc296-ba7d-48a2-8799-89b58d218255" providerId="ADAL" clId="{388EFDEE-447E-42B4-98EF-30C01AB2E8CD}" dt="2022-03-28T18:32:42.990" v="2973"/>
          <ac:spMkLst>
            <pc:docMk/>
            <pc:sldMk cId="3057876422" sldId="1879256067"/>
            <ac:spMk id="1552" creationId="{8E652E5A-7377-4309-9584-7376D99AADB0}"/>
          </ac:spMkLst>
        </pc:spChg>
        <pc:spChg chg="add del mod">
          <ac:chgData name="Kebba Jeng" userId="fe4cc296-ba7d-48a2-8799-89b58d218255" providerId="ADAL" clId="{388EFDEE-447E-42B4-98EF-30C01AB2E8CD}" dt="2022-03-28T18:32:42.990" v="2973"/>
          <ac:spMkLst>
            <pc:docMk/>
            <pc:sldMk cId="3057876422" sldId="1879256067"/>
            <ac:spMk id="1553" creationId="{CE00176A-DF1A-409B-AF63-410A337B4BEC}"/>
          </ac:spMkLst>
        </pc:spChg>
        <pc:spChg chg="add del mod">
          <ac:chgData name="Kebba Jeng" userId="fe4cc296-ba7d-48a2-8799-89b58d218255" providerId="ADAL" clId="{388EFDEE-447E-42B4-98EF-30C01AB2E8CD}" dt="2022-03-28T18:32:42.990" v="2973"/>
          <ac:spMkLst>
            <pc:docMk/>
            <pc:sldMk cId="3057876422" sldId="1879256067"/>
            <ac:spMk id="1554" creationId="{8A154041-F15F-4E4B-B535-7B58E717927E}"/>
          </ac:spMkLst>
        </pc:spChg>
        <pc:spChg chg="add del mod">
          <ac:chgData name="Kebba Jeng" userId="fe4cc296-ba7d-48a2-8799-89b58d218255" providerId="ADAL" clId="{388EFDEE-447E-42B4-98EF-30C01AB2E8CD}" dt="2022-03-28T18:32:42.990" v="2973"/>
          <ac:spMkLst>
            <pc:docMk/>
            <pc:sldMk cId="3057876422" sldId="1879256067"/>
            <ac:spMk id="1555" creationId="{E48F30F4-F2EF-423C-B6AF-FB67E5E991CF}"/>
          </ac:spMkLst>
        </pc:spChg>
        <pc:spChg chg="add del mod">
          <ac:chgData name="Kebba Jeng" userId="fe4cc296-ba7d-48a2-8799-89b58d218255" providerId="ADAL" clId="{388EFDEE-447E-42B4-98EF-30C01AB2E8CD}" dt="2022-03-28T18:32:42.990" v="2973"/>
          <ac:spMkLst>
            <pc:docMk/>
            <pc:sldMk cId="3057876422" sldId="1879256067"/>
            <ac:spMk id="1556" creationId="{166AFC71-DEC2-4ED6-A084-D9149D68C1B6}"/>
          </ac:spMkLst>
        </pc:spChg>
        <pc:spChg chg="add del mod">
          <ac:chgData name="Kebba Jeng" userId="fe4cc296-ba7d-48a2-8799-89b58d218255" providerId="ADAL" clId="{388EFDEE-447E-42B4-98EF-30C01AB2E8CD}" dt="2022-03-28T18:32:42.990" v="2973"/>
          <ac:spMkLst>
            <pc:docMk/>
            <pc:sldMk cId="3057876422" sldId="1879256067"/>
            <ac:spMk id="1557" creationId="{A1E5B110-4BF9-4D10-878E-62A512E3F567}"/>
          </ac:spMkLst>
        </pc:spChg>
        <pc:spChg chg="add del mod">
          <ac:chgData name="Kebba Jeng" userId="fe4cc296-ba7d-48a2-8799-89b58d218255" providerId="ADAL" clId="{388EFDEE-447E-42B4-98EF-30C01AB2E8CD}" dt="2022-03-28T18:32:42.990" v="2973"/>
          <ac:spMkLst>
            <pc:docMk/>
            <pc:sldMk cId="3057876422" sldId="1879256067"/>
            <ac:spMk id="1558" creationId="{485499EE-FC08-457B-868A-380C7E963FE3}"/>
          </ac:spMkLst>
        </pc:spChg>
        <pc:spChg chg="add del mod">
          <ac:chgData name="Kebba Jeng" userId="fe4cc296-ba7d-48a2-8799-89b58d218255" providerId="ADAL" clId="{388EFDEE-447E-42B4-98EF-30C01AB2E8CD}" dt="2022-03-28T18:32:42.990" v="2973"/>
          <ac:spMkLst>
            <pc:docMk/>
            <pc:sldMk cId="3057876422" sldId="1879256067"/>
            <ac:spMk id="1559" creationId="{95A8EDA1-325D-4743-AA17-A5CAF649D2C9}"/>
          </ac:spMkLst>
        </pc:spChg>
        <pc:spChg chg="add del mod">
          <ac:chgData name="Kebba Jeng" userId="fe4cc296-ba7d-48a2-8799-89b58d218255" providerId="ADAL" clId="{388EFDEE-447E-42B4-98EF-30C01AB2E8CD}" dt="2022-03-28T18:32:42.990" v="2973"/>
          <ac:spMkLst>
            <pc:docMk/>
            <pc:sldMk cId="3057876422" sldId="1879256067"/>
            <ac:spMk id="1560" creationId="{E519EF8B-36E6-4E72-82DE-35DAB6256135}"/>
          </ac:spMkLst>
        </pc:spChg>
        <pc:spChg chg="add del mod">
          <ac:chgData name="Kebba Jeng" userId="fe4cc296-ba7d-48a2-8799-89b58d218255" providerId="ADAL" clId="{388EFDEE-447E-42B4-98EF-30C01AB2E8CD}" dt="2022-03-28T18:32:42.990" v="2973"/>
          <ac:spMkLst>
            <pc:docMk/>
            <pc:sldMk cId="3057876422" sldId="1879256067"/>
            <ac:spMk id="1561" creationId="{FADB796E-D4FF-4EA3-A999-30F05940324D}"/>
          </ac:spMkLst>
        </pc:spChg>
        <pc:spChg chg="add del mod">
          <ac:chgData name="Kebba Jeng" userId="fe4cc296-ba7d-48a2-8799-89b58d218255" providerId="ADAL" clId="{388EFDEE-447E-42B4-98EF-30C01AB2E8CD}" dt="2022-03-28T18:32:42.990" v="2973"/>
          <ac:spMkLst>
            <pc:docMk/>
            <pc:sldMk cId="3057876422" sldId="1879256067"/>
            <ac:spMk id="1562" creationId="{F3D93794-E2A2-43EA-92B5-5597A34D107F}"/>
          </ac:spMkLst>
        </pc:spChg>
        <pc:spChg chg="add del mod">
          <ac:chgData name="Kebba Jeng" userId="fe4cc296-ba7d-48a2-8799-89b58d218255" providerId="ADAL" clId="{388EFDEE-447E-42B4-98EF-30C01AB2E8CD}" dt="2022-03-28T18:32:42.990" v="2973"/>
          <ac:spMkLst>
            <pc:docMk/>
            <pc:sldMk cId="3057876422" sldId="1879256067"/>
            <ac:spMk id="1563" creationId="{2B3BFD18-A195-4239-A9B7-23CC26B1EBC4}"/>
          </ac:spMkLst>
        </pc:spChg>
        <pc:spChg chg="add del mod">
          <ac:chgData name="Kebba Jeng" userId="fe4cc296-ba7d-48a2-8799-89b58d218255" providerId="ADAL" clId="{388EFDEE-447E-42B4-98EF-30C01AB2E8CD}" dt="2022-03-28T18:32:42.990" v="2973"/>
          <ac:spMkLst>
            <pc:docMk/>
            <pc:sldMk cId="3057876422" sldId="1879256067"/>
            <ac:spMk id="1564" creationId="{BA6E0D20-3094-44A8-8832-E94B3E796063}"/>
          </ac:spMkLst>
        </pc:spChg>
        <pc:spChg chg="add del mod">
          <ac:chgData name="Kebba Jeng" userId="fe4cc296-ba7d-48a2-8799-89b58d218255" providerId="ADAL" clId="{388EFDEE-447E-42B4-98EF-30C01AB2E8CD}" dt="2022-03-28T18:32:49.873" v="2977"/>
          <ac:spMkLst>
            <pc:docMk/>
            <pc:sldMk cId="3057876422" sldId="1879256067"/>
            <ac:spMk id="1565" creationId="{D293926F-D25E-4FAA-8E9F-7AA2345E33DC}"/>
          </ac:spMkLst>
        </pc:spChg>
        <pc:spChg chg="add del mod">
          <ac:chgData name="Kebba Jeng" userId="fe4cc296-ba7d-48a2-8799-89b58d218255" providerId="ADAL" clId="{388EFDEE-447E-42B4-98EF-30C01AB2E8CD}" dt="2022-03-28T18:32:49.873" v="2977"/>
          <ac:spMkLst>
            <pc:docMk/>
            <pc:sldMk cId="3057876422" sldId="1879256067"/>
            <ac:spMk id="1566" creationId="{BE5A8D86-4EE1-419A-9D9D-FB5EBE820C64}"/>
          </ac:spMkLst>
        </pc:spChg>
        <pc:spChg chg="add del mod">
          <ac:chgData name="Kebba Jeng" userId="fe4cc296-ba7d-48a2-8799-89b58d218255" providerId="ADAL" clId="{388EFDEE-447E-42B4-98EF-30C01AB2E8CD}" dt="2022-03-28T18:32:49.873" v="2977"/>
          <ac:spMkLst>
            <pc:docMk/>
            <pc:sldMk cId="3057876422" sldId="1879256067"/>
            <ac:spMk id="1567" creationId="{3E0C27E8-9C2F-43F4-A0E6-60FA412C4B85}"/>
          </ac:spMkLst>
        </pc:spChg>
        <pc:spChg chg="add del mod">
          <ac:chgData name="Kebba Jeng" userId="fe4cc296-ba7d-48a2-8799-89b58d218255" providerId="ADAL" clId="{388EFDEE-447E-42B4-98EF-30C01AB2E8CD}" dt="2022-03-28T18:32:49.873" v="2977"/>
          <ac:spMkLst>
            <pc:docMk/>
            <pc:sldMk cId="3057876422" sldId="1879256067"/>
            <ac:spMk id="1568" creationId="{CBF7C8E6-C98C-49C4-A4F7-6CF7B3A2A42D}"/>
          </ac:spMkLst>
        </pc:spChg>
        <pc:spChg chg="add del mod">
          <ac:chgData name="Kebba Jeng" userId="fe4cc296-ba7d-48a2-8799-89b58d218255" providerId="ADAL" clId="{388EFDEE-447E-42B4-98EF-30C01AB2E8CD}" dt="2022-03-28T18:32:49.873" v="2977"/>
          <ac:spMkLst>
            <pc:docMk/>
            <pc:sldMk cId="3057876422" sldId="1879256067"/>
            <ac:spMk id="1569" creationId="{3FA35F09-98E5-43E6-9F6F-0D9146DC6A0B}"/>
          </ac:spMkLst>
        </pc:spChg>
        <pc:spChg chg="add del mod">
          <ac:chgData name="Kebba Jeng" userId="fe4cc296-ba7d-48a2-8799-89b58d218255" providerId="ADAL" clId="{388EFDEE-447E-42B4-98EF-30C01AB2E8CD}" dt="2022-03-28T18:32:49.873" v="2977"/>
          <ac:spMkLst>
            <pc:docMk/>
            <pc:sldMk cId="3057876422" sldId="1879256067"/>
            <ac:spMk id="1570" creationId="{D1B4AD4F-C297-4536-8E23-79F0B40B1E79}"/>
          </ac:spMkLst>
        </pc:spChg>
        <pc:spChg chg="add del mod">
          <ac:chgData name="Kebba Jeng" userId="fe4cc296-ba7d-48a2-8799-89b58d218255" providerId="ADAL" clId="{388EFDEE-447E-42B4-98EF-30C01AB2E8CD}" dt="2022-03-28T18:32:49.873" v="2977"/>
          <ac:spMkLst>
            <pc:docMk/>
            <pc:sldMk cId="3057876422" sldId="1879256067"/>
            <ac:spMk id="1571" creationId="{543B10B1-C839-4A54-871F-F769AA2171B3}"/>
          </ac:spMkLst>
        </pc:spChg>
        <pc:spChg chg="add del mod">
          <ac:chgData name="Kebba Jeng" userId="fe4cc296-ba7d-48a2-8799-89b58d218255" providerId="ADAL" clId="{388EFDEE-447E-42B4-98EF-30C01AB2E8CD}" dt="2022-03-28T18:32:49.873" v="2977"/>
          <ac:spMkLst>
            <pc:docMk/>
            <pc:sldMk cId="3057876422" sldId="1879256067"/>
            <ac:spMk id="1572" creationId="{D83CB5A9-D4ED-4B7D-858B-BCC680984762}"/>
          </ac:spMkLst>
        </pc:spChg>
        <pc:spChg chg="add del mod">
          <ac:chgData name="Kebba Jeng" userId="fe4cc296-ba7d-48a2-8799-89b58d218255" providerId="ADAL" clId="{388EFDEE-447E-42B4-98EF-30C01AB2E8CD}" dt="2022-03-28T18:32:49.873" v="2977"/>
          <ac:spMkLst>
            <pc:docMk/>
            <pc:sldMk cId="3057876422" sldId="1879256067"/>
            <ac:spMk id="1573" creationId="{7340F179-F763-4522-8D7F-0349A025C9AD}"/>
          </ac:spMkLst>
        </pc:spChg>
        <pc:spChg chg="add del mod">
          <ac:chgData name="Kebba Jeng" userId="fe4cc296-ba7d-48a2-8799-89b58d218255" providerId="ADAL" clId="{388EFDEE-447E-42B4-98EF-30C01AB2E8CD}" dt="2022-03-28T18:32:49.873" v="2977"/>
          <ac:spMkLst>
            <pc:docMk/>
            <pc:sldMk cId="3057876422" sldId="1879256067"/>
            <ac:spMk id="1574" creationId="{18D8BE86-3B32-4D63-B2F7-563F84CA9F55}"/>
          </ac:spMkLst>
        </pc:spChg>
        <pc:spChg chg="add del mod">
          <ac:chgData name="Kebba Jeng" userId="fe4cc296-ba7d-48a2-8799-89b58d218255" providerId="ADAL" clId="{388EFDEE-447E-42B4-98EF-30C01AB2E8CD}" dt="2022-03-28T18:32:49.873" v="2977"/>
          <ac:spMkLst>
            <pc:docMk/>
            <pc:sldMk cId="3057876422" sldId="1879256067"/>
            <ac:spMk id="1575" creationId="{E46582EE-17CA-4D22-8AE0-0AFC83A49A9A}"/>
          </ac:spMkLst>
        </pc:spChg>
        <pc:spChg chg="add del mod">
          <ac:chgData name="Kebba Jeng" userId="fe4cc296-ba7d-48a2-8799-89b58d218255" providerId="ADAL" clId="{388EFDEE-447E-42B4-98EF-30C01AB2E8CD}" dt="2022-03-28T18:32:49.873" v="2977"/>
          <ac:spMkLst>
            <pc:docMk/>
            <pc:sldMk cId="3057876422" sldId="1879256067"/>
            <ac:spMk id="1576" creationId="{76D4A0A4-E441-4372-9F43-5E1DDFDC47A3}"/>
          </ac:spMkLst>
        </pc:spChg>
        <pc:spChg chg="add del mod">
          <ac:chgData name="Kebba Jeng" userId="fe4cc296-ba7d-48a2-8799-89b58d218255" providerId="ADAL" clId="{388EFDEE-447E-42B4-98EF-30C01AB2E8CD}" dt="2022-03-28T18:32:49.873" v="2977"/>
          <ac:spMkLst>
            <pc:docMk/>
            <pc:sldMk cId="3057876422" sldId="1879256067"/>
            <ac:spMk id="1577" creationId="{8B231AE6-3676-4DC7-B241-7B0B110D8F01}"/>
          </ac:spMkLst>
        </pc:spChg>
        <pc:spChg chg="add del mod">
          <ac:chgData name="Kebba Jeng" userId="fe4cc296-ba7d-48a2-8799-89b58d218255" providerId="ADAL" clId="{388EFDEE-447E-42B4-98EF-30C01AB2E8CD}" dt="2022-03-28T18:32:49.873" v="2977"/>
          <ac:spMkLst>
            <pc:docMk/>
            <pc:sldMk cId="3057876422" sldId="1879256067"/>
            <ac:spMk id="1578" creationId="{4EB28F5C-E63F-4A27-BFC0-3B71EBE2E775}"/>
          </ac:spMkLst>
        </pc:spChg>
        <pc:spChg chg="add del mod">
          <ac:chgData name="Kebba Jeng" userId="fe4cc296-ba7d-48a2-8799-89b58d218255" providerId="ADAL" clId="{388EFDEE-447E-42B4-98EF-30C01AB2E8CD}" dt="2022-03-28T18:32:49.873" v="2977"/>
          <ac:spMkLst>
            <pc:docMk/>
            <pc:sldMk cId="3057876422" sldId="1879256067"/>
            <ac:spMk id="1579" creationId="{9D380962-D0C6-4F6A-A232-5A32A4F3687C}"/>
          </ac:spMkLst>
        </pc:spChg>
        <pc:spChg chg="add del mod">
          <ac:chgData name="Kebba Jeng" userId="fe4cc296-ba7d-48a2-8799-89b58d218255" providerId="ADAL" clId="{388EFDEE-447E-42B4-98EF-30C01AB2E8CD}" dt="2022-03-28T18:32:49.873" v="2977"/>
          <ac:spMkLst>
            <pc:docMk/>
            <pc:sldMk cId="3057876422" sldId="1879256067"/>
            <ac:spMk id="1580" creationId="{2EFA207E-758E-4501-B232-46164D5F3C5A}"/>
          </ac:spMkLst>
        </pc:spChg>
        <pc:spChg chg="add del mod">
          <ac:chgData name="Kebba Jeng" userId="fe4cc296-ba7d-48a2-8799-89b58d218255" providerId="ADAL" clId="{388EFDEE-447E-42B4-98EF-30C01AB2E8CD}" dt="2022-03-28T18:32:49.873" v="2977"/>
          <ac:spMkLst>
            <pc:docMk/>
            <pc:sldMk cId="3057876422" sldId="1879256067"/>
            <ac:spMk id="1581" creationId="{082ED656-1379-487E-A5D1-7BFE8E2D5514}"/>
          </ac:spMkLst>
        </pc:spChg>
        <pc:spChg chg="add del mod">
          <ac:chgData name="Kebba Jeng" userId="fe4cc296-ba7d-48a2-8799-89b58d218255" providerId="ADAL" clId="{388EFDEE-447E-42B4-98EF-30C01AB2E8CD}" dt="2022-03-28T18:32:49.873" v="2977"/>
          <ac:spMkLst>
            <pc:docMk/>
            <pc:sldMk cId="3057876422" sldId="1879256067"/>
            <ac:spMk id="1582" creationId="{FFF71530-44C3-413D-98E9-D657BDB10BD3}"/>
          </ac:spMkLst>
        </pc:spChg>
        <pc:spChg chg="add del mod">
          <ac:chgData name="Kebba Jeng" userId="fe4cc296-ba7d-48a2-8799-89b58d218255" providerId="ADAL" clId="{388EFDEE-447E-42B4-98EF-30C01AB2E8CD}" dt="2022-03-28T18:32:49.873" v="2977"/>
          <ac:spMkLst>
            <pc:docMk/>
            <pc:sldMk cId="3057876422" sldId="1879256067"/>
            <ac:spMk id="1583" creationId="{A35CE230-D8F1-494B-9793-E7B8F9143017}"/>
          </ac:spMkLst>
        </pc:spChg>
        <pc:spChg chg="add del mod">
          <ac:chgData name="Kebba Jeng" userId="fe4cc296-ba7d-48a2-8799-89b58d218255" providerId="ADAL" clId="{388EFDEE-447E-42B4-98EF-30C01AB2E8CD}" dt="2022-03-28T18:32:49.873" v="2977"/>
          <ac:spMkLst>
            <pc:docMk/>
            <pc:sldMk cId="3057876422" sldId="1879256067"/>
            <ac:spMk id="1584" creationId="{440C49F1-9559-43C0-9BB7-A6696A6FB1C2}"/>
          </ac:spMkLst>
        </pc:spChg>
        <pc:spChg chg="add del mod">
          <ac:chgData name="Kebba Jeng" userId="fe4cc296-ba7d-48a2-8799-89b58d218255" providerId="ADAL" clId="{388EFDEE-447E-42B4-98EF-30C01AB2E8CD}" dt="2022-03-28T18:32:49.873" v="2977"/>
          <ac:spMkLst>
            <pc:docMk/>
            <pc:sldMk cId="3057876422" sldId="1879256067"/>
            <ac:spMk id="1585" creationId="{6E89AFEA-E290-4F8C-B9C4-37A004BBC246}"/>
          </ac:spMkLst>
        </pc:spChg>
        <pc:spChg chg="add del mod">
          <ac:chgData name="Kebba Jeng" userId="fe4cc296-ba7d-48a2-8799-89b58d218255" providerId="ADAL" clId="{388EFDEE-447E-42B4-98EF-30C01AB2E8CD}" dt="2022-03-28T18:32:49.873" v="2977"/>
          <ac:spMkLst>
            <pc:docMk/>
            <pc:sldMk cId="3057876422" sldId="1879256067"/>
            <ac:spMk id="1586" creationId="{6CCC1AE9-3CA2-4DAB-919C-3368F968D58A}"/>
          </ac:spMkLst>
        </pc:spChg>
        <pc:spChg chg="add del mod">
          <ac:chgData name="Kebba Jeng" userId="fe4cc296-ba7d-48a2-8799-89b58d218255" providerId="ADAL" clId="{388EFDEE-447E-42B4-98EF-30C01AB2E8CD}" dt="2022-03-28T18:32:49.873" v="2977"/>
          <ac:spMkLst>
            <pc:docMk/>
            <pc:sldMk cId="3057876422" sldId="1879256067"/>
            <ac:spMk id="1587" creationId="{E129E190-D636-4829-8D2A-B24FF14D53D1}"/>
          </ac:spMkLst>
        </pc:spChg>
        <pc:spChg chg="add del mod">
          <ac:chgData name="Kebba Jeng" userId="fe4cc296-ba7d-48a2-8799-89b58d218255" providerId="ADAL" clId="{388EFDEE-447E-42B4-98EF-30C01AB2E8CD}" dt="2022-03-28T18:32:49.873" v="2977"/>
          <ac:spMkLst>
            <pc:docMk/>
            <pc:sldMk cId="3057876422" sldId="1879256067"/>
            <ac:spMk id="1588" creationId="{267CA85F-93ED-41B0-A560-F8799EBFAA6C}"/>
          </ac:spMkLst>
        </pc:spChg>
        <pc:spChg chg="add del mod">
          <ac:chgData name="Kebba Jeng" userId="fe4cc296-ba7d-48a2-8799-89b58d218255" providerId="ADAL" clId="{388EFDEE-447E-42B4-98EF-30C01AB2E8CD}" dt="2022-03-28T18:32:49.873" v="2977"/>
          <ac:spMkLst>
            <pc:docMk/>
            <pc:sldMk cId="3057876422" sldId="1879256067"/>
            <ac:spMk id="1589" creationId="{674E28AB-BD37-4719-8BB9-C05248D6CA2D}"/>
          </ac:spMkLst>
        </pc:spChg>
        <pc:spChg chg="add del mod">
          <ac:chgData name="Kebba Jeng" userId="fe4cc296-ba7d-48a2-8799-89b58d218255" providerId="ADAL" clId="{388EFDEE-447E-42B4-98EF-30C01AB2E8CD}" dt="2022-03-28T18:32:49.873" v="2977"/>
          <ac:spMkLst>
            <pc:docMk/>
            <pc:sldMk cId="3057876422" sldId="1879256067"/>
            <ac:spMk id="1590" creationId="{7B567621-1087-4F66-AEEF-087A1529CBDC}"/>
          </ac:spMkLst>
        </pc:spChg>
        <pc:spChg chg="add del mod">
          <ac:chgData name="Kebba Jeng" userId="fe4cc296-ba7d-48a2-8799-89b58d218255" providerId="ADAL" clId="{388EFDEE-447E-42B4-98EF-30C01AB2E8CD}" dt="2022-03-28T18:32:49.873" v="2977"/>
          <ac:spMkLst>
            <pc:docMk/>
            <pc:sldMk cId="3057876422" sldId="1879256067"/>
            <ac:spMk id="1591" creationId="{F5378AEE-D03A-441C-9009-9D8847DB2F1B}"/>
          </ac:spMkLst>
        </pc:spChg>
        <pc:spChg chg="add del mod">
          <ac:chgData name="Kebba Jeng" userId="fe4cc296-ba7d-48a2-8799-89b58d218255" providerId="ADAL" clId="{388EFDEE-447E-42B4-98EF-30C01AB2E8CD}" dt="2022-03-28T18:32:49.873" v="2977"/>
          <ac:spMkLst>
            <pc:docMk/>
            <pc:sldMk cId="3057876422" sldId="1879256067"/>
            <ac:spMk id="1592" creationId="{D9439EAD-1183-4B2F-9FBE-757AEC76166D}"/>
          </ac:spMkLst>
        </pc:spChg>
        <pc:spChg chg="add del mod">
          <ac:chgData name="Kebba Jeng" userId="fe4cc296-ba7d-48a2-8799-89b58d218255" providerId="ADAL" clId="{388EFDEE-447E-42B4-98EF-30C01AB2E8CD}" dt="2022-03-28T18:32:49.873" v="2977"/>
          <ac:spMkLst>
            <pc:docMk/>
            <pc:sldMk cId="3057876422" sldId="1879256067"/>
            <ac:spMk id="1593" creationId="{4C9188E0-37A5-4C9B-9733-029FF8AA0BE7}"/>
          </ac:spMkLst>
        </pc:spChg>
        <pc:spChg chg="add del mod">
          <ac:chgData name="Kebba Jeng" userId="fe4cc296-ba7d-48a2-8799-89b58d218255" providerId="ADAL" clId="{388EFDEE-447E-42B4-98EF-30C01AB2E8CD}" dt="2022-03-28T18:32:49.873" v="2977"/>
          <ac:spMkLst>
            <pc:docMk/>
            <pc:sldMk cId="3057876422" sldId="1879256067"/>
            <ac:spMk id="1594" creationId="{08AB18F9-B0BB-4A90-9CFC-2AE0CB349C21}"/>
          </ac:spMkLst>
        </pc:spChg>
        <pc:spChg chg="add del mod">
          <ac:chgData name="Kebba Jeng" userId="fe4cc296-ba7d-48a2-8799-89b58d218255" providerId="ADAL" clId="{388EFDEE-447E-42B4-98EF-30C01AB2E8CD}" dt="2022-03-28T18:32:49.873" v="2977"/>
          <ac:spMkLst>
            <pc:docMk/>
            <pc:sldMk cId="3057876422" sldId="1879256067"/>
            <ac:spMk id="1595" creationId="{B32D0D60-471A-4242-87A9-964CE33C0C83}"/>
          </ac:spMkLst>
        </pc:spChg>
        <pc:spChg chg="add del mod">
          <ac:chgData name="Kebba Jeng" userId="fe4cc296-ba7d-48a2-8799-89b58d218255" providerId="ADAL" clId="{388EFDEE-447E-42B4-98EF-30C01AB2E8CD}" dt="2022-03-28T18:32:49.873" v="2977"/>
          <ac:spMkLst>
            <pc:docMk/>
            <pc:sldMk cId="3057876422" sldId="1879256067"/>
            <ac:spMk id="1596" creationId="{0ACB0673-F44A-43AF-B51F-1DF05FEC5800}"/>
          </ac:spMkLst>
        </pc:spChg>
        <pc:spChg chg="add del mod">
          <ac:chgData name="Kebba Jeng" userId="fe4cc296-ba7d-48a2-8799-89b58d218255" providerId="ADAL" clId="{388EFDEE-447E-42B4-98EF-30C01AB2E8CD}" dt="2022-03-28T18:32:49.873" v="2977"/>
          <ac:spMkLst>
            <pc:docMk/>
            <pc:sldMk cId="3057876422" sldId="1879256067"/>
            <ac:spMk id="1597" creationId="{FE66F305-EBE2-4441-8495-20B125B81B5B}"/>
          </ac:spMkLst>
        </pc:spChg>
        <pc:spChg chg="add del mod">
          <ac:chgData name="Kebba Jeng" userId="fe4cc296-ba7d-48a2-8799-89b58d218255" providerId="ADAL" clId="{388EFDEE-447E-42B4-98EF-30C01AB2E8CD}" dt="2022-03-28T18:32:49.873" v="2977"/>
          <ac:spMkLst>
            <pc:docMk/>
            <pc:sldMk cId="3057876422" sldId="1879256067"/>
            <ac:spMk id="1598" creationId="{8D4F38DA-982F-4CB9-B51D-32FA41DF280B}"/>
          </ac:spMkLst>
        </pc:spChg>
        <pc:spChg chg="add del mod">
          <ac:chgData name="Kebba Jeng" userId="fe4cc296-ba7d-48a2-8799-89b58d218255" providerId="ADAL" clId="{388EFDEE-447E-42B4-98EF-30C01AB2E8CD}" dt="2022-03-28T18:32:49.873" v="2977"/>
          <ac:spMkLst>
            <pc:docMk/>
            <pc:sldMk cId="3057876422" sldId="1879256067"/>
            <ac:spMk id="1599" creationId="{63B992CF-2896-4278-A5C1-D2CA3F623B57}"/>
          </ac:spMkLst>
        </pc:spChg>
        <pc:spChg chg="add del mod">
          <ac:chgData name="Kebba Jeng" userId="fe4cc296-ba7d-48a2-8799-89b58d218255" providerId="ADAL" clId="{388EFDEE-447E-42B4-98EF-30C01AB2E8CD}" dt="2022-03-28T18:32:49.873" v="2977"/>
          <ac:spMkLst>
            <pc:docMk/>
            <pc:sldMk cId="3057876422" sldId="1879256067"/>
            <ac:spMk id="1600" creationId="{3C165634-46A3-4EE8-B8E4-C1AEF237EFA1}"/>
          </ac:spMkLst>
        </pc:spChg>
        <pc:spChg chg="add del mod">
          <ac:chgData name="Kebba Jeng" userId="fe4cc296-ba7d-48a2-8799-89b58d218255" providerId="ADAL" clId="{388EFDEE-447E-42B4-98EF-30C01AB2E8CD}" dt="2022-03-28T18:32:49.873" v="2977"/>
          <ac:spMkLst>
            <pc:docMk/>
            <pc:sldMk cId="3057876422" sldId="1879256067"/>
            <ac:spMk id="1601" creationId="{5A435F25-78B0-44C7-BF45-E1926D0BA412}"/>
          </ac:spMkLst>
        </pc:spChg>
        <pc:spChg chg="add del mod">
          <ac:chgData name="Kebba Jeng" userId="fe4cc296-ba7d-48a2-8799-89b58d218255" providerId="ADAL" clId="{388EFDEE-447E-42B4-98EF-30C01AB2E8CD}" dt="2022-03-28T18:32:49.873" v="2977"/>
          <ac:spMkLst>
            <pc:docMk/>
            <pc:sldMk cId="3057876422" sldId="1879256067"/>
            <ac:spMk id="1602" creationId="{98359D08-33B8-41E5-8504-9C0448304778}"/>
          </ac:spMkLst>
        </pc:spChg>
        <pc:spChg chg="add del mod">
          <ac:chgData name="Kebba Jeng" userId="fe4cc296-ba7d-48a2-8799-89b58d218255" providerId="ADAL" clId="{388EFDEE-447E-42B4-98EF-30C01AB2E8CD}" dt="2022-03-28T18:32:49.873" v="2977"/>
          <ac:spMkLst>
            <pc:docMk/>
            <pc:sldMk cId="3057876422" sldId="1879256067"/>
            <ac:spMk id="1603" creationId="{6B9593CD-338B-488D-97C4-270120F0FA94}"/>
          </ac:spMkLst>
        </pc:spChg>
        <pc:spChg chg="add del mod">
          <ac:chgData name="Kebba Jeng" userId="fe4cc296-ba7d-48a2-8799-89b58d218255" providerId="ADAL" clId="{388EFDEE-447E-42B4-98EF-30C01AB2E8CD}" dt="2022-03-28T18:32:49.873" v="2977"/>
          <ac:spMkLst>
            <pc:docMk/>
            <pc:sldMk cId="3057876422" sldId="1879256067"/>
            <ac:spMk id="1604" creationId="{BB2B1904-517B-45D8-9279-70C9A19859F1}"/>
          </ac:spMkLst>
        </pc:spChg>
        <pc:spChg chg="add del mod">
          <ac:chgData name="Kebba Jeng" userId="fe4cc296-ba7d-48a2-8799-89b58d218255" providerId="ADAL" clId="{388EFDEE-447E-42B4-98EF-30C01AB2E8CD}" dt="2022-03-28T18:32:49.873" v="2977"/>
          <ac:spMkLst>
            <pc:docMk/>
            <pc:sldMk cId="3057876422" sldId="1879256067"/>
            <ac:spMk id="1605" creationId="{C6352897-0EC5-4BC7-9DF0-21D6191D63E0}"/>
          </ac:spMkLst>
        </pc:spChg>
        <pc:spChg chg="add del mod">
          <ac:chgData name="Kebba Jeng" userId="fe4cc296-ba7d-48a2-8799-89b58d218255" providerId="ADAL" clId="{388EFDEE-447E-42B4-98EF-30C01AB2E8CD}" dt="2022-03-28T18:32:49.873" v="2977"/>
          <ac:spMkLst>
            <pc:docMk/>
            <pc:sldMk cId="3057876422" sldId="1879256067"/>
            <ac:spMk id="1606" creationId="{540B8AE1-C594-4194-AB11-C14131962D90}"/>
          </ac:spMkLst>
        </pc:spChg>
        <pc:spChg chg="add del mod">
          <ac:chgData name="Kebba Jeng" userId="fe4cc296-ba7d-48a2-8799-89b58d218255" providerId="ADAL" clId="{388EFDEE-447E-42B4-98EF-30C01AB2E8CD}" dt="2022-03-28T18:32:49.873" v="2977"/>
          <ac:spMkLst>
            <pc:docMk/>
            <pc:sldMk cId="3057876422" sldId="1879256067"/>
            <ac:spMk id="1607" creationId="{D2CA0271-B86E-45FE-BE76-4F17FC0AC35E}"/>
          </ac:spMkLst>
        </pc:spChg>
        <pc:spChg chg="add del mod">
          <ac:chgData name="Kebba Jeng" userId="fe4cc296-ba7d-48a2-8799-89b58d218255" providerId="ADAL" clId="{388EFDEE-447E-42B4-98EF-30C01AB2E8CD}" dt="2022-03-28T18:32:49.873" v="2977"/>
          <ac:spMkLst>
            <pc:docMk/>
            <pc:sldMk cId="3057876422" sldId="1879256067"/>
            <ac:spMk id="1608" creationId="{54834E7A-A51D-43D1-8491-96128B08DC82}"/>
          </ac:spMkLst>
        </pc:spChg>
        <pc:spChg chg="add del mod">
          <ac:chgData name="Kebba Jeng" userId="fe4cc296-ba7d-48a2-8799-89b58d218255" providerId="ADAL" clId="{388EFDEE-447E-42B4-98EF-30C01AB2E8CD}" dt="2022-03-28T18:32:49.873" v="2977"/>
          <ac:spMkLst>
            <pc:docMk/>
            <pc:sldMk cId="3057876422" sldId="1879256067"/>
            <ac:spMk id="1609" creationId="{A07D7234-F029-447A-8FB0-50BD529FE4C0}"/>
          </ac:spMkLst>
        </pc:spChg>
        <pc:spChg chg="add del mod">
          <ac:chgData name="Kebba Jeng" userId="fe4cc296-ba7d-48a2-8799-89b58d218255" providerId="ADAL" clId="{388EFDEE-447E-42B4-98EF-30C01AB2E8CD}" dt="2022-03-28T18:32:49.873" v="2977"/>
          <ac:spMkLst>
            <pc:docMk/>
            <pc:sldMk cId="3057876422" sldId="1879256067"/>
            <ac:spMk id="1610" creationId="{5C8F49EB-0EC4-49E8-A46F-0F23009B3651}"/>
          </ac:spMkLst>
        </pc:spChg>
        <pc:spChg chg="add del mod">
          <ac:chgData name="Kebba Jeng" userId="fe4cc296-ba7d-48a2-8799-89b58d218255" providerId="ADAL" clId="{388EFDEE-447E-42B4-98EF-30C01AB2E8CD}" dt="2022-03-28T18:32:49.873" v="2977"/>
          <ac:spMkLst>
            <pc:docMk/>
            <pc:sldMk cId="3057876422" sldId="1879256067"/>
            <ac:spMk id="1611" creationId="{616569C0-6B82-4C20-AC58-0E0807B54C22}"/>
          </ac:spMkLst>
        </pc:spChg>
        <pc:spChg chg="add del mod">
          <ac:chgData name="Kebba Jeng" userId="fe4cc296-ba7d-48a2-8799-89b58d218255" providerId="ADAL" clId="{388EFDEE-447E-42B4-98EF-30C01AB2E8CD}" dt="2022-03-28T18:32:49.873" v="2977"/>
          <ac:spMkLst>
            <pc:docMk/>
            <pc:sldMk cId="3057876422" sldId="1879256067"/>
            <ac:spMk id="1612" creationId="{B8C58CBA-A9CD-44C4-AFD8-D6F3861BD2D3}"/>
          </ac:spMkLst>
        </pc:spChg>
        <pc:spChg chg="add del mod">
          <ac:chgData name="Kebba Jeng" userId="fe4cc296-ba7d-48a2-8799-89b58d218255" providerId="ADAL" clId="{388EFDEE-447E-42B4-98EF-30C01AB2E8CD}" dt="2022-03-28T18:32:49.873" v="2977"/>
          <ac:spMkLst>
            <pc:docMk/>
            <pc:sldMk cId="3057876422" sldId="1879256067"/>
            <ac:spMk id="1613" creationId="{722DC07F-B386-42A8-AE41-91452C286126}"/>
          </ac:spMkLst>
        </pc:spChg>
        <pc:spChg chg="add del mod">
          <ac:chgData name="Kebba Jeng" userId="fe4cc296-ba7d-48a2-8799-89b58d218255" providerId="ADAL" clId="{388EFDEE-447E-42B4-98EF-30C01AB2E8CD}" dt="2022-03-28T18:32:49.873" v="2977"/>
          <ac:spMkLst>
            <pc:docMk/>
            <pc:sldMk cId="3057876422" sldId="1879256067"/>
            <ac:spMk id="1614" creationId="{48999C2C-742B-4C23-B3A6-81D34F92546E}"/>
          </ac:spMkLst>
        </pc:spChg>
        <pc:spChg chg="add del mod">
          <ac:chgData name="Kebba Jeng" userId="fe4cc296-ba7d-48a2-8799-89b58d218255" providerId="ADAL" clId="{388EFDEE-447E-42B4-98EF-30C01AB2E8CD}" dt="2022-03-28T18:32:49.873" v="2977"/>
          <ac:spMkLst>
            <pc:docMk/>
            <pc:sldMk cId="3057876422" sldId="1879256067"/>
            <ac:spMk id="1615" creationId="{BF9C21F2-5B73-4D75-8F1C-4552EBF39F93}"/>
          </ac:spMkLst>
        </pc:spChg>
        <pc:spChg chg="add del mod">
          <ac:chgData name="Kebba Jeng" userId="fe4cc296-ba7d-48a2-8799-89b58d218255" providerId="ADAL" clId="{388EFDEE-447E-42B4-98EF-30C01AB2E8CD}" dt="2022-03-28T18:32:49.873" v="2977"/>
          <ac:spMkLst>
            <pc:docMk/>
            <pc:sldMk cId="3057876422" sldId="1879256067"/>
            <ac:spMk id="1616" creationId="{6732F70E-0C3E-410B-B55E-A57ED3F15C7F}"/>
          </ac:spMkLst>
        </pc:spChg>
        <pc:spChg chg="add del mod">
          <ac:chgData name="Kebba Jeng" userId="fe4cc296-ba7d-48a2-8799-89b58d218255" providerId="ADAL" clId="{388EFDEE-447E-42B4-98EF-30C01AB2E8CD}" dt="2022-03-28T18:32:49.873" v="2977"/>
          <ac:spMkLst>
            <pc:docMk/>
            <pc:sldMk cId="3057876422" sldId="1879256067"/>
            <ac:spMk id="1617" creationId="{15961B95-FE7A-471E-BF03-D028569F9BBC}"/>
          </ac:spMkLst>
        </pc:spChg>
        <pc:spChg chg="add del mod">
          <ac:chgData name="Kebba Jeng" userId="fe4cc296-ba7d-48a2-8799-89b58d218255" providerId="ADAL" clId="{388EFDEE-447E-42B4-98EF-30C01AB2E8CD}" dt="2022-03-28T18:32:49.873" v="2977"/>
          <ac:spMkLst>
            <pc:docMk/>
            <pc:sldMk cId="3057876422" sldId="1879256067"/>
            <ac:spMk id="1618" creationId="{5C644820-C795-496E-AF1D-B8AB70E12B54}"/>
          </ac:spMkLst>
        </pc:spChg>
        <pc:spChg chg="add del mod">
          <ac:chgData name="Kebba Jeng" userId="fe4cc296-ba7d-48a2-8799-89b58d218255" providerId="ADAL" clId="{388EFDEE-447E-42B4-98EF-30C01AB2E8CD}" dt="2022-03-28T18:32:49.873" v="2977"/>
          <ac:spMkLst>
            <pc:docMk/>
            <pc:sldMk cId="3057876422" sldId="1879256067"/>
            <ac:spMk id="1619" creationId="{87704A8E-4CB5-44EA-81F8-48391DF2B8EE}"/>
          </ac:spMkLst>
        </pc:spChg>
        <pc:spChg chg="add del mod">
          <ac:chgData name="Kebba Jeng" userId="fe4cc296-ba7d-48a2-8799-89b58d218255" providerId="ADAL" clId="{388EFDEE-447E-42B4-98EF-30C01AB2E8CD}" dt="2022-03-28T18:32:49.873" v="2977"/>
          <ac:spMkLst>
            <pc:docMk/>
            <pc:sldMk cId="3057876422" sldId="1879256067"/>
            <ac:spMk id="1620" creationId="{A3E36DC3-5650-4729-BA1D-016424AE3A2F}"/>
          </ac:spMkLst>
        </pc:spChg>
        <pc:spChg chg="add del mod">
          <ac:chgData name="Kebba Jeng" userId="fe4cc296-ba7d-48a2-8799-89b58d218255" providerId="ADAL" clId="{388EFDEE-447E-42B4-98EF-30C01AB2E8CD}" dt="2022-03-28T18:32:49.873" v="2977"/>
          <ac:spMkLst>
            <pc:docMk/>
            <pc:sldMk cId="3057876422" sldId="1879256067"/>
            <ac:spMk id="1621" creationId="{4B5BD081-3017-4128-8F6F-E561BBB450FB}"/>
          </ac:spMkLst>
        </pc:spChg>
        <pc:spChg chg="add del mod">
          <ac:chgData name="Kebba Jeng" userId="fe4cc296-ba7d-48a2-8799-89b58d218255" providerId="ADAL" clId="{388EFDEE-447E-42B4-98EF-30C01AB2E8CD}" dt="2022-03-28T18:32:49.873" v="2977"/>
          <ac:spMkLst>
            <pc:docMk/>
            <pc:sldMk cId="3057876422" sldId="1879256067"/>
            <ac:spMk id="1622" creationId="{9B7C2D82-44BF-48C7-AD0C-ABC2C8152828}"/>
          </ac:spMkLst>
        </pc:spChg>
        <pc:spChg chg="add del mod">
          <ac:chgData name="Kebba Jeng" userId="fe4cc296-ba7d-48a2-8799-89b58d218255" providerId="ADAL" clId="{388EFDEE-447E-42B4-98EF-30C01AB2E8CD}" dt="2022-03-28T18:32:49.873" v="2977"/>
          <ac:spMkLst>
            <pc:docMk/>
            <pc:sldMk cId="3057876422" sldId="1879256067"/>
            <ac:spMk id="1623" creationId="{2F66307B-E720-4FF5-8DEC-C563D0F29268}"/>
          </ac:spMkLst>
        </pc:spChg>
        <pc:spChg chg="add del mod">
          <ac:chgData name="Kebba Jeng" userId="fe4cc296-ba7d-48a2-8799-89b58d218255" providerId="ADAL" clId="{388EFDEE-447E-42B4-98EF-30C01AB2E8CD}" dt="2022-03-28T18:32:49.873" v="2977"/>
          <ac:spMkLst>
            <pc:docMk/>
            <pc:sldMk cId="3057876422" sldId="1879256067"/>
            <ac:spMk id="1624" creationId="{599E322E-83A5-4D21-9402-3633BDB19A9F}"/>
          </ac:spMkLst>
        </pc:spChg>
        <pc:spChg chg="add del mod">
          <ac:chgData name="Kebba Jeng" userId="fe4cc296-ba7d-48a2-8799-89b58d218255" providerId="ADAL" clId="{388EFDEE-447E-42B4-98EF-30C01AB2E8CD}" dt="2022-03-28T18:32:49.873" v="2977"/>
          <ac:spMkLst>
            <pc:docMk/>
            <pc:sldMk cId="3057876422" sldId="1879256067"/>
            <ac:spMk id="1625" creationId="{8E90C4B6-7979-473E-93D5-27B51A087E28}"/>
          </ac:spMkLst>
        </pc:spChg>
        <pc:spChg chg="add del mod">
          <ac:chgData name="Kebba Jeng" userId="fe4cc296-ba7d-48a2-8799-89b58d218255" providerId="ADAL" clId="{388EFDEE-447E-42B4-98EF-30C01AB2E8CD}" dt="2022-03-28T18:32:49.873" v="2977"/>
          <ac:spMkLst>
            <pc:docMk/>
            <pc:sldMk cId="3057876422" sldId="1879256067"/>
            <ac:spMk id="1626" creationId="{CAC40932-3FC9-4C05-869B-20684F9E8BDB}"/>
          </ac:spMkLst>
        </pc:spChg>
        <pc:spChg chg="add del mod">
          <ac:chgData name="Kebba Jeng" userId="fe4cc296-ba7d-48a2-8799-89b58d218255" providerId="ADAL" clId="{388EFDEE-447E-42B4-98EF-30C01AB2E8CD}" dt="2022-03-28T18:32:49.873" v="2977"/>
          <ac:spMkLst>
            <pc:docMk/>
            <pc:sldMk cId="3057876422" sldId="1879256067"/>
            <ac:spMk id="1627" creationId="{AEBC3DC5-823E-4A1B-87DB-50D9FC429658}"/>
          </ac:spMkLst>
        </pc:spChg>
        <pc:spChg chg="add del mod">
          <ac:chgData name="Kebba Jeng" userId="fe4cc296-ba7d-48a2-8799-89b58d218255" providerId="ADAL" clId="{388EFDEE-447E-42B4-98EF-30C01AB2E8CD}" dt="2022-03-28T18:32:49.873" v="2977"/>
          <ac:spMkLst>
            <pc:docMk/>
            <pc:sldMk cId="3057876422" sldId="1879256067"/>
            <ac:spMk id="1628" creationId="{643CBC3F-3BAE-4398-8FA8-4F8F98EA2F3F}"/>
          </ac:spMkLst>
        </pc:spChg>
        <pc:spChg chg="add del mod">
          <ac:chgData name="Kebba Jeng" userId="fe4cc296-ba7d-48a2-8799-89b58d218255" providerId="ADAL" clId="{388EFDEE-447E-42B4-98EF-30C01AB2E8CD}" dt="2022-03-28T18:32:49.873" v="2977"/>
          <ac:spMkLst>
            <pc:docMk/>
            <pc:sldMk cId="3057876422" sldId="1879256067"/>
            <ac:spMk id="1629" creationId="{F523C95B-1C9D-4C2B-841A-FBAF4123BEBB}"/>
          </ac:spMkLst>
        </pc:spChg>
        <pc:spChg chg="add del mod">
          <ac:chgData name="Kebba Jeng" userId="fe4cc296-ba7d-48a2-8799-89b58d218255" providerId="ADAL" clId="{388EFDEE-447E-42B4-98EF-30C01AB2E8CD}" dt="2022-03-28T18:32:49.873" v="2977"/>
          <ac:spMkLst>
            <pc:docMk/>
            <pc:sldMk cId="3057876422" sldId="1879256067"/>
            <ac:spMk id="1630" creationId="{822A0F3A-D4E4-4082-A8AC-FF3C135F496A}"/>
          </ac:spMkLst>
        </pc:spChg>
        <pc:spChg chg="add del mod">
          <ac:chgData name="Kebba Jeng" userId="fe4cc296-ba7d-48a2-8799-89b58d218255" providerId="ADAL" clId="{388EFDEE-447E-42B4-98EF-30C01AB2E8CD}" dt="2022-03-28T18:32:49.873" v="2977"/>
          <ac:spMkLst>
            <pc:docMk/>
            <pc:sldMk cId="3057876422" sldId="1879256067"/>
            <ac:spMk id="1631" creationId="{79FC24E0-D199-4E85-8324-2B1E4857EC3D}"/>
          </ac:spMkLst>
        </pc:spChg>
        <pc:spChg chg="add del mod">
          <ac:chgData name="Kebba Jeng" userId="fe4cc296-ba7d-48a2-8799-89b58d218255" providerId="ADAL" clId="{388EFDEE-447E-42B4-98EF-30C01AB2E8CD}" dt="2022-03-28T18:32:49.873" v="2977"/>
          <ac:spMkLst>
            <pc:docMk/>
            <pc:sldMk cId="3057876422" sldId="1879256067"/>
            <ac:spMk id="1632" creationId="{15C057F3-569C-4A0B-847B-0C68B91C7F70}"/>
          </ac:spMkLst>
        </pc:spChg>
        <pc:spChg chg="add del mod">
          <ac:chgData name="Kebba Jeng" userId="fe4cc296-ba7d-48a2-8799-89b58d218255" providerId="ADAL" clId="{388EFDEE-447E-42B4-98EF-30C01AB2E8CD}" dt="2022-03-28T18:32:49.873" v="2977"/>
          <ac:spMkLst>
            <pc:docMk/>
            <pc:sldMk cId="3057876422" sldId="1879256067"/>
            <ac:spMk id="1633" creationId="{41632FBF-E45E-46CA-8C53-50A42DE61CA0}"/>
          </ac:spMkLst>
        </pc:spChg>
        <pc:spChg chg="add del mod">
          <ac:chgData name="Kebba Jeng" userId="fe4cc296-ba7d-48a2-8799-89b58d218255" providerId="ADAL" clId="{388EFDEE-447E-42B4-98EF-30C01AB2E8CD}" dt="2022-03-28T18:32:49.873" v="2977"/>
          <ac:spMkLst>
            <pc:docMk/>
            <pc:sldMk cId="3057876422" sldId="1879256067"/>
            <ac:spMk id="1634" creationId="{5CB43687-1730-41BE-8013-720C18E2BAAB}"/>
          </ac:spMkLst>
        </pc:spChg>
        <pc:spChg chg="add del mod">
          <ac:chgData name="Kebba Jeng" userId="fe4cc296-ba7d-48a2-8799-89b58d218255" providerId="ADAL" clId="{388EFDEE-447E-42B4-98EF-30C01AB2E8CD}" dt="2022-03-28T18:32:49.873" v="2977"/>
          <ac:spMkLst>
            <pc:docMk/>
            <pc:sldMk cId="3057876422" sldId="1879256067"/>
            <ac:spMk id="1635" creationId="{6E2E56E5-A7A1-4846-8780-31BAADC850F4}"/>
          </ac:spMkLst>
        </pc:spChg>
        <pc:spChg chg="add del mod">
          <ac:chgData name="Kebba Jeng" userId="fe4cc296-ba7d-48a2-8799-89b58d218255" providerId="ADAL" clId="{388EFDEE-447E-42B4-98EF-30C01AB2E8CD}" dt="2022-03-28T18:32:49.873" v="2977"/>
          <ac:spMkLst>
            <pc:docMk/>
            <pc:sldMk cId="3057876422" sldId="1879256067"/>
            <ac:spMk id="1636" creationId="{CCAFF437-6E53-4749-AA14-9E83BD0ED1DF}"/>
          </ac:spMkLst>
        </pc:spChg>
        <pc:spChg chg="add del mod">
          <ac:chgData name="Kebba Jeng" userId="fe4cc296-ba7d-48a2-8799-89b58d218255" providerId="ADAL" clId="{388EFDEE-447E-42B4-98EF-30C01AB2E8CD}" dt="2022-03-28T18:32:49.873" v="2977"/>
          <ac:spMkLst>
            <pc:docMk/>
            <pc:sldMk cId="3057876422" sldId="1879256067"/>
            <ac:spMk id="1637" creationId="{A0473C9F-7E81-4827-BC3C-08049A1280E4}"/>
          </ac:spMkLst>
        </pc:spChg>
        <pc:spChg chg="add del mod">
          <ac:chgData name="Kebba Jeng" userId="fe4cc296-ba7d-48a2-8799-89b58d218255" providerId="ADAL" clId="{388EFDEE-447E-42B4-98EF-30C01AB2E8CD}" dt="2022-03-28T18:32:49.873" v="2977"/>
          <ac:spMkLst>
            <pc:docMk/>
            <pc:sldMk cId="3057876422" sldId="1879256067"/>
            <ac:spMk id="1638" creationId="{7CB8CA9E-6C3B-43B5-A74D-59BFBFA0CA17}"/>
          </ac:spMkLst>
        </pc:spChg>
        <pc:spChg chg="add del mod">
          <ac:chgData name="Kebba Jeng" userId="fe4cc296-ba7d-48a2-8799-89b58d218255" providerId="ADAL" clId="{388EFDEE-447E-42B4-98EF-30C01AB2E8CD}" dt="2022-03-28T18:32:49.873" v="2977"/>
          <ac:spMkLst>
            <pc:docMk/>
            <pc:sldMk cId="3057876422" sldId="1879256067"/>
            <ac:spMk id="1639" creationId="{98DFABB1-4F5C-4CA9-9444-967E842FC02C}"/>
          </ac:spMkLst>
        </pc:spChg>
        <pc:spChg chg="add del mod">
          <ac:chgData name="Kebba Jeng" userId="fe4cc296-ba7d-48a2-8799-89b58d218255" providerId="ADAL" clId="{388EFDEE-447E-42B4-98EF-30C01AB2E8CD}" dt="2022-03-28T18:32:49.873" v="2977"/>
          <ac:spMkLst>
            <pc:docMk/>
            <pc:sldMk cId="3057876422" sldId="1879256067"/>
            <ac:spMk id="1640" creationId="{675E0311-0DC0-455C-9453-08829CBDA101}"/>
          </ac:spMkLst>
        </pc:spChg>
        <pc:spChg chg="add del mod">
          <ac:chgData name="Kebba Jeng" userId="fe4cc296-ba7d-48a2-8799-89b58d218255" providerId="ADAL" clId="{388EFDEE-447E-42B4-98EF-30C01AB2E8CD}" dt="2022-03-28T18:32:49.873" v="2977"/>
          <ac:spMkLst>
            <pc:docMk/>
            <pc:sldMk cId="3057876422" sldId="1879256067"/>
            <ac:spMk id="1641" creationId="{653FD1B7-15A5-49C8-8FE8-BF7E99F7195E}"/>
          </ac:spMkLst>
        </pc:spChg>
        <pc:spChg chg="add del mod">
          <ac:chgData name="Kebba Jeng" userId="fe4cc296-ba7d-48a2-8799-89b58d218255" providerId="ADAL" clId="{388EFDEE-447E-42B4-98EF-30C01AB2E8CD}" dt="2022-03-28T18:32:49.873" v="2977"/>
          <ac:spMkLst>
            <pc:docMk/>
            <pc:sldMk cId="3057876422" sldId="1879256067"/>
            <ac:spMk id="1642" creationId="{F1058F4B-D04E-4CE7-93AF-86982192B7B5}"/>
          </ac:spMkLst>
        </pc:spChg>
        <pc:spChg chg="add del mod">
          <ac:chgData name="Kebba Jeng" userId="fe4cc296-ba7d-48a2-8799-89b58d218255" providerId="ADAL" clId="{388EFDEE-447E-42B4-98EF-30C01AB2E8CD}" dt="2022-03-28T18:32:49.873" v="2977"/>
          <ac:spMkLst>
            <pc:docMk/>
            <pc:sldMk cId="3057876422" sldId="1879256067"/>
            <ac:spMk id="1643" creationId="{E1052741-ED17-42C2-AC95-471F470C585A}"/>
          </ac:spMkLst>
        </pc:spChg>
        <pc:spChg chg="add del mod">
          <ac:chgData name="Kebba Jeng" userId="fe4cc296-ba7d-48a2-8799-89b58d218255" providerId="ADAL" clId="{388EFDEE-447E-42B4-98EF-30C01AB2E8CD}" dt="2022-03-28T18:32:49.873" v="2977"/>
          <ac:spMkLst>
            <pc:docMk/>
            <pc:sldMk cId="3057876422" sldId="1879256067"/>
            <ac:spMk id="1644" creationId="{BBAE9B2C-B352-4F89-9A54-C0DAF74CD3D9}"/>
          </ac:spMkLst>
        </pc:spChg>
        <pc:spChg chg="add del mod">
          <ac:chgData name="Kebba Jeng" userId="fe4cc296-ba7d-48a2-8799-89b58d218255" providerId="ADAL" clId="{388EFDEE-447E-42B4-98EF-30C01AB2E8CD}" dt="2022-03-28T18:32:49.873" v="2977"/>
          <ac:spMkLst>
            <pc:docMk/>
            <pc:sldMk cId="3057876422" sldId="1879256067"/>
            <ac:spMk id="1645" creationId="{B49E7557-DE4C-47F1-9664-1990B9711530}"/>
          </ac:spMkLst>
        </pc:spChg>
        <pc:spChg chg="add del mod">
          <ac:chgData name="Kebba Jeng" userId="fe4cc296-ba7d-48a2-8799-89b58d218255" providerId="ADAL" clId="{388EFDEE-447E-42B4-98EF-30C01AB2E8CD}" dt="2022-03-28T18:32:49.873" v="2977"/>
          <ac:spMkLst>
            <pc:docMk/>
            <pc:sldMk cId="3057876422" sldId="1879256067"/>
            <ac:spMk id="1646" creationId="{DDDE5898-C514-4854-9CE1-6CC29FC57EC7}"/>
          </ac:spMkLst>
        </pc:spChg>
        <pc:spChg chg="add del mod">
          <ac:chgData name="Kebba Jeng" userId="fe4cc296-ba7d-48a2-8799-89b58d218255" providerId="ADAL" clId="{388EFDEE-447E-42B4-98EF-30C01AB2E8CD}" dt="2022-03-28T18:32:49.873" v="2977"/>
          <ac:spMkLst>
            <pc:docMk/>
            <pc:sldMk cId="3057876422" sldId="1879256067"/>
            <ac:spMk id="1647" creationId="{437238C0-625F-491F-A8BB-2D4513D9068C}"/>
          </ac:spMkLst>
        </pc:spChg>
        <pc:spChg chg="add del mod">
          <ac:chgData name="Kebba Jeng" userId="fe4cc296-ba7d-48a2-8799-89b58d218255" providerId="ADAL" clId="{388EFDEE-447E-42B4-98EF-30C01AB2E8CD}" dt="2022-03-28T18:32:49.873" v="2977"/>
          <ac:spMkLst>
            <pc:docMk/>
            <pc:sldMk cId="3057876422" sldId="1879256067"/>
            <ac:spMk id="1648" creationId="{49BAD074-4760-4930-8CEE-6611FF3361C1}"/>
          </ac:spMkLst>
        </pc:spChg>
        <pc:spChg chg="add del mod">
          <ac:chgData name="Kebba Jeng" userId="fe4cc296-ba7d-48a2-8799-89b58d218255" providerId="ADAL" clId="{388EFDEE-447E-42B4-98EF-30C01AB2E8CD}" dt="2022-03-28T18:32:49.873" v="2977"/>
          <ac:spMkLst>
            <pc:docMk/>
            <pc:sldMk cId="3057876422" sldId="1879256067"/>
            <ac:spMk id="1649" creationId="{5234E75E-ECFB-46EA-9DFB-9019C50077FC}"/>
          </ac:spMkLst>
        </pc:spChg>
        <pc:spChg chg="add del mod">
          <ac:chgData name="Kebba Jeng" userId="fe4cc296-ba7d-48a2-8799-89b58d218255" providerId="ADAL" clId="{388EFDEE-447E-42B4-98EF-30C01AB2E8CD}" dt="2022-03-28T18:32:49.873" v="2977"/>
          <ac:spMkLst>
            <pc:docMk/>
            <pc:sldMk cId="3057876422" sldId="1879256067"/>
            <ac:spMk id="1650" creationId="{4EA183CF-CDF9-4AB1-B533-EE13FF7A5683}"/>
          </ac:spMkLst>
        </pc:spChg>
        <pc:spChg chg="add del mod">
          <ac:chgData name="Kebba Jeng" userId="fe4cc296-ba7d-48a2-8799-89b58d218255" providerId="ADAL" clId="{388EFDEE-447E-42B4-98EF-30C01AB2E8CD}" dt="2022-03-28T18:32:49.873" v="2977"/>
          <ac:spMkLst>
            <pc:docMk/>
            <pc:sldMk cId="3057876422" sldId="1879256067"/>
            <ac:spMk id="1651" creationId="{E85429CD-4767-4F28-B629-626A07DA36E1}"/>
          </ac:spMkLst>
        </pc:spChg>
        <pc:spChg chg="add del mod">
          <ac:chgData name="Kebba Jeng" userId="fe4cc296-ba7d-48a2-8799-89b58d218255" providerId="ADAL" clId="{388EFDEE-447E-42B4-98EF-30C01AB2E8CD}" dt="2022-03-28T18:32:49.873" v="2977"/>
          <ac:spMkLst>
            <pc:docMk/>
            <pc:sldMk cId="3057876422" sldId="1879256067"/>
            <ac:spMk id="1652" creationId="{28EAF18F-BCBA-46CE-AFE1-5CDD8D4B3F97}"/>
          </ac:spMkLst>
        </pc:spChg>
        <pc:spChg chg="add del mod">
          <ac:chgData name="Kebba Jeng" userId="fe4cc296-ba7d-48a2-8799-89b58d218255" providerId="ADAL" clId="{388EFDEE-447E-42B4-98EF-30C01AB2E8CD}" dt="2022-03-28T18:32:49.873" v="2977"/>
          <ac:spMkLst>
            <pc:docMk/>
            <pc:sldMk cId="3057876422" sldId="1879256067"/>
            <ac:spMk id="1653" creationId="{ED7F8D64-022E-4998-99BE-B2E647634941}"/>
          </ac:spMkLst>
        </pc:spChg>
        <pc:spChg chg="add del mod">
          <ac:chgData name="Kebba Jeng" userId="fe4cc296-ba7d-48a2-8799-89b58d218255" providerId="ADAL" clId="{388EFDEE-447E-42B4-98EF-30C01AB2E8CD}" dt="2022-03-28T18:32:49.873" v="2977"/>
          <ac:spMkLst>
            <pc:docMk/>
            <pc:sldMk cId="3057876422" sldId="1879256067"/>
            <ac:spMk id="1654" creationId="{3E701A12-7FCF-4BD4-9623-1E46B104BC1F}"/>
          </ac:spMkLst>
        </pc:spChg>
        <pc:spChg chg="add del mod">
          <ac:chgData name="Kebba Jeng" userId="fe4cc296-ba7d-48a2-8799-89b58d218255" providerId="ADAL" clId="{388EFDEE-447E-42B4-98EF-30C01AB2E8CD}" dt="2022-03-28T18:32:49.873" v="2977"/>
          <ac:spMkLst>
            <pc:docMk/>
            <pc:sldMk cId="3057876422" sldId="1879256067"/>
            <ac:spMk id="1655" creationId="{EB2F632B-297C-498F-BCDF-3A32F38E5584}"/>
          </ac:spMkLst>
        </pc:spChg>
        <pc:spChg chg="add del mod">
          <ac:chgData name="Kebba Jeng" userId="fe4cc296-ba7d-48a2-8799-89b58d218255" providerId="ADAL" clId="{388EFDEE-447E-42B4-98EF-30C01AB2E8CD}" dt="2022-03-28T18:32:49.873" v="2977"/>
          <ac:spMkLst>
            <pc:docMk/>
            <pc:sldMk cId="3057876422" sldId="1879256067"/>
            <ac:spMk id="1656" creationId="{4FEA36AE-C5EB-4A7F-8B3F-DC24EF1FE03B}"/>
          </ac:spMkLst>
        </pc:spChg>
        <pc:spChg chg="add del mod">
          <ac:chgData name="Kebba Jeng" userId="fe4cc296-ba7d-48a2-8799-89b58d218255" providerId="ADAL" clId="{388EFDEE-447E-42B4-98EF-30C01AB2E8CD}" dt="2022-03-28T18:32:49.873" v="2977"/>
          <ac:spMkLst>
            <pc:docMk/>
            <pc:sldMk cId="3057876422" sldId="1879256067"/>
            <ac:spMk id="1657" creationId="{85F4EC37-5176-4200-B6DF-74F7686858A9}"/>
          </ac:spMkLst>
        </pc:spChg>
        <pc:spChg chg="add del mod">
          <ac:chgData name="Kebba Jeng" userId="fe4cc296-ba7d-48a2-8799-89b58d218255" providerId="ADAL" clId="{388EFDEE-447E-42B4-98EF-30C01AB2E8CD}" dt="2022-03-28T18:32:49.873" v="2977"/>
          <ac:spMkLst>
            <pc:docMk/>
            <pc:sldMk cId="3057876422" sldId="1879256067"/>
            <ac:spMk id="1658" creationId="{EE1E278A-9B81-4586-8D74-7C95C2081773}"/>
          </ac:spMkLst>
        </pc:spChg>
        <pc:spChg chg="add del mod">
          <ac:chgData name="Kebba Jeng" userId="fe4cc296-ba7d-48a2-8799-89b58d218255" providerId="ADAL" clId="{388EFDEE-447E-42B4-98EF-30C01AB2E8CD}" dt="2022-03-28T18:32:49.873" v="2977"/>
          <ac:spMkLst>
            <pc:docMk/>
            <pc:sldMk cId="3057876422" sldId="1879256067"/>
            <ac:spMk id="1659" creationId="{99FB9D5A-9BA8-43C9-8D34-007C06320E09}"/>
          </ac:spMkLst>
        </pc:spChg>
        <pc:spChg chg="add del mod">
          <ac:chgData name="Kebba Jeng" userId="fe4cc296-ba7d-48a2-8799-89b58d218255" providerId="ADAL" clId="{388EFDEE-447E-42B4-98EF-30C01AB2E8CD}" dt="2022-03-28T18:32:49.873" v="2977"/>
          <ac:spMkLst>
            <pc:docMk/>
            <pc:sldMk cId="3057876422" sldId="1879256067"/>
            <ac:spMk id="1660" creationId="{91E88BE9-6123-4EF4-ADBC-A4C853F5B55E}"/>
          </ac:spMkLst>
        </pc:spChg>
        <pc:spChg chg="add del mod">
          <ac:chgData name="Kebba Jeng" userId="fe4cc296-ba7d-48a2-8799-89b58d218255" providerId="ADAL" clId="{388EFDEE-447E-42B4-98EF-30C01AB2E8CD}" dt="2022-03-28T18:32:49.873" v="2977"/>
          <ac:spMkLst>
            <pc:docMk/>
            <pc:sldMk cId="3057876422" sldId="1879256067"/>
            <ac:spMk id="1661" creationId="{F1ED388E-549D-4576-85F1-AAEA7CE5CA7C}"/>
          </ac:spMkLst>
        </pc:spChg>
        <pc:spChg chg="add del mod">
          <ac:chgData name="Kebba Jeng" userId="fe4cc296-ba7d-48a2-8799-89b58d218255" providerId="ADAL" clId="{388EFDEE-447E-42B4-98EF-30C01AB2E8CD}" dt="2022-03-28T18:32:49.873" v="2977"/>
          <ac:spMkLst>
            <pc:docMk/>
            <pc:sldMk cId="3057876422" sldId="1879256067"/>
            <ac:spMk id="1662" creationId="{710FED02-D2DC-438E-9200-B5519910C782}"/>
          </ac:spMkLst>
        </pc:spChg>
        <pc:spChg chg="add del mod">
          <ac:chgData name="Kebba Jeng" userId="fe4cc296-ba7d-48a2-8799-89b58d218255" providerId="ADAL" clId="{388EFDEE-447E-42B4-98EF-30C01AB2E8CD}" dt="2022-03-28T18:32:49.873" v="2977"/>
          <ac:spMkLst>
            <pc:docMk/>
            <pc:sldMk cId="3057876422" sldId="1879256067"/>
            <ac:spMk id="1663" creationId="{0CDCCF73-28EB-4160-AAF9-DCFD0869DF8B}"/>
          </ac:spMkLst>
        </pc:spChg>
        <pc:spChg chg="add del mod">
          <ac:chgData name="Kebba Jeng" userId="fe4cc296-ba7d-48a2-8799-89b58d218255" providerId="ADAL" clId="{388EFDEE-447E-42B4-98EF-30C01AB2E8CD}" dt="2022-03-28T18:32:49.873" v="2977"/>
          <ac:spMkLst>
            <pc:docMk/>
            <pc:sldMk cId="3057876422" sldId="1879256067"/>
            <ac:spMk id="1664" creationId="{132CD41C-4011-4418-ACD7-6778C2E70D5E}"/>
          </ac:spMkLst>
        </pc:spChg>
        <pc:spChg chg="add del mod">
          <ac:chgData name="Kebba Jeng" userId="fe4cc296-ba7d-48a2-8799-89b58d218255" providerId="ADAL" clId="{388EFDEE-447E-42B4-98EF-30C01AB2E8CD}" dt="2022-03-28T18:32:49.873" v="2977"/>
          <ac:spMkLst>
            <pc:docMk/>
            <pc:sldMk cId="3057876422" sldId="1879256067"/>
            <ac:spMk id="1665" creationId="{9A4A982B-C34B-4C8C-BEED-26AE6CA9A544}"/>
          </ac:spMkLst>
        </pc:spChg>
        <pc:spChg chg="add del mod">
          <ac:chgData name="Kebba Jeng" userId="fe4cc296-ba7d-48a2-8799-89b58d218255" providerId="ADAL" clId="{388EFDEE-447E-42B4-98EF-30C01AB2E8CD}" dt="2022-03-28T18:32:49.873" v="2977"/>
          <ac:spMkLst>
            <pc:docMk/>
            <pc:sldMk cId="3057876422" sldId="1879256067"/>
            <ac:spMk id="1666" creationId="{6407F854-AB83-4F12-BFB2-AF038DD369D4}"/>
          </ac:spMkLst>
        </pc:spChg>
        <pc:spChg chg="add del mod">
          <ac:chgData name="Kebba Jeng" userId="fe4cc296-ba7d-48a2-8799-89b58d218255" providerId="ADAL" clId="{388EFDEE-447E-42B4-98EF-30C01AB2E8CD}" dt="2022-03-28T18:32:49.873" v="2977"/>
          <ac:spMkLst>
            <pc:docMk/>
            <pc:sldMk cId="3057876422" sldId="1879256067"/>
            <ac:spMk id="1667" creationId="{EF7F8D2F-EB8E-46E7-AD07-D31AAD008F8F}"/>
          </ac:spMkLst>
        </pc:spChg>
        <pc:spChg chg="add del mod">
          <ac:chgData name="Kebba Jeng" userId="fe4cc296-ba7d-48a2-8799-89b58d218255" providerId="ADAL" clId="{388EFDEE-447E-42B4-98EF-30C01AB2E8CD}" dt="2022-03-28T18:32:49.873" v="2977"/>
          <ac:spMkLst>
            <pc:docMk/>
            <pc:sldMk cId="3057876422" sldId="1879256067"/>
            <ac:spMk id="1668" creationId="{62B16F35-19AD-4767-A388-36AF45931079}"/>
          </ac:spMkLst>
        </pc:spChg>
        <pc:spChg chg="add del mod">
          <ac:chgData name="Kebba Jeng" userId="fe4cc296-ba7d-48a2-8799-89b58d218255" providerId="ADAL" clId="{388EFDEE-447E-42B4-98EF-30C01AB2E8CD}" dt="2022-03-28T18:32:49.873" v="2977"/>
          <ac:spMkLst>
            <pc:docMk/>
            <pc:sldMk cId="3057876422" sldId="1879256067"/>
            <ac:spMk id="1669" creationId="{CF43529F-2ABD-4D64-9CB0-FEF27D8E441D}"/>
          </ac:spMkLst>
        </pc:spChg>
        <pc:spChg chg="add del mod">
          <ac:chgData name="Kebba Jeng" userId="fe4cc296-ba7d-48a2-8799-89b58d218255" providerId="ADAL" clId="{388EFDEE-447E-42B4-98EF-30C01AB2E8CD}" dt="2022-03-28T18:32:49.873" v="2977"/>
          <ac:spMkLst>
            <pc:docMk/>
            <pc:sldMk cId="3057876422" sldId="1879256067"/>
            <ac:spMk id="1670" creationId="{214C7E2D-889A-4A05-953D-605527A74026}"/>
          </ac:spMkLst>
        </pc:spChg>
        <pc:spChg chg="add del mod">
          <ac:chgData name="Kebba Jeng" userId="fe4cc296-ba7d-48a2-8799-89b58d218255" providerId="ADAL" clId="{388EFDEE-447E-42B4-98EF-30C01AB2E8CD}" dt="2022-03-28T18:32:49.873" v="2977"/>
          <ac:spMkLst>
            <pc:docMk/>
            <pc:sldMk cId="3057876422" sldId="1879256067"/>
            <ac:spMk id="1671" creationId="{94E14E93-1311-4BE5-85CE-C6D0057110C3}"/>
          </ac:spMkLst>
        </pc:spChg>
        <pc:spChg chg="add del mod">
          <ac:chgData name="Kebba Jeng" userId="fe4cc296-ba7d-48a2-8799-89b58d218255" providerId="ADAL" clId="{388EFDEE-447E-42B4-98EF-30C01AB2E8CD}" dt="2022-03-28T18:32:49.873" v="2977"/>
          <ac:spMkLst>
            <pc:docMk/>
            <pc:sldMk cId="3057876422" sldId="1879256067"/>
            <ac:spMk id="1672" creationId="{01D0F58E-5443-4184-9F6C-7959D8F57626}"/>
          </ac:spMkLst>
        </pc:spChg>
        <pc:spChg chg="add del mod">
          <ac:chgData name="Kebba Jeng" userId="fe4cc296-ba7d-48a2-8799-89b58d218255" providerId="ADAL" clId="{388EFDEE-447E-42B4-98EF-30C01AB2E8CD}" dt="2022-03-28T18:32:49.873" v="2977"/>
          <ac:spMkLst>
            <pc:docMk/>
            <pc:sldMk cId="3057876422" sldId="1879256067"/>
            <ac:spMk id="1673" creationId="{359368E7-680B-4024-A845-E0001B541E4C}"/>
          </ac:spMkLst>
        </pc:spChg>
        <pc:spChg chg="add del mod">
          <ac:chgData name="Kebba Jeng" userId="fe4cc296-ba7d-48a2-8799-89b58d218255" providerId="ADAL" clId="{388EFDEE-447E-42B4-98EF-30C01AB2E8CD}" dt="2022-03-28T18:32:49.873" v="2977"/>
          <ac:spMkLst>
            <pc:docMk/>
            <pc:sldMk cId="3057876422" sldId="1879256067"/>
            <ac:spMk id="1674" creationId="{41AA4087-0EA2-4DB8-ABA0-93EFB8E6FAB9}"/>
          </ac:spMkLst>
        </pc:spChg>
        <pc:spChg chg="add del mod">
          <ac:chgData name="Kebba Jeng" userId="fe4cc296-ba7d-48a2-8799-89b58d218255" providerId="ADAL" clId="{388EFDEE-447E-42B4-98EF-30C01AB2E8CD}" dt="2022-03-28T18:32:49.873" v="2977"/>
          <ac:spMkLst>
            <pc:docMk/>
            <pc:sldMk cId="3057876422" sldId="1879256067"/>
            <ac:spMk id="1675" creationId="{B1E1F683-BA44-47A2-9387-E9DAC3D171AD}"/>
          </ac:spMkLst>
        </pc:spChg>
        <pc:spChg chg="add del mod">
          <ac:chgData name="Kebba Jeng" userId="fe4cc296-ba7d-48a2-8799-89b58d218255" providerId="ADAL" clId="{388EFDEE-447E-42B4-98EF-30C01AB2E8CD}" dt="2022-03-28T18:32:49.873" v="2977"/>
          <ac:spMkLst>
            <pc:docMk/>
            <pc:sldMk cId="3057876422" sldId="1879256067"/>
            <ac:spMk id="1676" creationId="{A76E6218-C86B-421D-9054-6982F1327EF7}"/>
          </ac:spMkLst>
        </pc:spChg>
        <pc:spChg chg="add del mod">
          <ac:chgData name="Kebba Jeng" userId="fe4cc296-ba7d-48a2-8799-89b58d218255" providerId="ADAL" clId="{388EFDEE-447E-42B4-98EF-30C01AB2E8CD}" dt="2022-03-28T18:32:49.873" v="2977"/>
          <ac:spMkLst>
            <pc:docMk/>
            <pc:sldMk cId="3057876422" sldId="1879256067"/>
            <ac:spMk id="1677" creationId="{269F105B-0CED-4EB4-83FA-C14368E00F37}"/>
          </ac:spMkLst>
        </pc:spChg>
        <pc:spChg chg="add del mod">
          <ac:chgData name="Kebba Jeng" userId="fe4cc296-ba7d-48a2-8799-89b58d218255" providerId="ADAL" clId="{388EFDEE-447E-42B4-98EF-30C01AB2E8CD}" dt="2022-03-28T18:32:49.873" v="2977"/>
          <ac:spMkLst>
            <pc:docMk/>
            <pc:sldMk cId="3057876422" sldId="1879256067"/>
            <ac:spMk id="1678" creationId="{CE0D1DD8-4747-41EE-8D60-F1FDD263A754}"/>
          </ac:spMkLst>
        </pc:spChg>
        <pc:spChg chg="add del mod">
          <ac:chgData name="Kebba Jeng" userId="fe4cc296-ba7d-48a2-8799-89b58d218255" providerId="ADAL" clId="{388EFDEE-447E-42B4-98EF-30C01AB2E8CD}" dt="2022-03-28T18:32:49.873" v="2977"/>
          <ac:spMkLst>
            <pc:docMk/>
            <pc:sldMk cId="3057876422" sldId="1879256067"/>
            <ac:spMk id="1679" creationId="{80E596C6-372C-46BD-B871-310BE04CFAFF}"/>
          </ac:spMkLst>
        </pc:spChg>
        <pc:spChg chg="add del mod">
          <ac:chgData name="Kebba Jeng" userId="fe4cc296-ba7d-48a2-8799-89b58d218255" providerId="ADAL" clId="{388EFDEE-447E-42B4-98EF-30C01AB2E8CD}" dt="2022-03-28T18:32:49.873" v="2977"/>
          <ac:spMkLst>
            <pc:docMk/>
            <pc:sldMk cId="3057876422" sldId="1879256067"/>
            <ac:spMk id="1680" creationId="{E28B1085-FCD7-4BFD-A7FF-ABA8A37DDF0D}"/>
          </ac:spMkLst>
        </pc:spChg>
        <pc:spChg chg="add del mod">
          <ac:chgData name="Kebba Jeng" userId="fe4cc296-ba7d-48a2-8799-89b58d218255" providerId="ADAL" clId="{388EFDEE-447E-42B4-98EF-30C01AB2E8CD}" dt="2022-03-28T18:32:49.873" v="2977"/>
          <ac:spMkLst>
            <pc:docMk/>
            <pc:sldMk cId="3057876422" sldId="1879256067"/>
            <ac:spMk id="1681" creationId="{B4E67DE7-6DB6-4789-80CA-068F2B8293CF}"/>
          </ac:spMkLst>
        </pc:spChg>
        <pc:spChg chg="add del mod">
          <ac:chgData name="Kebba Jeng" userId="fe4cc296-ba7d-48a2-8799-89b58d218255" providerId="ADAL" clId="{388EFDEE-447E-42B4-98EF-30C01AB2E8CD}" dt="2022-03-28T18:32:49.873" v="2977"/>
          <ac:spMkLst>
            <pc:docMk/>
            <pc:sldMk cId="3057876422" sldId="1879256067"/>
            <ac:spMk id="1682" creationId="{A5B29663-B365-473C-9867-0AD92ED29F0E}"/>
          </ac:spMkLst>
        </pc:spChg>
        <pc:spChg chg="add del mod">
          <ac:chgData name="Kebba Jeng" userId="fe4cc296-ba7d-48a2-8799-89b58d218255" providerId="ADAL" clId="{388EFDEE-447E-42B4-98EF-30C01AB2E8CD}" dt="2022-03-28T18:32:49.873" v="2977"/>
          <ac:spMkLst>
            <pc:docMk/>
            <pc:sldMk cId="3057876422" sldId="1879256067"/>
            <ac:spMk id="1683" creationId="{B79761F2-59FA-44EB-9D5E-F31F0EA2D9CB}"/>
          </ac:spMkLst>
        </pc:spChg>
        <pc:spChg chg="add del mod">
          <ac:chgData name="Kebba Jeng" userId="fe4cc296-ba7d-48a2-8799-89b58d218255" providerId="ADAL" clId="{388EFDEE-447E-42B4-98EF-30C01AB2E8CD}" dt="2022-03-28T18:32:49.873" v="2977"/>
          <ac:spMkLst>
            <pc:docMk/>
            <pc:sldMk cId="3057876422" sldId="1879256067"/>
            <ac:spMk id="1684" creationId="{FA46E845-597C-4586-A3EB-7283A0891F27}"/>
          </ac:spMkLst>
        </pc:spChg>
        <pc:spChg chg="add del mod">
          <ac:chgData name="Kebba Jeng" userId="fe4cc296-ba7d-48a2-8799-89b58d218255" providerId="ADAL" clId="{388EFDEE-447E-42B4-98EF-30C01AB2E8CD}" dt="2022-03-28T18:32:49.873" v="2977"/>
          <ac:spMkLst>
            <pc:docMk/>
            <pc:sldMk cId="3057876422" sldId="1879256067"/>
            <ac:spMk id="1685" creationId="{19B289F2-DE83-4EC2-A383-E09E252E0CC7}"/>
          </ac:spMkLst>
        </pc:spChg>
        <pc:spChg chg="add del mod">
          <ac:chgData name="Kebba Jeng" userId="fe4cc296-ba7d-48a2-8799-89b58d218255" providerId="ADAL" clId="{388EFDEE-447E-42B4-98EF-30C01AB2E8CD}" dt="2022-03-28T18:32:49.873" v="2977"/>
          <ac:spMkLst>
            <pc:docMk/>
            <pc:sldMk cId="3057876422" sldId="1879256067"/>
            <ac:spMk id="1686" creationId="{9EA033BD-CEC9-43EB-B630-881C9EBDF3F0}"/>
          </ac:spMkLst>
        </pc:spChg>
        <pc:spChg chg="add del mod">
          <ac:chgData name="Kebba Jeng" userId="fe4cc296-ba7d-48a2-8799-89b58d218255" providerId="ADAL" clId="{388EFDEE-447E-42B4-98EF-30C01AB2E8CD}" dt="2022-03-28T18:32:49.873" v="2977"/>
          <ac:spMkLst>
            <pc:docMk/>
            <pc:sldMk cId="3057876422" sldId="1879256067"/>
            <ac:spMk id="1687" creationId="{348794B8-7CE0-49DA-B6CC-59CA91CA373E}"/>
          </ac:spMkLst>
        </pc:spChg>
        <pc:spChg chg="add del mod">
          <ac:chgData name="Kebba Jeng" userId="fe4cc296-ba7d-48a2-8799-89b58d218255" providerId="ADAL" clId="{388EFDEE-447E-42B4-98EF-30C01AB2E8CD}" dt="2022-03-28T18:32:49.873" v="2977"/>
          <ac:spMkLst>
            <pc:docMk/>
            <pc:sldMk cId="3057876422" sldId="1879256067"/>
            <ac:spMk id="1688" creationId="{2A82EA3B-2CB6-4F12-9565-B8278A558170}"/>
          </ac:spMkLst>
        </pc:spChg>
        <pc:spChg chg="add del mod">
          <ac:chgData name="Kebba Jeng" userId="fe4cc296-ba7d-48a2-8799-89b58d218255" providerId="ADAL" clId="{388EFDEE-447E-42B4-98EF-30C01AB2E8CD}" dt="2022-03-28T18:32:49.873" v="2977"/>
          <ac:spMkLst>
            <pc:docMk/>
            <pc:sldMk cId="3057876422" sldId="1879256067"/>
            <ac:spMk id="1689" creationId="{73C2F94A-59DC-46DE-A3A0-6C5446671B2A}"/>
          </ac:spMkLst>
        </pc:spChg>
        <pc:spChg chg="add del mod">
          <ac:chgData name="Kebba Jeng" userId="fe4cc296-ba7d-48a2-8799-89b58d218255" providerId="ADAL" clId="{388EFDEE-447E-42B4-98EF-30C01AB2E8CD}" dt="2022-03-28T18:32:49.873" v="2977"/>
          <ac:spMkLst>
            <pc:docMk/>
            <pc:sldMk cId="3057876422" sldId="1879256067"/>
            <ac:spMk id="1690" creationId="{D2A24124-717B-49D0-A119-47C7BB5E2A83}"/>
          </ac:spMkLst>
        </pc:spChg>
        <pc:spChg chg="add del mod">
          <ac:chgData name="Kebba Jeng" userId="fe4cc296-ba7d-48a2-8799-89b58d218255" providerId="ADAL" clId="{388EFDEE-447E-42B4-98EF-30C01AB2E8CD}" dt="2022-03-28T18:32:49.873" v="2977"/>
          <ac:spMkLst>
            <pc:docMk/>
            <pc:sldMk cId="3057876422" sldId="1879256067"/>
            <ac:spMk id="1691" creationId="{87539D82-F0B7-4158-8CE1-F20D3370045F}"/>
          </ac:spMkLst>
        </pc:spChg>
        <pc:spChg chg="add del mod">
          <ac:chgData name="Kebba Jeng" userId="fe4cc296-ba7d-48a2-8799-89b58d218255" providerId="ADAL" clId="{388EFDEE-447E-42B4-98EF-30C01AB2E8CD}" dt="2022-03-28T18:32:49.873" v="2977"/>
          <ac:spMkLst>
            <pc:docMk/>
            <pc:sldMk cId="3057876422" sldId="1879256067"/>
            <ac:spMk id="1692" creationId="{428D2F92-9CFD-49B0-A772-FB8C312E8A06}"/>
          </ac:spMkLst>
        </pc:spChg>
        <pc:spChg chg="add del mod">
          <ac:chgData name="Kebba Jeng" userId="fe4cc296-ba7d-48a2-8799-89b58d218255" providerId="ADAL" clId="{388EFDEE-447E-42B4-98EF-30C01AB2E8CD}" dt="2022-03-28T18:32:49.873" v="2977"/>
          <ac:spMkLst>
            <pc:docMk/>
            <pc:sldMk cId="3057876422" sldId="1879256067"/>
            <ac:spMk id="1693" creationId="{D0759EC7-F60F-42F2-BA1A-09CB691CE6DF}"/>
          </ac:spMkLst>
        </pc:spChg>
        <pc:spChg chg="add del mod">
          <ac:chgData name="Kebba Jeng" userId="fe4cc296-ba7d-48a2-8799-89b58d218255" providerId="ADAL" clId="{388EFDEE-447E-42B4-98EF-30C01AB2E8CD}" dt="2022-03-28T18:32:49.873" v="2977"/>
          <ac:spMkLst>
            <pc:docMk/>
            <pc:sldMk cId="3057876422" sldId="1879256067"/>
            <ac:spMk id="1694" creationId="{E726E45E-B890-4FCE-8163-3FB9B9480455}"/>
          </ac:spMkLst>
        </pc:spChg>
        <pc:spChg chg="add del mod">
          <ac:chgData name="Kebba Jeng" userId="fe4cc296-ba7d-48a2-8799-89b58d218255" providerId="ADAL" clId="{388EFDEE-447E-42B4-98EF-30C01AB2E8CD}" dt="2022-03-28T18:32:49.873" v="2977"/>
          <ac:spMkLst>
            <pc:docMk/>
            <pc:sldMk cId="3057876422" sldId="1879256067"/>
            <ac:spMk id="1695" creationId="{9FFC90CA-8412-48D7-B551-D6FFC1FDD1DD}"/>
          </ac:spMkLst>
        </pc:spChg>
        <pc:spChg chg="add del mod">
          <ac:chgData name="Kebba Jeng" userId="fe4cc296-ba7d-48a2-8799-89b58d218255" providerId="ADAL" clId="{388EFDEE-447E-42B4-98EF-30C01AB2E8CD}" dt="2022-03-28T18:32:49.873" v="2977"/>
          <ac:spMkLst>
            <pc:docMk/>
            <pc:sldMk cId="3057876422" sldId="1879256067"/>
            <ac:spMk id="1696" creationId="{AD955231-DF70-467F-B6F7-5A3B569799E7}"/>
          </ac:spMkLst>
        </pc:spChg>
        <pc:spChg chg="add del mod">
          <ac:chgData name="Kebba Jeng" userId="fe4cc296-ba7d-48a2-8799-89b58d218255" providerId="ADAL" clId="{388EFDEE-447E-42B4-98EF-30C01AB2E8CD}" dt="2022-03-28T18:32:49.873" v="2977"/>
          <ac:spMkLst>
            <pc:docMk/>
            <pc:sldMk cId="3057876422" sldId="1879256067"/>
            <ac:spMk id="1697" creationId="{8B0181D7-598D-4F89-9249-493D29DEB6FE}"/>
          </ac:spMkLst>
        </pc:spChg>
        <pc:spChg chg="add del mod">
          <ac:chgData name="Kebba Jeng" userId="fe4cc296-ba7d-48a2-8799-89b58d218255" providerId="ADAL" clId="{388EFDEE-447E-42B4-98EF-30C01AB2E8CD}" dt="2022-03-28T18:32:49.873" v="2977"/>
          <ac:spMkLst>
            <pc:docMk/>
            <pc:sldMk cId="3057876422" sldId="1879256067"/>
            <ac:spMk id="1698" creationId="{1AE8F06B-A178-4F6E-B7AC-3A1E414DEE8B}"/>
          </ac:spMkLst>
        </pc:spChg>
        <pc:spChg chg="add del mod">
          <ac:chgData name="Kebba Jeng" userId="fe4cc296-ba7d-48a2-8799-89b58d218255" providerId="ADAL" clId="{388EFDEE-447E-42B4-98EF-30C01AB2E8CD}" dt="2022-03-28T18:32:49.873" v="2977"/>
          <ac:spMkLst>
            <pc:docMk/>
            <pc:sldMk cId="3057876422" sldId="1879256067"/>
            <ac:spMk id="1699" creationId="{B0B53F07-9EE5-4B1F-9323-75B9AA1BA654}"/>
          </ac:spMkLst>
        </pc:spChg>
        <pc:spChg chg="add del mod">
          <ac:chgData name="Kebba Jeng" userId="fe4cc296-ba7d-48a2-8799-89b58d218255" providerId="ADAL" clId="{388EFDEE-447E-42B4-98EF-30C01AB2E8CD}" dt="2022-03-28T18:32:49.873" v="2977"/>
          <ac:spMkLst>
            <pc:docMk/>
            <pc:sldMk cId="3057876422" sldId="1879256067"/>
            <ac:spMk id="1700" creationId="{EA5C7E7E-F9A5-4965-BF4C-78EF91A82809}"/>
          </ac:spMkLst>
        </pc:spChg>
        <pc:spChg chg="add del mod">
          <ac:chgData name="Kebba Jeng" userId="fe4cc296-ba7d-48a2-8799-89b58d218255" providerId="ADAL" clId="{388EFDEE-447E-42B4-98EF-30C01AB2E8CD}" dt="2022-03-28T18:32:49.873" v="2977"/>
          <ac:spMkLst>
            <pc:docMk/>
            <pc:sldMk cId="3057876422" sldId="1879256067"/>
            <ac:spMk id="1701" creationId="{D4C5F5E8-71E5-409D-9AFF-B8004369C404}"/>
          </ac:spMkLst>
        </pc:spChg>
        <pc:spChg chg="add del mod">
          <ac:chgData name="Kebba Jeng" userId="fe4cc296-ba7d-48a2-8799-89b58d218255" providerId="ADAL" clId="{388EFDEE-447E-42B4-98EF-30C01AB2E8CD}" dt="2022-03-28T18:32:49.873" v="2977"/>
          <ac:spMkLst>
            <pc:docMk/>
            <pc:sldMk cId="3057876422" sldId="1879256067"/>
            <ac:spMk id="1702" creationId="{8247D511-8EA8-478C-B21F-2BE0D895B398}"/>
          </ac:spMkLst>
        </pc:spChg>
        <pc:spChg chg="add del mod">
          <ac:chgData name="Kebba Jeng" userId="fe4cc296-ba7d-48a2-8799-89b58d218255" providerId="ADAL" clId="{388EFDEE-447E-42B4-98EF-30C01AB2E8CD}" dt="2022-03-28T18:32:49.873" v="2977"/>
          <ac:spMkLst>
            <pc:docMk/>
            <pc:sldMk cId="3057876422" sldId="1879256067"/>
            <ac:spMk id="1703" creationId="{67FA0D04-AD75-4150-B694-DE6906D74F88}"/>
          </ac:spMkLst>
        </pc:spChg>
        <pc:spChg chg="add del mod">
          <ac:chgData name="Kebba Jeng" userId="fe4cc296-ba7d-48a2-8799-89b58d218255" providerId="ADAL" clId="{388EFDEE-447E-42B4-98EF-30C01AB2E8CD}" dt="2022-03-28T18:32:49.873" v="2977"/>
          <ac:spMkLst>
            <pc:docMk/>
            <pc:sldMk cId="3057876422" sldId="1879256067"/>
            <ac:spMk id="1704" creationId="{ECB211BE-9E94-4AB6-B8EC-DCA665B90758}"/>
          </ac:spMkLst>
        </pc:spChg>
        <pc:spChg chg="add del mod">
          <ac:chgData name="Kebba Jeng" userId="fe4cc296-ba7d-48a2-8799-89b58d218255" providerId="ADAL" clId="{388EFDEE-447E-42B4-98EF-30C01AB2E8CD}" dt="2022-03-28T18:32:49.873" v="2977"/>
          <ac:spMkLst>
            <pc:docMk/>
            <pc:sldMk cId="3057876422" sldId="1879256067"/>
            <ac:spMk id="1705" creationId="{A3DB376C-BFAE-4B3D-AE89-C837B2DE1F83}"/>
          </ac:spMkLst>
        </pc:spChg>
        <pc:spChg chg="add del mod">
          <ac:chgData name="Kebba Jeng" userId="fe4cc296-ba7d-48a2-8799-89b58d218255" providerId="ADAL" clId="{388EFDEE-447E-42B4-98EF-30C01AB2E8CD}" dt="2022-03-28T18:32:49.873" v="2977"/>
          <ac:spMkLst>
            <pc:docMk/>
            <pc:sldMk cId="3057876422" sldId="1879256067"/>
            <ac:spMk id="1706" creationId="{9C042B2A-A367-480C-A0E8-D557F2E175D6}"/>
          </ac:spMkLst>
        </pc:spChg>
        <pc:spChg chg="add del mod">
          <ac:chgData name="Kebba Jeng" userId="fe4cc296-ba7d-48a2-8799-89b58d218255" providerId="ADAL" clId="{388EFDEE-447E-42B4-98EF-30C01AB2E8CD}" dt="2022-03-28T18:32:49.873" v="2977"/>
          <ac:spMkLst>
            <pc:docMk/>
            <pc:sldMk cId="3057876422" sldId="1879256067"/>
            <ac:spMk id="1707" creationId="{5C8F8094-0A63-448E-91E4-0FE738D3E06A}"/>
          </ac:spMkLst>
        </pc:spChg>
        <pc:spChg chg="add del mod">
          <ac:chgData name="Kebba Jeng" userId="fe4cc296-ba7d-48a2-8799-89b58d218255" providerId="ADAL" clId="{388EFDEE-447E-42B4-98EF-30C01AB2E8CD}" dt="2022-03-28T18:32:49.873" v="2977"/>
          <ac:spMkLst>
            <pc:docMk/>
            <pc:sldMk cId="3057876422" sldId="1879256067"/>
            <ac:spMk id="1708" creationId="{DC20B38C-7846-4B4C-BD99-783D8884CDE1}"/>
          </ac:spMkLst>
        </pc:spChg>
        <pc:spChg chg="add del mod">
          <ac:chgData name="Kebba Jeng" userId="fe4cc296-ba7d-48a2-8799-89b58d218255" providerId="ADAL" clId="{388EFDEE-447E-42B4-98EF-30C01AB2E8CD}" dt="2022-03-28T18:32:49.873" v="2977"/>
          <ac:spMkLst>
            <pc:docMk/>
            <pc:sldMk cId="3057876422" sldId="1879256067"/>
            <ac:spMk id="1709" creationId="{99D0F162-1C9A-436A-8F59-F3CBAFE26536}"/>
          </ac:spMkLst>
        </pc:spChg>
        <pc:spChg chg="add del mod">
          <ac:chgData name="Kebba Jeng" userId="fe4cc296-ba7d-48a2-8799-89b58d218255" providerId="ADAL" clId="{388EFDEE-447E-42B4-98EF-30C01AB2E8CD}" dt="2022-03-28T18:32:49.873" v="2977"/>
          <ac:spMkLst>
            <pc:docMk/>
            <pc:sldMk cId="3057876422" sldId="1879256067"/>
            <ac:spMk id="1710" creationId="{D866FA13-691D-4143-A683-B192759E866F}"/>
          </ac:spMkLst>
        </pc:spChg>
        <pc:spChg chg="add del mod">
          <ac:chgData name="Kebba Jeng" userId="fe4cc296-ba7d-48a2-8799-89b58d218255" providerId="ADAL" clId="{388EFDEE-447E-42B4-98EF-30C01AB2E8CD}" dt="2022-03-28T18:32:49.873" v="2977"/>
          <ac:spMkLst>
            <pc:docMk/>
            <pc:sldMk cId="3057876422" sldId="1879256067"/>
            <ac:spMk id="1711" creationId="{906713D2-C4CB-4C60-B1BA-F0D54F1C7CEC}"/>
          </ac:spMkLst>
        </pc:spChg>
        <pc:spChg chg="add del mod">
          <ac:chgData name="Kebba Jeng" userId="fe4cc296-ba7d-48a2-8799-89b58d218255" providerId="ADAL" clId="{388EFDEE-447E-42B4-98EF-30C01AB2E8CD}" dt="2022-03-28T18:32:49.873" v="2977"/>
          <ac:spMkLst>
            <pc:docMk/>
            <pc:sldMk cId="3057876422" sldId="1879256067"/>
            <ac:spMk id="1712" creationId="{DF98EB9F-868F-489B-A2E3-7D44DAD472F7}"/>
          </ac:spMkLst>
        </pc:spChg>
        <pc:spChg chg="add del mod">
          <ac:chgData name="Kebba Jeng" userId="fe4cc296-ba7d-48a2-8799-89b58d218255" providerId="ADAL" clId="{388EFDEE-447E-42B4-98EF-30C01AB2E8CD}" dt="2022-03-28T18:32:49.873" v="2977"/>
          <ac:spMkLst>
            <pc:docMk/>
            <pc:sldMk cId="3057876422" sldId="1879256067"/>
            <ac:spMk id="1713" creationId="{777BF599-51BD-4119-BE62-8FA414FB0A37}"/>
          </ac:spMkLst>
        </pc:spChg>
        <pc:spChg chg="add del mod">
          <ac:chgData name="Kebba Jeng" userId="fe4cc296-ba7d-48a2-8799-89b58d218255" providerId="ADAL" clId="{388EFDEE-447E-42B4-98EF-30C01AB2E8CD}" dt="2022-03-28T18:32:49.873" v="2977"/>
          <ac:spMkLst>
            <pc:docMk/>
            <pc:sldMk cId="3057876422" sldId="1879256067"/>
            <ac:spMk id="1714" creationId="{48AB7FA2-A02A-426A-81C1-0334184621D0}"/>
          </ac:spMkLst>
        </pc:spChg>
        <pc:spChg chg="add del mod">
          <ac:chgData name="Kebba Jeng" userId="fe4cc296-ba7d-48a2-8799-89b58d218255" providerId="ADAL" clId="{388EFDEE-447E-42B4-98EF-30C01AB2E8CD}" dt="2022-03-28T18:32:49.873" v="2977"/>
          <ac:spMkLst>
            <pc:docMk/>
            <pc:sldMk cId="3057876422" sldId="1879256067"/>
            <ac:spMk id="1715" creationId="{0F05F757-3D26-4644-9A1D-EE5C2CBB8545}"/>
          </ac:spMkLst>
        </pc:spChg>
        <pc:spChg chg="add del mod">
          <ac:chgData name="Kebba Jeng" userId="fe4cc296-ba7d-48a2-8799-89b58d218255" providerId="ADAL" clId="{388EFDEE-447E-42B4-98EF-30C01AB2E8CD}" dt="2022-03-28T18:32:49.873" v="2977"/>
          <ac:spMkLst>
            <pc:docMk/>
            <pc:sldMk cId="3057876422" sldId="1879256067"/>
            <ac:spMk id="1716" creationId="{E73A6704-8A1A-4C8D-8D88-698F9FB81EF7}"/>
          </ac:spMkLst>
        </pc:spChg>
        <pc:spChg chg="add del mod">
          <ac:chgData name="Kebba Jeng" userId="fe4cc296-ba7d-48a2-8799-89b58d218255" providerId="ADAL" clId="{388EFDEE-447E-42B4-98EF-30C01AB2E8CD}" dt="2022-03-28T18:32:49.873" v="2977"/>
          <ac:spMkLst>
            <pc:docMk/>
            <pc:sldMk cId="3057876422" sldId="1879256067"/>
            <ac:spMk id="1717" creationId="{A3E55B24-0EC9-472C-BA54-5E1257FFCC03}"/>
          </ac:spMkLst>
        </pc:spChg>
        <pc:spChg chg="add del mod">
          <ac:chgData name="Kebba Jeng" userId="fe4cc296-ba7d-48a2-8799-89b58d218255" providerId="ADAL" clId="{388EFDEE-447E-42B4-98EF-30C01AB2E8CD}" dt="2022-03-28T18:32:49.873" v="2977"/>
          <ac:spMkLst>
            <pc:docMk/>
            <pc:sldMk cId="3057876422" sldId="1879256067"/>
            <ac:spMk id="1718" creationId="{E44617E2-11FF-4C7E-9082-8CAB5C4B23E6}"/>
          </ac:spMkLst>
        </pc:spChg>
        <pc:spChg chg="add del mod">
          <ac:chgData name="Kebba Jeng" userId="fe4cc296-ba7d-48a2-8799-89b58d218255" providerId="ADAL" clId="{388EFDEE-447E-42B4-98EF-30C01AB2E8CD}" dt="2022-03-28T18:32:49.873" v="2977"/>
          <ac:spMkLst>
            <pc:docMk/>
            <pc:sldMk cId="3057876422" sldId="1879256067"/>
            <ac:spMk id="1719" creationId="{91CDF0FD-E556-4654-81FA-68E9744CF871}"/>
          </ac:spMkLst>
        </pc:spChg>
        <pc:spChg chg="add del mod">
          <ac:chgData name="Kebba Jeng" userId="fe4cc296-ba7d-48a2-8799-89b58d218255" providerId="ADAL" clId="{388EFDEE-447E-42B4-98EF-30C01AB2E8CD}" dt="2022-03-28T18:32:49.873" v="2977"/>
          <ac:spMkLst>
            <pc:docMk/>
            <pc:sldMk cId="3057876422" sldId="1879256067"/>
            <ac:spMk id="1720" creationId="{8B98F5F3-6779-4FBF-99A8-57C6FC412B26}"/>
          </ac:spMkLst>
        </pc:spChg>
        <pc:spChg chg="add del mod">
          <ac:chgData name="Kebba Jeng" userId="fe4cc296-ba7d-48a2-8799-89b58d218255" providerId="ADAL" clId="{388EFDEE-447E-42B4-98EF-30C01AB2E8CD}" dt="2022-03-28T18:32:49.873" v="2977"/>
          <ac:spMkLst>
            <pc:docMk/>
            <pc:sldMk cId="3057876422" sldId="1879256067"/>
            <ac:spMk id="1721" creationId="{66131D51-FD30-4EBF-827A-A5AB7515F3DF}"/>
          </ac:spMkLst>
        </pc:spChg>
        <pc:spChg chg="add del mod">
          <ac:chgData name="Kebba Jeng" userId="fe4cc296-ba7d-48a2-8799-89b58d218255" providerId="ADAL" clId="{388EFDEE-447E-42B4-98EF-30C01AB2E8CD}" dt="2022-03-28T18:32:49.873" v="2977"/>
          <ac:spMkLst>
            <pc:docMk/>
            <pc:sldMk cId="3057876422" sldId="1879256067"/>
            <ac:spMk id="1722" creationId="{01C3630D-42D5-43F2-909F-6630C7321D7C}"/>
          </ac:spMkLst>
        </pc:spChg>
        <pc:spChg chg="add del mod">
          <ac:chgData name="Kebba Jeng" userId="fe4cc296-ba7d-48a2-8799-89b58d218255" providerId="ADAL" clId="{388EFDEE-447E-42B4-98EF-30C01AB2E8CD}" dt="2022-03-28T18:32:49.873" v="2977"/>
          <ac:spMkLst>
            <pc:docMk/>
            <pc:sldMk cId="3057876422" sldId="1879256067"/>
            <ac:spMk id="1723" creationId="{F5706956-31AB-4612-9C1F-0F28F132E09C}"/>
          </ac:spMkLst>
        </pc:spChg>
        <pc:spChg chg="add del mod">
          <ac:chgData name="Kebba Jeng" userId="fe4cc296-ba7d-48a2-8799-89b58d218255" providerId="ADAL" clId="{388EFDEE-447E-42B4-98EF-30C01AB2E8CD}" dt="2022-03-28T18:32:49.873" v="2977"/>
          <ac:spMkLst>
            <pc:docMk/>
            <pc:sldMk cId="3057876422" sldId="1879256067"/>
            <ac:spMk id="1724" creationId="{4D58B788-F85A-4A56-83CB-80705C50372A}"/>
          </ac:spMkLst>
        </pc:spChg>
        <pc:spChg chg="add del mod">
          <ac:chgData name="Kebba Jeng" userId="fe4cc296-ba7d-48a2-8799-89b58d218255" providerId="ADAL" clId="{388EFDEE-447E-42B4-98EF-30C01AB2E8CD}" dt="2022-03-28T18:32:49.873" v="2977"/>
          <ac:spMkLst>
            <pc:docMk/>
            <pc:sldMk cId="3057876422" sldId="1879256067"/>
            <ac:spMk id="1725" creationId="{C8ADEB7C-3937-4E4A-BBB5-797ADD838141}"/>
          </ac:spMkLst>
        </pc:spChg>
        <pc:spChg chg="add del mod">
          <ac:chgData name="Kebba Jeng" userId="fe4cc296-ba7d-48a2-8799-89b58d218255" providerId="ADAL" clId="{388EFDEE-447E-42B4-98EF-30C01AB2E8CD}" dt="2022-03-28T18:32:49.873" v="2977"/>
          <ac:spMkLst>
            <pc:docMk/>
            <pc:sldMk cId="3057876422" sldId="1879256067"/>
            <ac:spMk id="1726" creationId="{5C3CE2B5-AF2D-4270-88BA-DFB1919ABD71}"/>
          </ac:spMkLst>
        </pc:spChg>
        <pc:spChg chg="add del mod">
          <ac:chgData name="Kebba Jeng" userId="fe4cc296-ba7d-48a2-8799-89b58d218255" providerId="ADAL" clId="{388EFDEE-447E-42B4-98EF-30C01AB2E8CD}" dt="2022-03-28T18:32:49.873" v="2977"/>
          <ac:spMkLst>
            <pc:docMk/>
            <pc:sldMk cId="3057876422" sldId="1879256067"/>
            <ac:spMk id="1727" creationId="{E90143B9-54D7-44BE-B698-DA14372E9962}"/>
          </ac:spMkLst>
        </pc:spChg>
        <pc:spChg chg="add del mod">
          <ac:chgData name="Kebba Jeng" userId="fe4cc296-ba7d-48a2-8799-89b58d218255" providerId="ADAL" clId="{388EFDEE-447E-42B4-98EF-30C01AB2E8CD}" dt="2022-03-28T18:32:49.873" v="2977"/>
          <ac:spMkLst>
            <pc:docMk/>
            <pc:sldMk cId="3057876422" sldId="1879256067"/>
            <ac:spMk id="1728" creationId="{0878A177-4751-4E17-8676-FCA9FA8C2422}"/>
          </ac:spMkLst>
        </pc:spChg>
        <pc:spChg chg="add del mod">
          <ac:chgData name="Kebba Jeng" userId="fe4cc296-ba7d-48a2-8799-89b58d218255" providerId="ADAL" clId="{388EFDEE-447E-42B4-98EF-30C01AB2E8CD}" dt="2022-03-28T18:32:49.873" v="2977"/>
          <ac:spMkLst>
            <pc:docMk/>
            <pc:sldMk cId="3057876422" sldId="1879256067"/>
            <ac:spMk id="1729" creationId="{38C1293F-3986-4FBF-9E5A-B1E4D7A32805}"/>
          </ac:spMkLst>
        </pc:spChg>
        <pc:spChg chg="add del mod">
          <ac:chgData name="Kebba Jeng" userId="fe4cc296-ba7d-48a2-8799-89b58d218255" providerId="ADAL" clId="{388EFDEE-447E-42B4-98EF-30C01AB2E8CD}" dt="2022-03-28T18:32:49.873" v="2977"/>
          <ac:spMkLst>
            <pc:docMk/>
            <pc:sldMk cId="3057876422" sldId="1879256067"/>
            <ac:spMk id="1730" creationId="{87B0498E-60A3-41E9-81C5-02ED3E5745A1}"/>
          </ac:spMkLst>
        </pc:spChg>
        <pc:spChg chg="add del mod">
          <ac:chgData name="Kebba Jeng" userId="fe4cc296-ba7d-48a2-8799-89b58d218255" providerId="ADAL" clId="{388EFDEE-447E-42B4-98EF-30C01AB2E8CD}" dt="2022-03-28T18:32:49.873" v="2977"/>
          <ac:spMkLst>
            <pc:docMk/>
            <pc:sldMk cId="3057876422" sldId="1879256067"/>
            <ac:spMk id="1731" creationId="{CF8CBC41-ECAF-4D33-8D8C-689C2EF62E1D}"/>
          </ac:spMkLst>
        </pc:spChg>
        <pc:spChg chg="add del mod">
          <ac:chgData name="Kebba Jeng" userId="fe4cc296-ba7d-48a2-8799-89b58d218255" providerId="ADAL" clId="{388EFDEE-447E-42B4-98EF-30C01AB2E8CD}" dt="2022-03-28T18:32:49.873" v="2977"/>
          <ac:spMkLst>
            <pc:docMk/>
            <pc:sldMk cId="3057876422" sldId="1879256067"/>
            <ac:spMk id="1732" creationId="{0FF0F138-BA88-4746-BFDD-8A63F7F1259A}"/>
          </ac:spMkLst>
        </pc:spChg>
        <pc:spChg chg="add del mod">
          <ac:chgData name="Kebba Jeng" userId="fe4cc296-ba7d-48a2-8799-89b58d218255" providerId="ADAL" clId="{388EFDEE-447E-42B4-98EF-30C01AB2E8CD}" dt="2022-03-28T18:32:49.873" v="2977"/>
          <ac:spMkLst>
            <pc:docMk/>
            <pc:sldMk cId="3057876422" sldId="1879256067"/>
            <ac:spMk id="1733" creationId="{A4DC5334-6875-415B-9B6F-86382B6987D3}"/>
          </ac:spMkLst>
        </pc:spChg>
        <pc:spChg chg="add del mod">
          <ac:chgData name="Kebba Jeng" userId="fe4cc296-ba7d-48a2-8799-89b58d218255" providerId="ADAL" clId="{388EFDEE-447E-42B4-98EF-30C01AB2E8CD}" dt="2022-03-28T18:32:49.873" v="2977"/>
          <ac:spMkLst>
            <pc:docMk/>
            <pc:sldMk cId="3057876422" sldId="1879256067"/>
            <ac:spMk id="1734" creationId="{1F136941-C06B-47D6-82ED-5A21F11A2D44}"/>
          </ac:spMkLst>
        </pc:spChg>
        <pc:spChg chg="add del mod">
          <ac:chgData name="Kebba Jeng" userId="fe4cc296-ba7d-48a2-8799-89b58d218255" providerId="ADAL" clId="{388EFDEE-447E-42B4-98EF-30C01AB2E8CD}" dt="2022-03-28T18:32:49.873" v="2977"/>
          <ac:spMkLst>
            <pc:docMk/>
            <pc:sldMk cId="3057876422" sldId="1879256067"/>
            <ac:spMk id="1735" creationId="{E6A2E88E-F7E6-488A-9DD6-DBC8A677290E}"/>
          </ac:spMkLst>
        </pc:spChg>
        <pc:spChg chg="add del mod">
          <ac:chgData name="Kebba Jeng" userId="fe4cc296-ba7d-48a2-8799-89b58d218255" providerId="ADAL" clId="{388EFDEE-447E-42B4-98EF-30C01AB2E8CD}" dt="2022-03-28T18:32:49.873" v="2977"/>
          <ac:spMkLst>
            <pc:docMk/>
            <pc:sldMk cId="3057876422" sldId="1879256067"/>
            <ac:spMk id="1736" creationId="{1E4CC318-F266-49B7-B0DE-F7FCA51FB856}"/>
          </ac:spMkLst>
        </pc:spChg>
        <pc:spChg chg="add del mod">
          <ac:chgData name="Kebba Jeng" userId="fe4cc296-ba7d-48a2-8799-89b58d218255" providerId="ADAL" clId="{388EFDEE-447E-42B4-98EF-30C01AB2E8CD}" dt="2022-03-28T18:32:49.873" v="2977"/>
          <ac:spMkLst>
            <pc:docMk/>
            <pc:sldMk cId="3057876422" sldId="1879256067"/>
            <ac:spMk id="1737" creationId="{4D6B02AF-4B9E-4847-BB43-097D879F20AB}"/>
          </ac:spMkLst>
        </pc:spChg>
        <pc:spChg chg="add del mod">
          <ac:chgData name="Kebba Jeng" userId="fe4cc296-ba7d-48a2-8799-89b58d218255" providerId="ADAL" clId="{388EFDEE-447E-42B4-98EF-30C01AB2E8CD}" dt="2022-03-28T18:32:49.873" v="2977"/>
          <ac:spMkLst>
            <pc:docMk/>
            <pc:sldMk cId="3057876422" sldId="1879256067"/>
            <ac:spMk id="1738" creationId="{3193CE2E-BF21-4AF2-92EC-671F84C78425}"/>
          </ac:spMkLst>
        </pc:spChg>
        <pc:spChg chg="add del mod">
          <ac:chgData name="Kebba Jeng" userId="fe4cc296-ba7d-48a2-8799-89b58d218255" providerId="ADAL" clId="{388EFDEE-447E-42B4-98EF-30C01AB2E8CD}" dt="2022-03-28T18:32:49.873" v="2977"/>
          <ac:spMkLst>
            <pc:docMk/>
            <pc:sldMk cId="3057876422" sldId="1879256067"/>
            <ac:spMk id="1739" creationId="{849AC10C-8083-4FB2-BF9A-2ADDC42F59C2}"/>
          </ac:spMkLst>
        </pc:spChg>
        <pc:spChg chg="add del mod">
          <ac:chgData name="Kebba Jeng" userId="fe4cc296-ba7d-48a2-8799-89b58d218255" providerId="ADAL" clId="{388EFDEE-447E-42B4-98EF-30C01AB2E8CD}" dt="2022-03-28T18:32:49.873" v="2977"/>
          <ac:spMkLst>
            <pc:docMk/>
            <pc:sldMk cId="3057876422" sldId="1879256067"/>
            <ac:spMk id="1740" creationId="{89E1B815-7434-4DEA-A1AA-7FBED02C5D00}"/>
          </ac:spMkLst>
        </pc:spChg>
        <pc:spChg chg="add del mod">
          <ac:chgData name="Kebba Jeng" userId="fe4cc296-ba7d-48a2-8799-89b58d218255" providerId="ADAL" clId="{388EFDEE-447E-42B4-98EF-30C01AB2E8CD}" dt="2022-03-28T18:32:49.873" v="2977"/>
          <ac:spMkLst>
            <pc:docMk/>
            <pc:sldMk cId="3057876422" sldId="1879256067"/>
            <ac:spMk id="1741" creationId="{37448650-887B-44CE-9E1D-462B2D63FBEA}"/>
          </ac:spMkLst>
        </pc:spChg>
        <pc:spChg chg="add del mod">
          <ac:chgData name="Kebba Jeng" userId="fe4cc296-ba7d-48a2-8799-89b58d218255" providerId="ADAL" clId="{388EFDEE-447E-42B4-98EF-30C01AB2E8CD}" dt="2022-03-28T18:32:49.873" v="2977"/>
          <ac:spMkLst>
            <pc:docMk/>
            <pc:sldMk cId="3057876422" sldId="1879256067"/>
            <ac:spMk id="1742" creationId="{ABC72590-96DA-4B3D-9C23-41B793D5F317}"/>
          </ac:spMkLst>
        </pc:spChg>
        <pc:spChg chg="add del mod">
          <ac:chgData name="Kebba Jeng" userId="fe4cc296-ba7d-48a2-8799-89b58d218255" providerId="ADAL" clId="{388EFDEE-447E-42B4-98EF-30C01AB2E8CD}" dt="2022-03-28T18:32:49.873" v="2977"/>
          <ac:spMkLst>
            <pc:docMk/>
            <pc:sldMk cId="3057876422" sldId="1879256067"/>
            <ac:spMk id="1743" creationId="{4E268A5E-EC49-4E2F-BBE4-9C8B3995CBFD}"/>
          </ac:spMkLst>
        </pc:spChg>
        <pc:spChg chg="add del mod">
          <ac:chgData name="Kebba Jeng" userId="fe4cc296-ba7d-48a2-8799-89b58d218255" providerId="ADAL" clId="{388EFDEE-447E-42B4-98EF-30C01AB2E8CD}" dt="2022-03-28T18:32:49.873" v="2977"/>
          <ac:spMkLst>
            <pc:docMk/>
            <pc:sldMk cId="3057876422" sldId="1879256067"/>
            <ac:spMk id="1744" creationId="{41CDC1CF-D9F8-4F83-A361-0659A319240F}"/>
          </ac:spMkLst>
        </pc:spChg>
        <pc:spChg chg="add del mod">
          <ac:chgData name="Kebba Jeng" userId="fe4cc296-ba7d-48a2-8799-89b58d218255" providerId="ADAL" clId="{388EFDEE-447E-42B4-98EF-30C01AB2E8CD}" dt="2022-03-28T18:32:49.873" v="2977"/>
          <ac:spMkLst>
            <pc:docMk/>
            <pc:sldMk cId="3057876422" sldId="1879256067"/>
            <ac:spMk id="1745" creationId="{C10115C6-89C5-4516-9490-0F66C6B29328}"/>
          </ac:spMkLst>
        </pc:spChg>
        <pc:spChg chg="add del mod">
          <ac:chgData name="Kebba Jeng" userId="fe4cc296-ba7d-48a2-8799-89b58d218255" providerId="ADAL" clId="{388EFDEE-447E-42B4-98EF-30C01AB2E8CD}" dt="2022-03-28T18:32:49.873" v="2977"/>
          <ac:spMkLst>
            <pc:docMk/>
            <pc:sldMk cId="3057876422" sldId="1879256067"/>
            <ac:spMk id="1746" creationId="{CBB48673-BB6B-489F-A54C-55959CCEEB6F}"/>
          </ac:spMkLst>
        </pc:spChg>
        <pc:spChg chg="add del mod">
          <ac:chgData name="Kebba Jeng" userId="fe4cc296-ba7d-48a2-8799-89b58d218255" providerId="ADAL" clId="{388EFDEE-447E-42B4-98EF-30C01AB2E8CD}" dt="2022-03-28T18:32:49.873" v="2977"/>
          <ac:spMkLst>
            <pc:docMk/>
            <pc:sldMk cId="3057876422" sldId="1879256067"/>
            <ac:spMk id="1747" creationId="{46991AC8-2BFF-4D3F-B4C3-3F68C756E712}"/>
          </ac:spMkLst>
        </pc:spChg>
        <pc:spChg chg="add del mod">
          <ac:chgData name="Kebba Jeng" userId="fe4cc296-ba7d-48a2-8799-89b58d218255" providerId="ADAL" clId="{388EFDEE-447E-42B4-98EF-30C01AB2E8CD}" dt="2022-03-28T18:32:49.873" v="2977"/>
          <ac:spMkLst>
            <pc:docMk/>
            <pc:sldMk cId="3057876422" sldId="1879256067"/>
            <ac:spMk id="1748" creationId="{41804C91-CCAE-4682-B3A6-279D46611400}"/>
          </ac:spMkLst>
        </pc:spChg>
        <pc:spChg chg="add del mod">
          <ac:chgData name="Kebba Jeng" userId="fe4cc296-ba7d-48a2-8799-89b58d218255" providerId="ADAL" clId="{388EFDEE-447E-42B4-98EF-30C01AB2E8CD}" dt="2022-03-28T18:32:49.873" v="2977"/>
          <ac:spMkLst>
            <pc:docMk/>
            <pc:sldMk cId="3057876422" sldId="1879256067"/>
            <ac:spMk id="1749" creationId="{C5E214F8-30B9-4851-81BA-9BD80FE5A92D}"/>
          </ac:spMkLst>
        </pc:spChg>
        <pc:spChg chg="add del mod">
          <ac:chgData name="Kebba Jeng" userId="fe4cc296-ba7d-48a2-8799-89b58d218255" providerId="ADAL" clId="{388EFDEE-447E-42B4-98EF-30C01AB2E8CD}" dt="2022-03-28T18:32:49.873" v="2977"/>
          <ac:spMkLst>
            <pc:docMk/>
            <pc:sldMk cId="3057876422" sldId="1879256067"/>
            <ac:spMk id="1750" creationId="{BE49CEDC-5E9D-4396-B6E0-C89CF1218ECE}"/>
          </ac:spMkLst>
        </pc:spChg>
        <pc:spChg chg="add del mod">
          <ac:chgData name="Kebba Jeng" userId="fe4cc296-ba7d-48a2-8799-89b58d218255" providerId="ADAL" clId="{388EFDEE-447E-42B4-98EF-30C01AB2E8CD}" dt="2022-03-28T18:32:49.873" v="2977"/>
          <ac:spMkLst>
            <pc:docMk/>
            <pc:sldMk cId="3057876422" sldId="1879256067"/>
            <ac:spMk id="1751" creationId="{9A9452D1-6E80-4DF4-BE27-29153B7018EF}"/>
          </ac:spMkLst>
        </pc:spChg>
        <pc:spChg chg="add del mod">
          <ac:chgData name="Kebba Jeng" userId="fe4cc296-ba7d-48a2-8799-89b58d218255" providerId="ADAL" clId="{388EFDEE-447E-42B4-98EF-30C01AB2E8CD}" dt="2022-03-28T18:32:49.873" v="2977"/>
          <ac:spMkLst>
            <pc:docMk/>
            <pc:sldMk cId="3057876422" sldId="1879256067"/>
            <ac:spMk id="1752" creationId="{9E4D9A58-CA52-4355-AC40-001120043E4B}"/>
          </ac:spMkLst>
        </pc:spChg>
        <pc:spChg chg="add del mod">
          <ac:chgData name="Kebba Jeng" userId="fe4cc296-ba7d-48a2-8799-89b58d218255" providerId="ADAL" clId="{388EFDEE-447E-42B4-98EF-30C01AB2E8CD}" dt="2022-03-28T18:32:49.873" v="2977"/>
          <ac:spMkLst>
            <pc:docMk/>
            <pc:sldMk cId="3057876422" sldId="1879256067"/>
            <ac:spMk id="1753" creationId="{672AAA12-CDC4-44BB-91A7-3633287D46E7}"/>
          </ac:spMkLst>
        </pc:spChg>
        <pc:spChg chg="add del mod">
          <ac:chgData name="Kebba Jeng" userId="fe4cc296-ba7d-48a2-8799-89b58d218255" providerId="ADAL" clId="{388EFDEE-447E-42B4-98EF-30C01AB2E8CD}" dt="2022-03-28T18:32:49.873" v="2977"/>
          <ac:spMkLst>
            <pc:docMk/>
            <pc:sldMk cId="3057876422" sldId="1879256067"/>
            <ac:spMk id="1754" creationId="{9BDFB867-3FC4-4FD6-9E45-22BFCA338C19}"/>
          </ac:spMkLst>
        </pc:spChg>
        <pc:spChg chg="add del mod">
          <ac:chgData name="Kebba Jeng" userId="fe4cc296-ba7d-48a2-8799-89b58d218255" providerId="ADAL" clId="{388EFDEE-447E-42B4-98EF-30C01AB2E8CD}" dt="2022-03-28T18:32:49.873" v="2977"/>
          <ac:spMkLst>
            <pc:docMk/>
            <pc:sldMk cId="3057876422" sldId="1879256067"/>
            <ac:spMk id="1755" creationId="{85447431-4C44-4BBA-9A4F-5A75BD678D3A}"/>
          </ac:spMkLst>
        </pc:spChg>
        <pc:spChg chg="add del mod">
          <ac:chgData name="Kebba Jeng" userId="fe4cc296-ba7d-48a2-8799-89b58d218255" providerId="ADAL" clId="{388EFDEE-447E-42B4-98EF-30C01AB2E8CD}" dt="2022-03-28T18:32:49.873" v="2977"/>
          <ac:spMkLst>
            <pc:docMk/>
            <pc:sldMk cId="3057876422" sldId="1879256067"/>
            <ac:spMk id="1756" creationId="{E383C94E-1EC3-40B6-ADA4-8FA36E797555}"/>
          </ac:spMkLst>
        </pc:spChg>
        <pc:spChg chg="add del mod">
          <ac:chgData name="Kebba Jeng" userId="fe4cc296-ba7d-48a2-8799-89b58d218255" providerId="ADAL" clId="{388EFDEE-447E-42B4-98EF-30C01AB2E8CD}" dt="2022-03-28T18:32:49.873" v="2977"/>
          <ac:spMkLst>
            <pc:docMk/>
            <pc:sldMk cId="3057876422" sldId="1879256067"/>
            <ac:spMk id="1757" creationId="{BBAFDA9E-E89F-4C14-8D86-B13B971B2517}"/>
          </ac:spMkLst>
        </pc:spChg>
        <pc:spChg chg="add del mod">
          <ac:chgData name="Kebba Jeng" userId="fe4cc296-ba7d-48a2-8799-89b58d218255" providerId="ADAL" clId="{388EFDEE-447E-42B4-98EF-30C01AB2E8CD}" dt="2022-03-28T18:32:49.873" v="2977"/>
          <ac:spMkLst>
            <pc:docMk/>
            <pc:sldMk cId="3057876422" sldId="1879256067"/>
            <ac:spMk id="1758" creationId="{3E386023-A871-4ECC-9B9A-B029918FDB12}"/>
          </ac:spMkLst>
        </pc:spChg>
        <pc:spChg chg="add del mod">
          <ac:chgData name="Kebba Jeng" userId="fe4cc296-ba7d-48a2-8799-89b58d218255" providerId="ADAL" clId="{388EFDEE-447E-42B4-98EF-30C01AB2E8CD}" dt="2022-03-28T18:32:49.873" v="2977"/>
          <ac:spMkLst>
            <pc:docMk/>
            <pc:sldMk cId="3057876422" sldId="1879256067"/>
            <ac:spMk id="1759" creationId="{121AC55D-C4C3-4F08-BAA8-BCBD505A61BD}"/>
          </ac:spMkLst>
        </pc:spChg>
        <pc:picChg chg="add mod">
          <ac:chgData name="Kebba Jeng" userId="fe4cc296-ba7d-48a2-8799-89b58d218255" providerId="ADAL" clId="{388EFDEE-447E-42B4-98EF-30C01AB2E8CD}" dt="2022-03-28T18:32:36.635" v="2970" actId="1076"/>
          <ac:picMkLst>
            <pc:docMk/>
            <pc:sldMk cId="3057876422" sldId="1879256067"/>
            <ac:picMk id="2" creationId="{3AF7F8B3-1E70-442C-B2BC-2EADC32DC5E5}"/>
          </ac:picMkLst>
        </pc:picChg>
        <pc:picChg chg="add">
          <ac:chgData name="Kebba Jeng" userId="fe4cc296-ba7d-48a2-8799-89b58d218255" providerId="ADAL" clId="{388EFDEE-447E-42B4-98EF-30C01AB2E8CD}" dt="2022-03-28T18:32:43.033" v="2974"/>
          <ac:picMkLst>
            <pc:docMk/>
            <pc:sldMk cId="3057876422" sldId="1879256067"/>
            <ac:picMk id="3" creationId="{2F53B0AA-9260-47E0-85E9-3DC2CD25C41B}"/>
          </ac:picMkLst>
        </pc:picChg>
        <pc:picChg chg="add mod">
          <ac:chgData name="Kebba Jeng" userId="fe4cc296-ba7d-48a2-8799-89b58d218255" providerId="ADAL" clId="{388EFDEE-447E-42B4-98EF-30C01AB2E8CD}" dt="2022-03-28T18:32:51.538" v="2979" actId="1076"/>
          <ac:picMkLst>
            <pc:docMk/>
            <pc:sldMk cId="3057876422" sldId="1879256067"/>
            <ac:picMk id="4" creationId="{65D06CDA-8AFA-440E-897E-43CA1B76FF47}"/>
          </ac:picMkLst>
        </pc:picChg>
      </pc:sldChg>
      <pc:sldChg chg="addSp delSp modSp add mod modNotesTx">
        <pc:chgData name="Kebba Jeng" userId="fe4cc296-ba7d-48a2-8799-89b58d218255" providerId="ADAL" clId="{388EFDEE-447E-42B4-98EF-30C01AB2E8CD}" dt="2022-03-29T18:59:18.650" v="5974" actId="207"/>
        <pc:sldMkLst>
          <pc:docMk/>
          <pc:sldMk cId="3958965365" sldId="2134803539"/>
        </pc:sldMkLst>
        <pc:spChg chg="mod">
          <ac:chgData name="Kebba Jeng" userId="fe4cc296-ba7d-48a2-8799-89b58d218255" providerId="ADAL" clId="{388EFDEE-447E-42B4-98EF-30C01AB2E8CD}" dt="2022-03-28T06:58:09.613" v="462"/>
          <ac:spMkLst>
            <pc:docMk/>
            <pc:sldMk cId="3958965365" sldId="2134803539"/>
            <ac:spMk id="3" creationId="{31A21F6C-9B0C-4695-AB92-18DF90C31306}"/>
          </ac:spMkLst>
        </pc:spChg>
        <pc:spChg chg="mod">
          <ac:chgData name="Kebba Jeng" userId="fe4cc296-ba7d-48a2-8799-89b58d218255" providerId="ADAL" clId="{388EFDEE-447E-42B4-98EF-30C01AB2E8CD}" dt="2022-03-28T06:47:39.161" v="139" actId="20577"/>
          <ac:spMkLst>
            <pc:docMk/>
            <pc:sldMk cId="3958965365" sldId="2134803539"/>
            <ac:spMk id="4" creationId="{1822B14F-87E7-4C5D-A492-B22C4CFA35D7}"/>
          </ac:spMkLst>
        </pc:spChg>
        <pc:spChg chg="mod">
          <ac:chgData name="Kebba Jeng" userId="fe4cc296-ba7d-48a2-8799-89b58d218255" providerId="ADAL" clId="{388EFDEE-447E-42B4-98EF-30C01AB2E8CD}" dt="2022-03-28T06:56:09.168" v="398" actId="21"/>
          <ac:spMkLst>
            <pc:docMk/>
            <pc:sldMk cId="3958965365" sldId="2134803539"/>
            <ac:spMk id="5" creationId="{B44510C5-883B-4C3C-A349-A70D813AB333}"/>
          </ac:spMkLst>
        </pc:spChg>
        <pc:spChg chg="add del mod">
          <ac:chgData name="Kebba Jeng" userId="fe4cc296-ba7d-48a2-8799-89b58d218255" providerId="ADAL" clId="{388EFDEE-447E-42B4-98EF-30C01AB2E8CD}" dt="2022-03-28T20:28:09.825" v="4933" actId="21"/>
          <ac:spMkLst>
            <pc:docMk/>
            <pc:sldMk cId="3958965365" sldId="2134803539"/>
            <ac:spMk id="7" creationId="{30CB7D8B-9F74-4FC3-BBEA-0DCE25E085AB}"/>
          </ac:spMkLst>
        </pc:spChg>
        <pc:spChg chg="add mod ord">
          <ac:chgData name="Kebba Jeng" userId="fe4cc296-ba7d-48a2-8799-89b58d218255" providerId="ADAL" clId="{388EFDEE-447E-42B4-98EF-30C01AB2E8CD}" dt="2022-03-29T18:59:03.649" v="5973" actId="167"/>
          <ac:spMkLst>
            <pc:docMk/>
            <pc:sldMk cId="3958965365" sldId="2134803539"/>
            <ac:spMk id="7" creationId="{6CD5F1B3-5630-47D9-9B41-7A042CE85B51}"/>
          </ac:spMkLst>
        </pc:spChg>
        <pc:spChg chg="mod">
          <ac:chgData name="Kebba Jeng" userId="fe4cc296-ba7d-48a2-8799-89b58d218255" providerId="ADAL" clId="{388EFDEE-447E-42B4-98EF-30C01AB2E8CD}" dt="2022-03-29T18:59:18.650" v="5974" actId="207"/>
          <ac:spMkLst>
            <pc:docMk/>
            <pc:sldMk cId="3958965365" sldId="2134803539"/>
            <ac:spMk id="14" creationId="{B879B74E-7175-4F6E-977B-C032CA2CCA8D}"/>
          </ac:spMkLst>
        </pc:spChg>
        <pc:spChg chg="mod">
          <ac:chgData name="Kebba Jeng" userId="fe4cc296-ba7d-48a2-8799-89b58d218255" providerId="ADAL" clId="{388EFDEE-447E-42B4-98EF-30C01AB2E8CD}" dt="2022-03-28T06:55:18.038" v="391" actId="20577"/>
          <ac:spMkLst>
            <pc:docMk/>
            <pc:sldMk cId="3958965365" sldId="2134803539"/>
            <ac:spMk id="16" creationId="{2B4C7D23-844E-4200-9E91-1F40B538E330}"/>
          </ac:spMkLst>
        </pc:spChg>
        <pc:spChg chg="mod">
          <ac:chgData name="Kebba Jeng" userId="fe4cc296-ba7d-48a2-8799-89b58d218255" providerId="ADAL" clId="{388EFDEE-447E-42B4-98EF-30C01AB2E8CD}" dt="2022-03-28T06:55:04.046" v="390" actId="20577"/>
          <ac:spMkLst>
            <pc:docMk/>
            <pc:sldMk cId="3958965365" sldId="2134803539"/>
            <ac:spMk id="17" creationId="{A91D31C5-1A6E-410A-965F-90DAF66C7CED}"/>
          </ac:spMkLst>
        </pc:spChg>
        <pc:spChg chg="mod">
          <ac:chgData name="Kebba Jeng" userId="fe4cc296-ba7d-48a2-8799-89b58d218255" providerId="ADAL" clId="{388EFDEE-447E-42B4-98EF-30C01AB2E8CD}" dt="2022-03-28T06:54:33.925" v="378"/>
          <ac:spMkLst>
            <pc:docMk/>
            <pc:sldMk cId="3958965365" sldId="2134803539"/>
            <ac:spMk id="18" creationId="{F9B4F7AC-7FDF-42C6-9FC5-1C0851B671E5}"/>
          </ac:spMkLst>
        </pc:spChg>
        <pc:spChg chg="mod">
          <ac:chgData name="Kebba Jeng" userId="fe4cc296-ba7d-48a2-8799-89b58d218255" providerId="ADAL" clId="{388EFDEE-447E-42B4-98EF-30C01AB2E8CD}" dt="2022-03-28T06:56:14.978" v="400" actId="14100"/>
          <ac:spMkLst>
            <pc:docMk/>
            <pc:sldMk cId="3958965365" sldId="2134803539"/>
            <ac:spMk id="21" creationId="{1FCC0068-190F-4EC9-8F0C-873B8537F161}"/>
          </ac:spMkLst>
        </pc:spChg>
        <pc:spChg chg="mod">
          <ac:chgData name="Kebba Jeng" userId="fe4cc296-ba7d-48a2-8799-89b58d218255" providerId="ADAL" clId="{388EFDEE-447E-42B4-98EF-30C01AB2E8CD}" dt="2022-03-28T06:53:23.379" v="369" actId="14100"/>
          <ac:spMkLst>
            <pc:docMk/>
            <pc:sldMk cId="3958965365" sldId="2134803539"/>
            <ac:spMk id="22" creationId="{3A6BA24F-F4FC-41A6-990D-F75847652687}"/>
          </ac:spMkLst>
        </pc:spChg>
        <pc:spChg chg="mod">
          <ac:chgData name="Kebba Jeng" userId="fe4cc296-ba7d-48a2-8799-89b58d218255" providerId="ADAL" clId="{388EFDEE-447E-42B4-98EF-30C01AB2E8CD}" dt="2022-03-28T06:52:47.887" v="364" actId="14100"/>
          <ac:spMkLst>
            <pc:docMk/>
            <pc:sldMk cId="3958965365" sldId="2134803539"/>
            <ac:spMk id="23" creationId="{7F4AEC53-CFD0-440F-9BAC-C5F387A50088}"/>
          </ac:spMkLst>
        </pc:spChg>
        <pc:spChg chg="mod">
          <ac:chgData name="Kebba Jeng" userId="fe4cc296-ba7d-48a2-8799-89b58d218255" providerId="ADAL" clId="{388EFDEE-447E-42B4-98EF-30C01AB2E8CD}" dt="2022-03-28T06:54:13.977" v="375" actId="20577"/>
          <ac:spMkLst>
            <pc:docMk/>
            <pc:sldMk cId="3958965365" sldId="2134803539"/>
            <ac:spMk id="26" creationId="{F690973C-5A3E-42AF-A17A-7B0535BB6F26}"/>
          </ac:spMkLst>
        </pc:spChg>
        <pc:spChg chg="add mod">
          <ac:chgData name="Kebba Jeng" userId="fe4cc296-ba7d-48a2-8799-89b58d218255" providerId="ADAL" clId="{388EFDEE-447E-42B4-98EF-30C01AB2E8CD}" dt="2022-03-28T07:00:07.972" v="465"/>
          <ac:spMkLst>
            <pc:docMk/>
            <pc:sldMk cId="3958965365" sldId="2134803539"/>
            <ac:spMk id="28" creationId="{23469941-D698-41A5-85BD-28819351A0DB}"/>
          </ac:spMkLst>
        </pc:spChg>
        <pc:picChg chg="add del mod">
          <ac:chgData name="Kebba Jeng" userId="fe4cc296-ba7d-48a2-8799-89b58d218255" providerId="ADAL" clId="{388EFDEE-447E-42B4-98EF-30C01AB2E8CD}" dt="2022-03-28T06:48:43.218" v="142" actId="478"/>
          <ac:picMkLst>
            <pc:docMk/>
            <pc:sldMk cId="3958965365" sldId="2134803539"/>
            <ac:picMk id="27" creationId="{CEEE2D34-96CA-4286-A8C2-97D9D3CB18CD}"/>
          </ac:picMkLst>
        </pc:picChg>
      </pc:sldChg>
      <pc:sldChg chg="addSp delSp add mod ord modShow">
        <pc:chgData name="Kebba Jeng" userId="fe4cc296-ba7d-48a2-8799-89b58d218255" providerId="ADAL" clId="{388EFDEE-447E-42B4-98EF-30C01AB2E8CD}" dt="2022-03-28T19:22:51.734" v="3955" actId="729"/>
        <pc:sldMkLst>
          <pc:docMk/>
          <pc:sldMk cId="3829217184" sldId="2134803540"/>
        </pc:sldMkLst>
        <pc:spChg chg="add del">
          <ac:chgData name="Kebba Jeng" userId="fe4cc296-ba7d-48a2-8799-89b58d218255" providerId="ADAL" clId="{388EFDEE-447E-42B4-98EF-30C01AB2E8CD}" dt="2022-03-28T17:55:46.121" v="2246" actId="21"/>
          <ac:spMkLst>
            <pc:docMk/>
            <pc:sldMk cId="3829217184" sldId="2134803540"/>
            <ac:spMk id="525"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26"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27"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28"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29"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30"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31"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32"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33"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34"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35"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36"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37"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38"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39"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40"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41"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42"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43"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44"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45"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46"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47"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48"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49"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50"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51"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52"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53"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54"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55"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56"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57"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58"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59"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60"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61"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62"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63"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64"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65"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66"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67"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68"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69"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70"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71"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72"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73"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74"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75"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76"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77"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78"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79"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80"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81"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82"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83"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84"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85"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86"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87"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88"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90"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91"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92"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93"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94"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95"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96"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97"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98"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599"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00"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01"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02"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03"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04"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05"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06"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07"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08"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09"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10"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11"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12"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13"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14"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15"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16"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17"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18"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19"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20"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21"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22"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23"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24"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25"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26"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27"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28"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29"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30"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31"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32"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33"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34"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35"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36"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37"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38"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39"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40"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41"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42"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43"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44"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45"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46"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47"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48"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49"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50"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51"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52"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53"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55"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56"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57"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58"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59"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60"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61"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62"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63"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64"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65"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66"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67"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68"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69"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70"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71"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72"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73"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74"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75"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76"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77"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78"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79"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80"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81"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82"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83"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84"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85"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86"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87"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88"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89"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90"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91"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92"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93"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94"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95"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96"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97"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98"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699"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700"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701"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702"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703"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704"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705"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706"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707"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708"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709"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710"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711"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712"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713"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714"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715"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716"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717" creationId="{00000000-0000-0000-0000-000000000000}"/>
          </ac:spMkLst>
        </pc:spChg>
        <pc:spChg chg="add del">
          <ac:chgData name="Kebba Jeng" userId="fe4cc296-ba7d-48a2-8799-89b58d218255" providerId="ADAL" clId="{388EFDEE-447E-42B4-98EF-30C01AB2E8CD}" dt="2022-03-28T17:55:46.121" v="2246" actId="21"/>
          <ac:spMkLst>
            <pc:docMk/>
            <pc:sldMk cId="3829217184" sldId="2134803540"/>
            <ac:spMk id="718" creationId="{00000000-0000-0000-0000-000000000000}"/>
          </ac:spMkLst>
        </pc:spChg>
      </pc:sldChg>
      <pc:sldChg chg="addSp delSp modSp add mod modNotesTx">
        <pc:chgData name="Kebba Jeng" userId="fe4cc296-ba7d-48a2-8799-89b58d218255" providerId="ADAL" clId="{388EFDEE-447E-42B4-98EF-30C01AB2E8CD}" dt="2022-03-29T19:04:50.138" v="6066"/>
        <pc:sldMkLst>
          <pc:docMk/>
          <pc:sldMk cId="2881810783" sldId="2134803541"/>
        </pc:sldMkLst>
        <pc:spChg chg="mod">
          <ac:chgData name="Kebba Jeng" userId="fe4cc296-ba7d-48a2-8799-89b58d218255" providerId="ADAL" clId="{388EFDEE-447E-42B4-98EF-30C01AB2E8CD}" dt="2022-03-28T18:09:09.429" v="2712" actId="20577"/>
          <ac:spMkLst>
            <pc:docMk/>
            <pc:sldMk cId="2881810783" sldId="2134803541"/>
            <ac:spMk id="2" creationId="{CD937EA4-3F52-4E64-992E-36C9D2E6779F}"/>
          </ac:spMkLst>
        </pc:spChg>
        <pc:spChg chg="mod">
          <ac:chgData name="Kebba Jeng" userId="fe4cc296-ba7d-48a2-8799-89b58d218255" providerId="ADAL" clId="{388EFDEE-447E-42B4-98EF-30C01AB2E8CD}" dt="2022-03-28T18:33:51.607" v="2992" actId="20577"/>
          <ac:spMkLst>
            <pc:docMk/>
            <pc:sldMk cId="2881810783" sldId="2134803541"/>
            <ac:spMk id="1112" creationId="{F14CFA2A-1C72-43E9-937D-93FCE1820995}"/>
          </ac:spMkLst>
        </pc:spChg>
        <pc:spChg chg="mod">
          <ac:chgData name="Kebba Jeng" userId="fe4cc296-ba7d-48a2-8799-89b58d218255" providerId="ADAL" clId="{388EFDEE-447E-42B4-98EF-30C01AB2E8CD}" dt="2022-03-28T18:33:57.610" v="2997" actId="20577"/>
          <ac:spMkLst>
            <pc:docMk/>
            <pc:sldMk cId="2881810783" sldId="2134803541"/>
            <ac:spMk id="1891" creationId="{9F2A9366-C2B7-4701-9311-32D822031E99}"/>
          </ac:spMkLst>
        </pc:spChg>
        <pc:picChg chg="del">
          <ac:chgData name="Kebba Jeng" userId="fe4cc296-ba7d-48a2-8799-89b58d218255" providerId="ADAL" clId="{388EFDEE-447E-42B4-98EF-30C01AB2E8CD}" dt="2022-03-28T18:33:45.020" v="2987" actId="478"/>
          <ac:picMkLst>
            <pc:docMk/>
            <pc:sldMk cId="2881810783" sldId="2134803541"/>
            <ac:picMk id="5" creationId="{4B0810EB-FF18-46B7-8B00-8AC6D9C4AF79}"/>
          </ac:picMkLst>
        </pc:picChg>
        <pc:picChg chg="del">
          <ac:chgData name="Kebba Jeng" userId="fe4cc296-ba7d-48a2-8799-89b58d218255" providerId="ADAL" clId="{388EFDEE-447E-42B4-98EF-30C01AB2E8CD}" dt="2022-03-28T18:33:45.020" v="2987" actId="478"/>
          <ac:picMkLst>
            <pc:docMk/>
            <pc:sldMk cId="2881810783" sldId="2134803541"/>
            <ac:picMk id="6" creationId="{0EBFF919-8803-4A9C-A014-4026BA78917D}"/>
          </ac:picMkLst>
        </pc:picChg>
        <pc:picChg chg="del">
          <ac:chgData name="Kebba Jeng" userId="fe4cc296-ba7d-48a2-8799-89b58d218255" providerId="ADAL" clId="{388EFDEE-447E-42B4-98EF-30C01AB2E8CD}" dt="2022-03-28T18:33:45.020" v="2987" actId="478"/>
          <ac:picMkLst>
            <pc:docMk/>
            <pc:sldMk cId="2881810783" sldId="2134803541"/>
            <ac:picMk id="7" creationId="{D0CEEC6D-920A-4BEB-8B28-6610031F589F}"/>
          </ac:picMkLst>
        </pc:picChg>
        <pc:picChg chg="add mod ord">
          <ac:chgData name="Kebba Jeng" userId="fe4cc296-ba7d-48a2-8799-89b58d218255" providerId="ADAL" clId="{388EFDEE-447E-42B4-98EF-30C01AB2E8CD}" dt="2022-03-28T18:33:42.411" v="2986" actId="167"/>
          <ac:picMkLst>
            <pc:docMk/>
            <pc:sldMk cId="2881810783" sldId="2134803541"/>
            <ac:picMk id="21" creationId="{1D220B4F-8EC2-459E-AF14-248361159576}"/>
          </ac:picMkLst>
        </pc:picChg>
        <pc:picChg chg="add mod ord">
          <ac:chgData name="Kebba Jeng" userId="fe4cc296-ba7d-48a2-8799-89b58d218255" providerId="ADAL" clId="{388EFDEE-447E-42B4-98EF-30C01AB2E8CD}" dt="2022-03-28T18:33:42.411" v="2986" actId="167"/>
          <ac:picMkLst>
            <pc:docMk/>
            <pc:sldMk cId="2881810783" sldId="2134803541"/>
            <ac:picMk id="22" creationId="{8CDD4699-D694-4F2A-AFA1-4D307DB16417}"/>
          </ac:picMkLst>
        </pc:picChg>
        <pc:picChg chg="add mod ord">
          <ac:chgData name="Kebba Jeng" userId="fe4cc296-ba7d-48a2-8799-89b58d218255" providerId="ADAL" clId="{388EFDEE-447E-42B4-98EF-30C01AB2E8CD}" dt="2022-03-28T18:33:42.411" v="2986" actId="167"/>
          <ac:picMkLst>
            <pc:docMk/>
            <pc:sldMk cId="2881810783" sldId="2134803541"/>
            <ac:picMk id="23" creationId="{BBBBEC26-2FCB-4E07-BFE0-237E29E87FE7}"/>
          </ac:picMkLst>
        </pc:picChg>
      </pc:sldChg>
      <pc:sldChg chg="addSp delSp modSp add mod ord modShow">
        <pc:chgData name="Kebba Jeng" userId="fe4cc296-ba7d-48a2-8799-89b58d218255" providerId="ADAL" clId="{388EFDEE-447E-42B4-98EF-30C01AB2E8CD}" dt="2022-03-28T19:22:51.734" v="3955" actId="729"/>
        <pc:sldMkLst>
          <pc:docMk/>
          <pc:sldMk cId="1852388011" sldId="2134803542"/>
        </pc:sldMkLst>
        <pc:spChg chg="del">
          <ac:chgData name="Kebba Jeng" userId="fe4cc296-ba7d-48a2-8799-89b58d218255" providerId="ADAL" clId="{388EFDEE-447E-42B4-98EF-30C01AB2E8CD}" dt="2022-03-28T18:09:52.097" v="2716" actId="478"/>
          <ac:spMkLst>
            <pc:docMk/>
            <pc:sldMk cId="1852388011" sldId="2134803542"/>
            <ac:spMk id="2" creationId="{CD937EA4-3F52-4E64-992E-36C9D2E6779F}"/>
          </ac:spMkLst>
        </pc:spChg>
        <pc:spChg chg="del">
          <ac:chgData name="Kebba Jeng" userId="fe4cc296-ba7d-48a2-8799-89b58d218255" providerId="ADAL" clId="{388EFDEE-447E-42B4-98EF-30C01AB2E8CD}" dt="2022-03-28T18:09:52.097" v="2716" actId="478"/>
          <ac:spMkLst>
            <pc:docMk/>
            <pc:sldMk cId="1852388011" sldId="2134803542"/>
            <ac:spMk id="3" creationId="{9B78DEC8-96DA-4CBB-B8BE-C2FDAFC73852}"/>
          </ac:spMkLst>
        </pc:spChg>
        <pc:spChg chg="del">
          <ac:chgData name="Kebba Jeng" userId="fe4cc296-ba7d-48a2-8799-89b58d218255" providerId="ADAL" clId="{388EFDEE-447E-42B4-98EF-30C01AB2E8CD}" dt="2022-03-28T18:09:44.889" v="2714" actId="478"/>
          <ac:spMkLst>
            <pc:docMk/>
            <pc:sldMk cId="1852388011" sldId="2134803542"/>
            <ac:spMk id="8" creationId="{74647358-158C-46FD-9C13-7E35AC243095}"/>
          </ac:spMkLst>
        </pc:spChg>
        <pc:spChg chg="del">
          <ac:chgData name="Kebba Jeng" userId="fe4cc296-ba7d-48a2-8799-89b58d218255" providerId="ADAL" clId="{388EFDEE-447E-42B4-98EF-30C01AB2E8CD}" dt="2022-03-28T18:09:47.816" v="2715" actId="478"/>
          <ac:spMkLst>
            <pc:docMk/>
            <pc:sldMk cId="1852388011" sldId="2134803542"/>
            <ac:spMk id="9" creationId="{C9B83C28-3B84-4DEC-B622-917B61297A29}"/>
          </ac:spMkLst>
        </pc:spChg>
        <pc:spChg chg="add mod">
          <ac:chgData name="Kebba Jeng" userId="fe4cc296-ba7d-48a2-8799-89b58d218255" providerId="ADAL" clId="{388EFDEE-447E-42B4-98EF-30C01AB2E8CD}" dt="2022-03-28T18:22:56.964" v="2878" actId="1076"/>
          <ac:spMkLst>
            <pc:docMk/>
            <pc:sldMk cId="1852388011" sldId="2134803542"/>
            <ac:spMk id="10" creationId="{6EF9F996-B0E4-4CC8-BCB5-8CBDFF77E898}"/>
          </ac:spMkLst>
        </pc:spChg>
        <pc:spChg chg="add mod">
          <ac:chgData name="Kebba Jeng" userId="fe4cc296-ba7d-48a2-8799-89b58d218255" providerId="ADAL" clId="{388EFDEE-447E-42B4-98EF-30C01AB2E8CD}" dt="2022-03-28T18:22:56.964" v="2878" actId="1076"/>
          <ac:spMkLst>
            <pc:docMk/>
            <pc:sldMk cId="1852388011" sldId="2134803542"/>
            <ac:spMk id="11" creationId="{C651408D-4C61-4F51-A7FD-D866AB775722}"/>
          </ac:spMkLst>
        </pc:spChg>
        <pc:spChg chg="add del mod">
          <ac:chgData name="Kebba Jeng" userId="fe4cc296-ba7d-48a2-8799-89b58d218255" providerId="ADAL" clId="{388EFDEE-447E-42B4-98EF-30C01AB2E8CD}" dt="2022-03-28T18:15:33.786" v="2817" actId="478"/>
          <ac:spMkLst>
            <pc:docMk/>
            <pc:sldMk cId="1852388011" sldId="2134803542"/>
            <ac:spMk id="14" creationId="{531E0DD6-6CDD-44F8-91DE-CE13B4CEA4BD}"/>
          </ac:spMkLst>
        </pc:spChg>
        <pc:spChg chg="add del mod">
          <ac:chgData name="Kebba Jeng" userId="fe4cc296-ba7d-48a2-8799-89b58d218255" providerId="ADAL" clId="{388EFDEE-447E-42B4-98EF-30C01AB2E8CD}" dt="2022-03-28T18:10:08.668" v="2720"/>
          <ac:spMkLst>
            <pc:docMk/>
            <pc:sldMk cId="1852388011" sldId="2134803542"/>
            <ac:spMk id="21" creationId="{71F5827F-C5CE-49A6-9B5A-7A8F56BF468E}"/>
          </ac:spMkLst>
        </pc:spChg>
        <pc:spChg chg="add del mod">
          <ac:chgData name="Kebba Jeng" userId="fe4cc296-ba7d-48a2-8799-89b58d218255" providerId="ADAL" clId="{388EFDEE-447E-42B4-98EF-30C01AB2E8CD}" dt="2022-03-28T18:10:08.668" v="2720"/>
          <ac:spMkLst>
            <pc:docMk/>
            <pc:sldMk cId="1852388011" sldId="2134803542"/>
            <ac:spMk id="22" creationId="{BCE44468-3E5F-4F9F-A56F-803B36782AB1}"/>
          </ac:spMkLst>
        </pc:spChg>
        <pc:spChg chg="add del mod">
          <ac:chgData name="Kebba Jeng" userId="fe4cc296-ba7d-48a2-8799-89b58d218255" providerId="ADAL" clId="{388EFDEE-447E-42B4-98EF-30C01AB2E8CD}" dt="2022-03-28T18:10:08.668" v="2720"/>
          <ac:spMkLst>
            <pc:docMk/>
            <pc:sldMk cId="1852388011" sldId="2134803542"/>
            <ac:spMk id="23" creationId="{97FD4254-995A-4B55-8D0B-65BD89BACAFD}"/>
          </ac:spMkLst>
        </pc:spChg>
        <pc:spChg chg="add del mod">
          <ac:chgData name="Kebba Jeng" userId="fe4cc296-ba7d-48a2-8799-89b58d218255" providerId="ADAL" clId="{388EFDEE-447E-42B4-98EF-30C01AB2E8CD}" dt="2022-03-28T18:10:08.668" v="2720"/>
          <ac:spMkLst>
            <pc:docMk/>
            <pc:sldMk cId="1852388011" sldId="2134803542"/>
            <ac:spMk id="24" creationId="{0D2F1680-A20C-4585-A68C-023AC23337A2}"/>
          </ac:spMkLst>
        </pc:spChg>
        <pc:spChg chg="add del mod">
          <ac:chgData name="Kebba Jeng" userId="fe4cc296-ba7d-48a2-8799-89b58d218255" providerId="ADAL" clId="{388EFDEE-447E-42B4-98EF-30C01AB2E8CD}" dt="2022-03-28T18:10:08.668" v="2720"/>
          <ac:spMkLst>
            <pc:docMk/>
            <pc:sldMk cId="1852388011" sldId="2134803542"/>
            <ac:spMk id="25" creationId="{F22AAF6A-628A-499E-831D-DB4FCF03AFBD}"/>
          </ac:spMkLst>
        </pc:spChg>
        <pc:spChg chg="add del mod">
          <ac:chgData name="Kebba Jeng" userId="fe4cc296-ba7d-48a2-8799-89b58d218255" providerId="ADAL" clId="{388EFDEE-447E-42B4-98EF-30C01AB2E8CD}" dt="2022-03-28T18:10:08.668" v="2720"/>
          <ac:spMkLst>
            <pc:docMk/>
            <pc:sldMk cId="1852388011" sldId="2134803542"/>
            <ac:spMk id="26" creationId="{261B1F7F-2839-4A9B-B756-4E7F9C1555C2}"/>
          </ac:spMkLst>
        </pc:spChg>
        <pc:spChg chg="add del mod">
          <ac:chgData name="Kebba Jeng" userId="fe4cc296-ba7d-48a2-8799-89b58d218255" providerId="ADAL" clId="{388EFDEE-447E-42B4-98EF-30C01AB2E8CD}" dt="2022-03-28T18:10:08.668" v="2720"/>
          <ac:spMkLst>
            <pc:docMk/>
            <pc:sldMk cId="1852388011" sldId="2134803542"/>
            <ac:spMk id="27" creationId="{017F2F81-72CF-403E-B752-BEB28E83D70C}"/>
          </ac:spMkLst>
        </pc:spChg>
        <pc:spChg chg="add del mod">
          <ac:chgData name="Kebba Jeng" userId="fe4cc296-ba7d-48a2-8799-89b58d218255" providerId="ADAL" clId="{388EFDEE-447E-42B4-98EF-30C01AB2E8CD}" dt="2022-03-28T18:10:08.668" v="2720"/>
          <ac:spMkLst>
            <pc:docMk/>
            <pc:sldMk cId="1852388011" sldId="2134803542"/>
            <ac:spMk id="28" creationId="{1ECF2740-6791-47E6-A545-C88E067C8396}"/>
          </ac:spMkLst>
        </pc:spChg>
        <pc:spChg chg="add del mod">
          <ac:chgData name="Kebba Jeng" userId="fe4cc296-ba7d-48a2-8799-89b58d218255" providerId="ADAL" clId="{388EFDEE-447E-42B4-98EF-30C01AB2E8CD}" dt="2022-03-28T18:10:08.668" v="2720"/>
          <ac:spMkLst>
            <pc:docMk/>
            <pc:sldMk cId="1852388011" sldId="2134803542"/>
            <ac:spMk id="29" creationId="{D984C294-8157-4D41-B610-D4777CE10892}"/>
          </ac:spMkLst>
        </pc:spChg>
        <pc:spChg chg="add del mod">
          <ac:chgData name="Kebba Jeng" userId="fe4cc296-ba7d-48a2-8799-89b58d218255" providerId="ADAL" clId="{388EFDEE-447E-42B4-98EF-30C01AB2E8CD}" dt="2022-03-28T18:10:08.668" v="2720"/>
          <ac:spMkLst>
            <pc:docMk/>
            <pc:sldMk cId="1852388011" sldId="2134803542"/>
            <ac:spMk id="30" creationId="{379957AC-D60E-42E1-A9DC-DC996E2620DA}"/>
          </ac:spMkLst>
        </pc:spChg>
        <pc:spChg chg="add del mod">
          <ac:chgData name="Kebba Jeng" userId="fe4cc296-ba7d-48a2-8799-89b58d218255" providerId="ADAL" clId="{388EFDEE-447E-42B4-98EF-30C01AB2E8CD}" dt="2022-03-28T18:10:08.668" v="2720"/>
          <ac:spMkLst>
            <pc:docMk/>
            <pc:sldMk cId="1852388011" sldId="2134803542"/>
            <ac:spMk id="31" creationId="{21551715-2BE8-4CA6-85BD-D4EE4C11742A}"/>
          </ac:spMkLst>
        </pc:spChg>
        <pc:spChg chg="add del mod">
          <ac:chgData name="Kebba Jeng" userId="fe4cc296-ba7d-48a2-8799-89b58d218255" providerId="ADAL" clId="{388EFDEE-447E-42B4-98EF-30C01AB2E8CD}" dt="2022-03-28T18:10:08.668" v="2720"/>
          <ac:spMkLst>
            <pc:docMk/>
            <pc:sldMk cId="1852388011" sldId="2134803542"/>
            <ac:spMk id="32" creationId="{061285D6-AE83-4EC5-8130-62DBF75E85F7}"/>
          </ac:spMkLst>
        </pc:spChg>
        <pc:spChg chg="add del mod">
          <ac:chgData name="Kebba Jeng" userId="fe4cc296-ba7d-48a2-8799-89b58d218255" providerId="ADAL" clId="{388EFDEE-447E-42B4-98EF-30C01AB2E8CD}" dt="2022-03-28T18:10:08.668" v="2720"/>
          <ac:spMkLst>
            <pc:docMk/>
            <pc:sldMk cId="1852388011" sldId="2134803542"/>
            <ac:spMk id="33" creationId="{C4F8750D-B0DF-4019-AAC6-175643412EE4}"/>
          </ac:spMkLst>
        </pc:spChg>
        <pc:spChg chg="add del mod">
          <ac:chgData name="Kebba Jeng" userId="fe4cc296-ba7d-48a2-8799-89b58d218255" providerId="ADAL" clId="{388EFDEE-447E-42B4-98EF-30C01AB2E8CD}" dt="2022-03-28T18:10:08.668" v="2720"/>
          <ac:spMkLst>
            <pc:docMk/>
            <pc:sldMk cId="1852388011" sldId="2134803542"/>
            <ac:spMk id="34" creationId="{580DD1C3-2ABB-443E-99EB-E284B015C74F}"/>
          </ac:spMkLst>
        </pc:spChg>
        <pc:spChg chg="add del mod">
          <ac:chgData name="Kebba Jeng" userId="fe4cc296-ba7d-48a2-8799-89b58d218255" providerId="ADAL" clId="{388EFDEE-447E-42B4-98EF-30C01AB2E8CD}" dt="2022-03-28T18:10:08.668" v="2720"/>
          <ac:spMkLst>
            <pc:docMk/>
            <pc:sldMk cId="1852388011" sldId="2134803542"/>
            <ac:spMk id="35" creationId="{369F767C-2544-45CA-BEB7-76F92929BE23}"/>
          </ac:spMkLst>
        </pc:spChg>
        <pc:spChg chg="add del mod">
          <ac:chgData name="Kebba Jeng" userId="fe4cc296-ba7d-48a2-8799-89b58d218255" providerId="ADAL" clId="{388EFDEE-447E-42B4-98EF-30C01AB2E8CD}" dt="2022-03-28T18:10:08.668" v="2720"/>
          <ac:spMkLst>
            <pc:docMk/>
            <pc:sldMk cId="1852388011" sldId="2134803542"/>
            <ac:spMk id="36" creationId="{FA3F3AD8-A161-4A4B-8605-7B53515FE400}"/>
          </ac:spMkLst>
        </pc:spChg>
        <pc:spChg chg="add del mod">
          <ac:chgData name="Kebba Jeng" userId="fe4cc296-ba7d-48a2-8799-89b58d218255" providerId="ADAL" clId="{388EFDEE-447E-42B4-98EF-30C01AB2E8CD}" dt="2022-03-28T18:10:08.668" v="2720"/>
          <ac:spMkLst>
            <pc:docMk/>
            <pc:sldMk cId="1852388011" sldId="2134803542"/>
            <ac:spMk id="37" creationId="{FD8CEB7C-AB6F-4B83-8A6A-769C00E9F97E}"/>
          </ac:spMkLst>
        </pc:spChg>
        <pc:spChg chg="add del mod">
          <ac:chgData name="Kebba Jeng" userId="fe4cc296-ba7d-48a2-8799-89b58d218255" providerId="ADAL" clId="{388EFDEE-447E-42B4-98EF-30C01AB2E8CD}" dt="2022-03-28T18:10:08.668" v="2720"/>
          <ac:spMkLst>
            <pc:docMk/>
            <pc:sldMk cId="1852388011" sldId="2134803542"/>
            <ac:spMk id="38" creationId="{5F993CEF-3B85-4263-9DE4-CD10E8E94A20}"/>
          </ac:spMkLst>
        </pc:spChg>
        <pc:spChg chg="add del mod">
          <ac:chgData name="Kebba Jeng" userId="fe4cc296-ba7d-48a2-8799-89b58d218255" providerId="ADAL" clId="{388EFDEE-447E-42B4-98EF-30C01AB2E8CD}" dt="2022-03-28T18:10:08.668" v="2720"/>
          <ac:spMkLst>
            <pc:docMk/>
            <pc:sldMk cId="1852388011" sldId="2134803542"/>
            <ac:spMk id="39" creationId="{40B9530C-AC56-4F1C-95BD-643217AFEBA3}"/>
          </ac:spMkLst>
        </pc:spChg>
        <pc:spChg chg="add del mod">
          <ac:chgData name="Kebba Jeng" userId="fe4cc296-ba7d-48a2-8799-89b58d218255" providerId="ADAL" clId="{388EFDEE-447E-42B4-98EF-30C01AB2E8CD}" dt="2022-03-28T18:10:08.668" v="2720"/>
          <ac:spMkLst>
            <pc:docMk/>
            <pc:sldMk cId="1852388011" sldId="2134803542"/>
            <ac:spMk id="40" creationId="{03F19CFC-9294-4A49-AEE0-787E223FBEC9}"/>
          </ac:spMkLst>
        </pc:spChg>
        <pc:spChg chg="add del mod">
          <ac:chgData name="Kebba Jeng" userId="fe4cc296-ba7d-48a2-8799-89b58d218255" providerId="ADAL" clId="{388EFDEE-447E-42B4-98EF-30C01AB2E8CD}" dt="2022-03-28T18:10:08.668" v="2720"/>
          <ac:spMkLst>
            <pc:docMk/>
            <pc:sldMk cId="1852388011" sldId="2134803542"/>
            <ac:spMk id="41" creationId="{5ADAFBA3-A302-4764-9941-52B53C57B061}"/>
          </ac:spMkLst>
        </pc:spChg>
        <pc:spChg chg="add del mod">
          <ac:chgData name="Kebba Jeng" userId="fe4cc296-ba7d-48a2-8799-89b58d218255" providerId="ADAL" clId="{388EFDEE-447E-42B4-98EF-30C01AB2E8CD}" dt="2022-03-28T18:10:08.668" v="2720"/>
          <ac:spMkLst>
            <pc:docMk/>
            <pc:sldMk cId="1852388011" sldId="2134803542"/>
            <ac:spMk id="42" creationId="{B764D372-A67C-4F71-BB63-9C5A5B42EDAB}"/>
          </ac:spMkLst>
        </pc:spChg>
        <pc:spChg chg="add del mod">
          <ac:chgData name="Kebba Jeng" userId="fe4cc296-ba7d-48a2-8799-89b58d218255" providerId="ADAL" clId="{388EFDEE-447E-42B4-98EF-30C01AB2E8CD}" dt="2022-03-28T18:10:08.668" v="2720"/>
          <ac:spMkLst>
            <pc:docMk/>
            <pc:sldMk cId="1852388011" sldId="2134803542"/>
            <ac:spMk id="43" creationId="{D00A7E87-20B2-499E-B145-BB171C4B27AD}"/>
          </ac:spMkLst>
        </pc:spChg>
        <pc:spChg chg="add del mod">
          <ac:chgData name="Kebba Jeng" userId="fe4cc296-ba7d-48a2-8799-89b58d218255" providerId="ADAL" clId="{388EFDEE-447E-42B4-98EF-30C01AB2E8CD}" dt="2022-03-28T18:10:08.668" v="2720"/>
          <ac:spMkLst>
            <pc:docMk/>
            <pc:sldMk cId="1852388011" sldId="2134803542"/>
            <ac:spMk id="44" creationId="{00A717EC-2BA7-499D-97EA-8E10E13F9E92}"/>
          </ac:spMkLst>
        </pc:spChg>
        <pc:spChg chg="add del mod">
          <ac:chgData name="Kebba Jeng" userId="fe4cc296-ba7d-48a2-8799-89b58d218255" providerId="ADAL" clId="{388EFDEE-447E-42B4-98EF-30C01AB2E8CD}" dt="2022-03-28T18:10:08.668" v="2720"/>
          <ac:spMkLst>
            <pc:docMk/>
            <pc:sldMk cId="1852388011" sldId="2134803542"/>
            <ac:spMk id="45" creationId="{18FF045D-8D0F-4362-B446-9C736AE55A3D}"/>
          </ac:spMkLst>
        </pc:spChg>
        <pc:spChg chg="add del mod">
          <ac:chgData name="Kebba Jeng" userId="fe4cc296-ba7d-48a2-8799-89b58d218255" providerId="ADAL" clId="{388EFDEE-447E-42B4-98EF-30C01AB2E8CD}" dt="2022-03-28T18:10:08.668" v="2720"/>
          <ac:spMkLst>
            <pc:docMk/>
            <pc:sldMk cId="1852388011" sldId="2134803542"/>
            <ac:spMk id="46" creationId="{F643C663-83AA-4437-BB37-69B34B27B681}"/>
          </ac:spMkLst>
        </pc:spChg>
        <pc:spChg chg="add del mod">
          <ac:chgData name="Kebba Jeng" userId="fe4cc296-ba7d-48a2-8799-89b58d218255" providerId="ADAL" clId="{388EFDEE-447E-42B4-98EF-30C01AB2E8CD}" dt="2022-03-28T18:10:08.668" v="2720"/>
          <ac:spMkLst>
            <pc:docMk/>
            <pc:sldMk cId="1852388011" sldId="2134803542"/>
            <ac:spMk id="47" creationId="{51449DAA-AFE9-45B9-B948-6C6A401AA35B}"/>
          </ac:spMkLst>
        </pc:spChg>
        <pc:spChg chg="add del mod">
          <ac:chgData name="Kebba Jeng" userId="fe4cc296-ba7d-48a2-8799-89b58d218255" providerId="ADAL" clId="{388EFDEE-447E-42B4-98EF-30C01AB2E8CD}" dt="2022-03-28T18:10:08.668" v="2720"/>
          <ac:spMkLst>
            <pc:docMk/>
            <pc:sldMk cId="1852388011" sldId="2134803542"/>
            <ac:spMk id="48" creationId="{AB11089D-25BF-4B9E-A005-167C3AD11EAE}"/>
          </ac:spMkLst>
        </pc:spChg>
        <pc:spChg chg="add del mod">
          <ac:chgData name="Kebba Jeng" userId="fe4cc296-ba7d-48a2-8799-89b58d218255" providerId="ADAL" clId="{388EFDEE-447E-42B4-98EF-30C01AB2E8CD}" dt="2022-03-28T18:10:08.668" v="2720"/>
          <ac:spMkLst>
            <pc:docMk/>
            <pc:sldMk cId="1852388011" sldId="2134803542"/>
            <ac:spMk id="49" creationId="{004B5375-D581-4539-894B-57C306711032}"/>
          </ac:spMkLst>
        </pc:spChg>
        <pc:spChg chg="add del mod">
          <ac:chgData name="Kebba Jeng" userId="fe4cc296-ba7d-48a2-8799-89b58d218255" providerId="ADAL" clId="{388EFDEE-447E-42B4-98EF-30C01AB2E8CD}" dt="2022-03-28T18:10:08.668" v="2720"/>
          <ac:spMkLst>
            <pc:docMk/>
            <pc:sldMk cId="1852388011" sldId="2134803542"/>
            <ac:spMk id="50" creationId="{DC4086F1-10DE-4A3F-BB79-6922FDAB5DB1}"/>
          </ac:spMkLst>
        </pc:spChg>
        <pc:spChg chg="add del mod">
          <ac:chgData name="Kebba Jeng" userId="fe4cc296-ba7d-48a2-8799-89b58d218255" providerId="ADAL" clId="{388EFDEE-447E-42B4-98EF-30C01AB2E8CD}" dt="2022-03-28T18:10:08.668" v="2720"/>
          <ac:spMkLst>
            <pc:docMk/>
            <pc:sldMk cId="1852388011" sldId="2134803542"/>
            <ac:spMk id="51" creationId="{2E62DD6E-C129-4049-9DA7-B9C2BC933CC2}"/>
          </ac:spMkLst>
        </pc:spChg>
        <pc:spChg chg="add del mod">
          <ac:chgData name="Kebba Jeng" userId="fe4cc296-ba7d-48a2-8799-89b58d218255" providerId="ADAL" clId="{388EFDEE-447E-42B4-98EF-30C01AB2E8CD}" dt="2022-03-28T18:10:08.668" v="2720"/>
          <ac:spMkLst>
            <pc:docMk/>
            <pc:sldMk cId="1852388011" sldId="2134803542"/>
            <ac:spMk id="52" creationId="{5E8F036A-CF02-4A69-BC46-3CFD4873A569}"/>
          </ac:spMkLst>
        </pc:spChg>
        <pc:spChg chg="add del mod">
          <ac:chgData name="Kebba Jeng" userId="fe4cc296-ba7d-48a2-8799-89b58d218255" providerId="ADAL" clId="{388EFDEE-447E-42B4-98EF-30C01AB2E8CD}" dt="2022-03-28T18:10:08.668" v="2720"/>
          <ac:spMkLst>
            <pc:docMk/>
            <pc:sldMk cId="1852388011" sldId="2134803542"/>
            <ac:spMk id="53" creationId="{1A36A226-8804-4DB7-A21E-A66C65B5DBE3}"/>
          </ac:spMkLst>
        </pc:spChg>
        <pc:spChg chg="add del mod">
          <ac:chgData name="Kebba Jeng" userId="fe4cc296-ba7d-48a2-8799-89b58d218255" providerId="ADAL" clId="{388EFDEE-447E-42B4-98EF-30C01AB2E8CD}" dt="2022-03-28T18:10:08.668" v="2720"/>
          <ac:spMkLst>
            <pc:docMk/>
            <pc:sldMk cId="1852388011" sldId="2134803542"/>
            <ac:spMk id="54" creationId="{79022FA8-B802-4C42-88EF-96FB3B0D339F}"/>
          </ac:spMkLst>
        </pc:spChg>
        <pc:spChg chg="add del mod">
          <ac:chgData name="Kebba Jeng" userId="fe4cc296-ba7d-48a2-8799-89b58d218255" providerId="ADAL" clId="{388EFDEE-447E-42B4-98EF-30C01AB2E8CD}" dt="2022-03-28T18:10:08.668" v="2720"/>
          <ac:spMkLst>
            <pc:docMk/>
            <pc:sldMk cId="1852388011" sldId="2134803542"/>
            <ac:spMk id="55" creationId="{33587C4D-F3AE-4AA6-AEE5-2224EFADF813}"/>
          </ac:spMkLst>
        </pc:spChg>
        <pc:spChg chg="add del mod">
          <ac:chgData name="Kebba Jeng" userId="fe4cc296-ba7d-48a2-8799-89b58d218255" providerId="ADAL" clId="{388EFDEE-447E-42B4-98EF-30C01AB2E8CD}" dt="2022-03-28T18:10:08.668" v="2720"/>
          <ac:spMkLst>
            <pc:docMk/>
            <pc:sldMk cId="1852388011" sldId="2134803542"/>
            <ac:spMk id="56" creationId="{C23BE401-111E-43E0-BFC7-622FE67FBAC1}"/>
          </ac:spMkLst>
        </pc:spChg>
        <pc:spChg chg="add del mod">
          <ac:chgData name="Kebba Jeng" userId="fe4cc296-ba7d-48a2-8799-89b58d218255" providerId="ADAL" clId="{388EFDEE-447E-42B4-98EF-30C01AB2E8CD}" dt="2022-03-28T18:10:08.668" v="2720"/>
          <ac:spMkLst>
            <pc:docMk/>
            <pc:sldMk cId="1852388011" sldId="2134803542"/>
            <ac:spMk id="57" creationId="{1AEFEEB0-3BD7-4971-BABF-C8ED231425F3}"/>
          </ac:spMkLst>
        </pc:spChg>
        <pc:spChg chg="add del mod">
          <ac:chgData name="Kebba Jeng" userId="fe4cc296-ba7d-48a2-8799-89b58d218255" providerId="ADAL" clId="{388EFDEE-447E-42B4-98EF-30C01AB2E8CD}" dt="2022-03-28T18:10:08.668" v="2720"/>
          <ac:spMkLst>
            <pc:docMk/>
            <pc:sldMk cId="1852388011" sldId="2134803542"/>
            <ac:spMk id="58" creationId="{FF0054FA-F3BC-4771-838D-E0DE8157AE35}"/>
          </ac:spMkLst>
        </pc:spChg>
        <pc:spChg chg="add del mod">
          <ac:chgData name="Kebba Jeng" userId="fe4cc296-ba7d-48a2-8799-89b58d218255" providerId="ADAL" clId="{388EFDEE-447E-42B4-98EF-30C01AB2E8CD}" dt="2022-03-28T18:10:08.668" v="2720"/>
          <ac:spMkLst>
            <pc:docMk/>
            <pc:sldMk cId="1852388011" sldId="2134803542"/>
            <ac:spMk id="59" creationId="{0D28E2E2-A65F-49B4-BF38-147BF9BA1CCF}"/>
          </ac:spMkLst>
        </pc:spChg>
        <pc:spChg chg="add del mod">
          <ac:chgData name="Kebba Jeng" userId="fe4cc296-ba7d-48a2-8799-89b58d218255" providerId="ADAL" clId="{388EFDEE-447E-42B4-98EF-30C01AB2E8CD}" dt="2022-03-28T18:10:08.668" v="2720"/>
          <ac:spMkLst>
            <pc:docMk/>
            <pc:sldMk cId="1852388011" sldId="2134803542"/>
            <ac:spMk id="60" creationId="{13B1D3D9-21F9-46E8-8E20-97BB65B82FC3}"/>
          </ac:spMkLst>
        </pc:spChg>
        <pc:spChg chg="add del mod">
          <ac:chgData name="Kebba Jeng" userId="fe4cc296-ba7d-48a2-8799-89b58d218255" providerId="ADAL" clId="{388EFDEE-447E-42B4-98EF-30C01AB2E8CD}" dt="2022-03-28T18:10:08.668" v="2720"/>
          <ac:spMkLst>
            <pc:docMk/>
            <pc:sldMk cId="1852388011" sldId="2134803542"/>
            <ac:spMk id="61" creationId="{D4BD6EB5-8502-4DBD-ADC0-F32BFE5DBED4}"/>
          </ac:spMkLst>
        </pc:spChg>
        <pc:spChg chg="add del mod">
          <ac:chgData name="Kebba Jeng" userId="fe4cc296-ba7d-48a2-8799-89b58d218255" providerId="ADAL" clId="{388EFDEE-447E-42B4-98EF-30C01AB2E8CD}" dt="2022-03-28T18:10:08.668" v="2720"/>
          <ac:spMkLst>
            <pc:docMk/>
            <pc:sldMk cId="1852388011" sldId="2134803542"/>
            <ac:spMk id="62" creationId="{6CA43CBA-7E5D-4AA9-8B43-3C8DE8E65243}"/>
          </ac:spMkLst>
        </pc:spChg>
        <pc:spChg chg="add del mod">
          <ac:chgData name="Kebba Jeng" userId="fe4cc296-ba7d-48a2-8799-89b58d218255" providerId="ADAL" clId="{388EFDEE-447E-42B4-98EF-30C01AB2E8CD}" dt="2022-03-28T18:10:08.668" v="2720"/>
          <ac:spMkLst>
            <pc:docMk/>
            <pc:sldMk cId="1852388011" sldId="2134803542"/>
            <ac:spMk id="63" creationId="{88BCE05C-C293-455A-9F8D-BB44CE0C6D6D}"/>
          </ac:spMkLst>
        </pc:spChg>
        <pc:spChg chg="add del mod">
          <ac:chgData name="Kebba Jeng" userId="fe4cc296-ba7d-48a2-8799-89b58d218255" providerId="ADAL" clId="{388EFDEE-447E-42B4-98EF-30C01AB2E8CD}" dt="2022-03-28T18:10:08.668" v="2720"/>
          <ac:spMkLst>
            <pc:docMk/>
            <pc:sldMk cId="1852388011" sldId="2134803542"/>
            <ac:spMk id="64" creationId="{C150DE53-2027-4952-90FB-38F1F74D5283}"/>
          </ac:spMkLst>
        </pc:spChg>
        <pc:spChg chg="add del mod">
          <ac:chgData name="Kebba Jeng" userId="fe4cc296-ba7d-48a2-8799-89b58d218255" providerId="ADAL" clId="{388EFDEE-447E-42B4-98EF-30C01AB2E8CD}" dt="2022-03-28T18:10:08.668" v="2720"/>
          <ac:spMkLst>
            <pc:docMk/>
            <pc:sldMk cId="1852388011" sldId="2134803542"/>
            <ac:spMk id="65" creationId="{96B362CC-C304-4712-8045-894BB68A0890}"/>
          </ac:spMkLst>
        </pc:spChg>
        <pc:spChg chg="add del mod">
          <ac:chgData name="Kebba Jeng" userId="fe4cc296-ba7d-48a2-8799-89b58d218255" providerId="ADAL" clId="{388EFDEE-447E-42B4-98EF-30C01AB2E8CD}" dt="2022-03-28T18:10:08.668" v="2720"/>
          <ac:spMkLst>
            <pc:docMk/>
            <pc:sldMk cId="1852388011" sldId="2134803542"/>
            <ac:spMk id="66" creationId="{C249D05B-94B6-4433-850C-1337EB4C3235}"/>
          </ac:spMkLst>
        </pc:spChg>
        <pc:spChg chg="add del mod">
          <ac:chgData name="Kebba Jeng" userId="fe4cc296-ba7d-48a2-8799-89b58d218255" providerId="ADAL" clId="{388EFDEE-447E-42B4-98EF-30C01AB2E8CD}" dt="2022-03-28T18:10:08.668" v="2720"/>
          <ac:spMkLst>
            <pc:docMk/>
            <pc:sldMk cId="1852388011" sldId="2134803542"/>
            <ac:spMk id="67" creationId="{1A873574-E6DB-4D82-AC4B-03FE0296CB4C}"/>
          </ac:spMkLst>
        </pc:spChg>
        <pc:spChg chg="add del mod">
          <ac:chgData name="Kebba Jeng" userId="fe4cc296-ba7d-48a2-8799-89b58d218255" providerId="ADAL" clId="{388EFDEE-447E-42B4-98EF-30C01AB2E8CD}" dt="2022-03-28T18:10:08.668" v="2720"/>
          <ac:spMkLst>
            <pc:docMk/>
            <pc:sldMk cId="1852388011" sldId="2134803542"/>
            <ac:spMk id="68" creationId="{1E5FB310-903B-449C-BFC1-76322B7E2D16}"/>
          </ac:spMkLst>
        </pc:spChg>
        <pc:spChg chg="add del mod">
          <ac:chgData name="Kebba Jeng" userId="fe4cc296-ba7d-48a2-8799-89b58d218255" providerId="ADAL" clId="{388EFDEE-447E-42B4-98EF-30C01AB2E8CD}" dt="2022-03-28T18:10:08.668" v="2720"/>
          <ac:spMkLst>
            <pc:docMk/>
            <pc:sldMk cId="1852388011" sldId="2134803542"/>
            <ac:spMk id="69" creationId="{2478F790-C447-4E7C-887E-3847DADB01B6}"/>
          </ac:spMkLst>
        </pc:spChg>
        <pc:spChg chg="add del mod">
          <ac:chgData name="Kebba Jeng" userId="fe4cc296-ba7d-48a2-8799-89b58d218255" providerId="ADAL" clId="{388EFDEE-447E-42B4-98EF-30C01AB2E8CD}" dt="2022-03-28T18:10:08.668" v="2720"/>
          <ac:spMkLst>
            <pc:docMk/>
            <pc:sldMk cId="1852388011" sldId="2134803542"/>
            <ac:spMk id="70" creationId="{4165DE80-9787-4A67-9F56-BF72499D9C48}"/>
          </ac:spMkLst>
        </pc:spChg>
        <pc:spChg chg="add del mod">
          <ac:chgData name="Kebba Jeng" userId="fe4cc296-ba7d-48a2-8799-89b58d218255" providerId="ADAL" clId="{388EFDEE-447E-42B4-98EF-30C01AB2E8CD}" dt="2022-03-28T18:10:08.668" v="2720"/>
          <ac:spMkLst>
            <pc:docMk/>
            <pc:sldMk cId="1852388011" sldId="2134803542"/>
            <ac:spMk id="71" creationId="{56D5DEE2-82B0-482F-B938-2B1331909BFC}"/>
          </ac:spMkLst>
        </pc:spChg>
        <pc:spChg chg="add del mod">
          <ac:chgData name="Kebba Jeng" userId="fe4cc296-ba7d-48a2-8799-89b58d218255" providerId="ADAL" clId="{388EFDEE-447E-42B4-98EF-30C01AB2E8CD}" dt="2022-03-28T18:10:08.668" v="2720"/>
          <ac:spMkLst>
            <pc:docMk/>
            <pc:sldMk cId="1852388011" sldId="2134803542"/>
            <ac:spMk id="72" creationId="{6ED88BB5-B6DA-46D7-ADDC-8480908C58A3}"/>
          </ac:spMkLst>
        </pc:spChg>
        <pc:spChg chg="add del mod">
          <ac:chgData name="Kebba Jeng" userId="fe4cc296-ba7d-48a2-8799-89b58d218255" providerId="ADAL" clId="{388EFDEE-447E-42B4-98EF-30C01AB2E8CD}" dt="2022-03-28T18:10:08.668" v="2720"/>
          <ac:spMkLst>
            <pc:docMk/>
            <pc:sldMk cId="1852388011" sldId="2134803542"/>
            <ac:spMk id="73" creationId="{A326ADC2-FA91-4F24-844A-237889254371}"/>
          </ac:spMkLst>
        </pc:spChg>
        <pc:spChg chg="add del mod">
          <ac:chgData name="Kebba Jeng" userId="fe4cc296-ba7d-48a2-8799-89b58d218255" providerId="ADAL" clId="{388EFDEE-447E-42B4-98EF-30C01AB2E8CD}" dt="2022-03-28T18:10:08.668" v="2720"/>
          <ac:spMkLst>
            <pc:docMk/>
            <pc:sldMk cId="1852388011" sldId="2134803542"/>
            <ac:spMk id="74" creationId="{19580BA3-06BF-4DCE-B467-66FBD2BB5768}"/>
          </ac:spMkLst>
        </pc:spChg>
        <pc:spChg chg="add del mod">
          <ac:chgData name="Kebba Jeng" userId="fe4cc296-ba7d-48a2-8799-89b58d218255" providerId="ADAL" clId="{388EFDEE-447E-42B4-98EF-30C01AB2E8CD}" dt="2022-03-28T18:10:08.668" v="2720"/>
          <ac:spMkLst>
            <pc:docMk/>
            <pc:sldMk cId="1852388011" sldId="2134803542"/>
            <ac:spMk id="75" creationId="{E8951357-9510-4C8D-BA8C-FF65BD94422B}"/>
          </ac:spMkLst>
        </pc:spChg>
        <pc:spChg chg="add del mod">
          <ac:chgData name="Kebba Jeng" userId="fe4cc296-ba7d-48a2-8799-89b58d218255" providerId="ADAL" clId="{388EFDEE-447E-42B4-98EF-30C01AB2E8CD}" dt="2022-03-28T18:10:08.668" v="2720"/>
          <ac:spMkLst>
            <pc:docMk/>
            <pc:sldMk cId="1852388011" sldId="2134803542"/>
            <ac:spMk id="76" creationId="{64F90B88-4F87-4C9D-9C32-D3B493FD4104}"/>
          </ac:spMkLst>
        </pc:spChg>
        <pc:spChg chg="add del mod">
          <ac:chgData name="Kebba Jeng" userId="fe4cc296-ba7d-48a2-8799-89b58d218255" providerId="ADAL" clId="{388EFDEE-447E-42B4-98EF-30C01AB2E8CD}" dt="2022-03-28T18:10:08.668" v="2720"/>
          <ac:spMkLst>
            <pc:docMk/>
            <pc:sldMk cId="1852388011" sldId="2134803542"/>
            <ac:spMk id="77" creationId="{6143890B-4AF8-4477-A8F0-5FF95E1AD52D}"/>
          </ac:spMkLst>
        </pc:spChg>
        <pc:spChg chg="add del mod">
          <ac:chgData name="Kebba Jeng" userId="fe4cc296-ba7d-48a2-8799-89b58d218255" providerId="ADAL" clId="{388EFDEE-447E-42B4-98EF-30C01AB2E8CD}" dt="2022-03-28T18:10:08.668" v="2720"/>
          <ac:spMkLst>
            <pc:docMk/>
            <pc:sldMk cId="1852388011" sldId="2134803542"/>
            <ac:spMk id="78" creationId="{9DFC237E-8C24-4A23-913B-FDCDEA82A992}"/>
          </ac:spMkLst>
        </pc:spChg>
        <pc:spChg chg="add del mod">
          <ac:chgData name="Kebba Jeng" userId="fe4cc296-ba7d-48a2-8799-89b58d218255" providerId="ADAL" clId="{388EFDEE-447E-42B4-98EF-30C01AB2E8CD}" dt="2022-03-28T18:10:08.668" v="2720"/>
          <ac:spMkLst>
            <pc:docMk/>
            <pc:sldMk cId="1852388011" sldId="2134803542"/>
            <ac:spMk id="79" creationId="{F0D2314F-8DB8-4F43-B4F7-CA44F027778B}"/>
          </ac:spMkLst>
        </pc:spChg>
        <pc:spChg chg="add del mod">
          <ac:chgData name="Kebba Jeng" userId="fe4cc296-ba7d-48a2-8799-89b58d218255" providerId="ADAL" clId="{388EFDEE-447E-42B4-98EF-30C01AB2E8CD}" dt="2022-03-28T18:10:08.668" v="2720"/>
          <ac:spMkLst>
            <pc:docMk/>
            <pc:sldMk cId="1852388011" sldId="2134803542"/>
            <ac:spMk id="80" creationId="{94A7058F-FD13-4B9F-9BB4-43CA2F9DA4A8}"/>
          </ac:spMkLst>
        </pc:spChg>
        <pc:spChg chg="add del mod">
          <ac:chgData name="Kebba Jeng" userId="fe4cc296-ba7d-48a2-8799-89b58d218255" providerId="ADAL" clId="{388EFDEE-447E-42B4-98EF-30C01AB2E8CD}" dt="2022-03-28T18:10:08.668" v="2720"/>
          <ac:spMkLst>
            <pc:docMk/>
            <pc:sldMk cId="1852388011" sldId="2134803542"/>
            <ac:spMk id="81" creationId="{879DF139-D30B-4EF2-B4FC-90C607EE45D7}"/>
          </ac:spMkLst>
        </pc:spChg>
        <pc:spChg chg="add del mod">
          <ac:chgData name="Kebba Jeng" userId="fe4cc296-ba7d-48a2-8799-89b58d218255" providerId="ADAL" clId="{388EFDEE-447E-42B4-98EF-30C01AB2E8CD}" dt="2022-03-28T18:10:08.668" v="2720"/>
          <ac:spMkLst>
            <pc:docMk/>
            <pc:sldMk cId="1852388011" sldId="2134803542"/>
            <ac:spMk id="82" creationId="{86AC41AB-E787-4DD3-8FF9-DC772E63AA66}"/>
          </ac:spMkLst>
        </pc:spChg>
        <pc:spChg chg="add del mod">
          <ac:chgData name="Kebba Jeng" userId="fe4cc296-ba7d-48a2-8799-89b58d218255" providerId="ADAL" clId="{388EFDEE-447E-42B4-98EF-30C01AB2E8CD}" dt="2022-03-28T18:10:08.668" v="2720"/>
          <ac:spMkLst>
            <pc:docMk/>
            <pc:sldMk cId="1852388011" sldId="2134803542"/>
            <ac:spMk id="83" creationId="{F4639515-16E0-4B6D-95ED-E242D9467F1C}"/>
          </ac:spMkLst>
        </pc:spChg>
        <pc:spChg chg="add del mod">
          <ac:chgData name="Kebba Jeng" userId="fe4cc296-ba7d-48a2-8799-89b58d218255" providerId="ADAL" clId="{388EFDEE-447E-42B4-98EF-30C01AB2E8CD}" dt="2022-03-28T18:10:08.668" v="2720"/>
          <ac:spMkLst>
            <pc:docMk/>
            <pc:sldMk cId="1852388011" sldId="2134803542"/>
            <ac:spMk id="84" creationId="{C0A44601-2249-425B-A8AA-D5C2FA22230A}"/>
          </ac:spMkLst>
        </pc:spChg>
        <pc:spChg chg="add del mod">
          <ac:chgData name="Kebba Jeng" userId="fe4cc296-ba7d-48a2-8799-89b58d218255" providerId="ADAL" clId="{388EFDEE-447E-42B4-98EF-30C01AB2E8CD}" dt="2022-03-28T18:10:08.668" v="2720"/>
          <ac:spMkLst>
            <pc:docMk/>
            <pc:sldMk cId="1852388011" sldId="2134803542"/>
            <ac:spMk id="85" creationId="{7B9578F8-BD9D-494C-88D6-799970A74366}"/>
          </ac:spMkLst>
        </pc:spChg>
        <pc:spChg chg="add del mod">
          <ac:chgData name="Kebba Jeng" userId="fe4cc296-ba7d-48a2-8799-89b58d218255" providerId="ADAL" clId="{388EFDEE-447E-42B4-98EF-30C01AB2E8CD}" dt="2022-03-28T18:10:08.668" v="2720"/>
          <ac:spMkLst>
            <pc:docMk/>
            <pc:sldMk cId="1852388011" sldId="2134803542"/>
            <ac:spMk id="86" creationId="{DADA95C6-C31B-4E93-98CE-AC26B9680288}"/>
          </ac:spMkLst>
        </pc:spChg>
        <pc:spChg chg="add del mod">
          <ac:chgData name="Kebba Jeng" userId="fe4cc296-ba7d-48a2-8799-89b58d218255" providerId="ADAL" clId="{388EFDEE-447E-42B4-98EF-30C01AB2E8CD}" dt="2022-03-28T18:10:08.668" v="2720"/>
          <ac:spMkLst>
            <pc:docMk/>
            <pc:sldMk cId="1852388011" sldId="2134803542"/>
            <ac:spMk id="87" creationId="{5675ACFB-60E8-4BD9-973D-369C5F2D742D}"/>
          </ac:spMkLst>
        </pc:spChg>
        <pc:spChg chg="add del mod">
          <ac:chgData name="Kebba Jeng" userId="fe4cc296-ba7d-48a2-8799-89b58d218255" providerId="ADAL" clId="{388EFDEE-447E-42B4-98EF-30C01AB2E8CD}" dt="2022-03-28T18:10:08.668" v="2720"/>
          <ac:spMkLst>
            <pc:docMk/>
            <pc:sldMk cId="1852388011" sldId="2134803542"/>
            <ac:spMk id="88" creationId="{7818A42B-3D18-4C21-8041-E70A1EC09F9C}"/>
          </ac:spMkLst>
        </pc:spChg>
        <pc:spChg chg="add del mod">
          <ac:chgData name="Kebba Jeng" userId="fe4cc296-ba7d-48a2-8799-89b58d218255" providerId="ADAL" clId="{388EFDEE-447E-42B4-98EF-30C01AB2E8CD}" dt="2022-03-28T18:10:08.668" v="2720"/>
          <ac:spMkLst>
            <pc:docMk/>
            <pc:sldMk cId="1852388011" sldId="2134803542"/>
            <ac:spMk id="89" creationId="{C2C4E98D-4FE6-4221-B9B1-2B9F4AECC512}"/>
          </ac:spMkLst>
        </pc:spChg>
        <pc:spChg chg="add del mod">
          <ac:chgData name="Kebba Jeng" userId="fe4cc296-ba7d-48a2-8799-89b58d218255" providerId="ADAL" clId="{388EFDEE-447E-42B4-98EF-30C01AB2E8CD}" dt="2022-03-28T18:10:08.668" v="2720"/>
          <ac:spMkLst>
            <pc:docMk/>
            <pc:sldMk cId="1852388011" sldId="2134803542"/>
            <ac:spMk id="90" creationId="{D9470113-55D8-42A6-8C48-0BEE89BC5DEF}"/>
          </ac:spMkLst>
        </pc:spChg>
        <pc:spChg chg="add del mod">
          <ac:chgData name="Kebba Jeng" userId="fe4cc296-ba7d-48a2-8799-89b58d218255" providerId="ADAL" clId="{388EFDEE-447E-42B4-98EF-30C01AB2E8CD}" dt="2022-03-28T18:10:08.668" v="2720"/>
          <ac:spMkLst>
            <pc:docMk/>
            <pc:sldMk cId="1852388011" sldId="2134803542"/>
            <ac:spMk id="91" creationId="{937686C0-8AE8-4049-8FE0-3AFA783056C6}"/>
          </ac:spMkLst>
        </pc:spChg>
        <pc:spChg chg="add del mod">
          <ac:chgData name="Kebba Jeng" userId="fe4cc296-ba7d-48a2-8799-89b58d218255" providerId="ADAL" clId="{388EFDEE-447E-42B4-98EF-30C01AB2E8CD}" dt="2022-03-28T18:10:08.668" v="2720"/>
          <ac:spMkLst>
            <pc:docMk/>
            <pc:sldMk cId="1852388011" sldId="2134803542"/>
            <ac:spMk id="92" creationId="{2FD60B91-6F75-4B07-B702-AA20724F07C7}"/>
          </ac:spMkLst>
        </pc:spChg>
        <pc:spChg chg="add del mod">
          <ac:chgData name="Kebba Jeng" userId="fe4cc296-ba7d-48a2-8799-89b58d218255" providerId="ADAL" clId="{388EFDEE-447E-42B4-98EF-30C01AB2E8CD}" dt="2022-03-28T18:10:08.668" v="2720"/>
          <ac:spMkLst>
            <pc:docMk/>
            <pc:sldMk cId="1852388011" sldId="2134803542"/>
            <ac:spMk id="93" creationId="{BDCB0882-DB7E-4A20-996B-7C2940DB9B65}"/>
          </ac:spMkLst>
        </pc:spChg>
        <pc:spChg chg="add del mod">
          <ac:chgData name="Kebba Jeng" userId="fe4cc296-ba7d-48a2-8799-89b58d218255" providerId="ADAL" clId="{388EFDEE-447E-42B4-98EF-30C01AB2E8CD}" dt="2022-03-28T18:10:08.668" v="2720"/>
          <ac:spMkLst>
            <pc:docMk/>
            <pc:sldMk cId="1852388011" sldId="2134803542"/>
            <ac:spMk id="94" creationId="{99C24D90-9AF8-4C00-B9EC-2DF7BE427425}"/>
          </ac:spMkLst>
        </pc:spChg>
        <pc:spChg chg="add del mod">
          <ac:chgData name="Kebba Jeng" userId="fe4cc296-ba7d-48a2-8799-89b58d218255" providerId="ADAL" clId="{388EFDEE-447E-42B4-98EF-30C01AB2E8CD}" dt="2022-03-28T18:10:08.668" v="2720"/>
          <ac:spMkLst>
            <pc:docMk/>
            <pc:sldMk cId="1852388011" sldId="2134803542"/>
            <ac:spMk id="95" creationId="{552C11C5-20B5-43BC-A12A-D5C73ABEF018}"/>
          </ac:spMkLst>
        </pc:spChg>
        <pc:spChg chg="add del mod">
          <ac:chgData name="Kebba Jeng" userId="fe4cc296-ba7d-48a2-8799-89b58d218255" providerId="ADAL" clId="{388EFDEE-447E-42B4-98EF-30C01AB2E8CD}" dt="2022-03-28T18:10:08.668" v="2720"/>
          <ac:spMkLst>
            <pc:docMk/>
            <pc:sldMk cId="1852388011" sldId="2134803542"/>
            <ac:spMk id="96" creationId="{CF5708D5-2885-4DAA-9552-66FC0BEF043D}"/>
          </ac:spMkLst>
        </pc:spChg>
        <pc:spChg chg="add del mod">
          <ac:chgData name="Kebba Jeng" userId="fe4cc296-ba7d-48a2-8799-89b58d218255" providerId="ADAL" clId="{388EFDEE-447E-42B4-98EF-30C01AB2E8CD}" dt="2022-03-28T18:10:08.668" v="2720"/>
          <ac:spMkLst>
            <pc:docMk/>
            <pc:sldMk cId="1852388011" sldId="2134803542"/>
            <ac:spMk id="97" creationId="{1BC67A23-DF20-4800-9BDF-90752BDFAFED}"/>
          </ac:spMkLst>
        </pc:spChg>
        <pc:spChg chg="add del mod">
          <ac:chgData name="Kebba Jeng" userId="fe4cc296-ba7d-48a2-8799-89b58d218255" providerId="ADAL" clId="{388EFDEE-447E-42B4-98EF-30C01AB2E8CD}" dt="2022-03-28T18:10:08.668" v="2720"/>
          <ac:spMkLst>
            <pc:docMk/>
            <pc:sldMk cId="1852388011" sldId="2134803542"/>
            <ac:spMk id="98" creationId="{5603961B-F3DA-428E-80E1-F2BCF1EFFD86}"/>
          </ac:spMkLst>
        </pc:spChg>
        <pc:spChg chg="add del mod">
          <ac:chgData name="Kebba Jeng" userId="fe4cc296-ba7d-48a2-8799-89b58d218255" providerId="ADAL" clId="{388EFDEE-447E-42B4-98EF-30C01AB2E8CD}" dt="2022-03-28T18:10:08.668" v="2720"/>
          <ac:spMkLst>
            <pc:docMk/>
            <pc:sldMk cId="1852388011" sldId="2134803542"/>
            <ac:spMk id="99" creationId="{AA44251A-ED6F-4296-9761-2253BA9CEA5B}"/>
          </ac:spMkLst>
        </pc:spChg>
        <pc:spChg chg="add del mod">
          <ac:chgData name="Kebba Jeng" userId="fe4cc296-ba7d-48a2-8799-89b58d218255" providerId="ADAL" clId="{388EFDEE-447E-42B4-98EF-30C01AB2E8CD}" dt="2022-03-28T18:10:08.668" v="2720"/>
          <ac:spMkLst>
            <pc:docMk/>
            <pc:sldMk cId="1852388011" sldId="2134803542"/>
            <ac:spMk id="100" creationId="{A6216797-970C-4F38-AA11-67758CEB3800}"/>
          </ac:spMkLst>
        </pc:spChg>
        <pc:spChg chg="add del mod">
          <ac:chgData name="Kebba Jeng" userId="fe4cc296-ba7d-48a2-8799-89b58d218255" providerId="ADAL" clId="{388EFDEE-447E-42B4-98EF-30C01AB2E8CD}" dt="2022-03-28T18:10:08.668" v="2720"/>
          <ac:spMkLst>
            <pc:docMk/>
            <pc:sldMk cId="1852388011" sldId="2134803542"/>
            <ac:spMk id="101" creationId="{8691D8A4-8217-45C9-95D8-C5BA010F2DF7}"/>
          </ac:spMkLst>
        </pc:spChg>
        <pc:spChg chg="add del mod">
          <ac:chgData name="Kebba Jeng" userId="fe4cc296-ba7d-48a2-8799-89b58d218255" providerId="ADAL" clId="{388EFDEE-447E-42B4-98EF-30C01AB2E8CD}" dt="2022-03-28T18:10:08.668" v="2720"/>
          <ac:spMkLst>
            <pc:docMk/>
            <pc:sldMk cId="1852388011" sldId="2134803542"/>
            <ac:spMk id="102" creationId="{BF5606B5-4AAC-4D53-BE31-F26816F4FD21}"/>
          </ac:spMkLst>
        </pc:spChg>
        <pc:spChg chg="add del mod">
          <ac:chgData name="Kebba Jeng" userId="fe4cc296-ba7d-48a2-8799-89b58d218255" providerId="ADAL" clId="{388EFDEE-447E-42B4-98EF-30C01AB2E8CD}" dt="2022-03-28T18:10:08.668" v="2720"/>
          <ac:spMkLst>
            <pc:docMk/>
            <pc:sldMk cId="1852388011" sldId="2134803542"/>
            <ac:spMk id="103" creationId="{DB4005DC-6F56-4C11-B2AD-037BE33ABAF4}"/>
          </ac:spMkLst>
        </pc:spChg>
        <pc:spChg chg="add del mod">
          <ac:chgData name="Kebba Jeng" userId="fe4cc296-ba7d-48a2-8799-89b58d218255" providerId="ADAL" clId="{388EFDEE-447E-42B4-98EF-30C01AB2E8CD}" dt="2022-03-28T18:10:08.668" v="2720"/>
          <ac:spMkLst>
            <pc:docMk/>
            <pc:sldMk cId="1852388011" sldId="2134803542"/>
            <ac:spMk id="104" creationId="{A1859BBC-57C6-442C-A5AA-F8A81BAD1595}"/>
          </ac:spMkLst>
        </pc:spChg>
        <pc:spChg chg="add del mod">
          <ac:chgData name="Kebba Jeng" userId="fe4cc296-ba7d-48a2-8799-89b58d218255" providerId="ADAL" clId="{388EFDEE-447E-42B4-98EF-30C01AB2E8CD}" dt="2022-03-28T18:10:08.668" v="2720"/>
          <ac:spMkLst>
            <pc:docMk/>
            <pc:sldMk cId="1852388011" sldId="2134803542"/>
            <ac:spMk id="105" creationId="{A3173971-27A8-4682-9914-CF0295C5CF72}"/>
          </ac:spMkLst>
        </pc:spChg>
        <pc:spChg chg="add del mod">
          <ac:chgData name="Kebba Jeng" userId="fe4cc296-ba7d-48a2-8799-89b58d218255" providerId="ADAL" clId="{388EFDEE-447E-42B4-98EF-30C01AB2E8CD}" dt="2022-03-28T18:10:08.668" v="2720"/>
          <ac:spMkLst>
            <pc:docMk/>
            <pc:sldMk cId="1852388011" sldId="2134803542"/>
            <ac:spMk id="106" creationId="{68856636-35F4-4BBC-B27D-614BFEF4842E}"/>
          </ac:spMkLst>
        </pc:spChg>
        <pc:spChg chg="add del mod">
          <ac:chgData name="Kebba Jeng" userId="fe4cc296-ba7d-48a2-8799-89b58d218255" providerId="ADAL" clId="{388EFDEE-447E-42B4-98EF-30C01AB2E8CD}" dt="2022-03-28T18:10:08.668" v="2720"/>
          <ac:spMkLst>
            <pc:docMk/>
            <pc:sldMk cId="1852388011" sldId="2134803542"/>
            <ac:spMk id="107" creationId="{C27051B2-AE9F-4569-9395-478A948FCB9B}"/>
          </ac:spMkLst>
        </pc:spChg>
        <pc:spChg chg="add del mod">
          <ac:chgData name="Kebba Jeng" userId="fe4cc296-ba7d-48a2-8799-89b58d218255" providerId="ADAL" clId="{388EFDEE-447E-42B4-98EF-30C01AB2E8CD}" dt="2022-03-28T18:10:08.668" v="2720"/>
          <ac:spMkLst>
            <pc:docMk/>
            <pc:sldMk cId="1852388011" sldId="2134803542"/>
            <ac:spMk id="108" creationId="{B11FC3D5-39A2-46EB-B967-1848819C4007}"/>
          </ac:spMkLst>
        </pc:spChg>
        <pc:spChg chg="add del mod">
          <ac:chgData name="Kebba Jeng" userId="fe4cc296-ba7d-48a2-8799-89b58d218255" providerId="ADAL" clId="{388EFDEE-447E-42B4-98EF-30C01AB2E8CD}" dt="2022-03-28T18:10:08.668" v="2720"/>
          <ac:spMkLst>
            <pc:docMk/>
            <pc:sldMk cId="1852388011" sldId="2134803542"/>
            <ac:spMk id="109" creationId="{ABDE0212-212F-46B4-B9E2-312F6D585F1D}"/>
          </ac:spMkLst>
        </pc:spChg>
        <pc:spChg chg="add del mod">
          <ac:chgData name="Kebba Jeng" userId="fe4cc296-ba7d-48a2-8799-89b58d218255" providerId="ADAL" clId="{388EFDEE-447E-42B4-98EF-30C01AB2E8CD}" dt="2022-03-28T18:10:08.668" v="2720"/>
          <ac:spMkLst>
            <pc:docMk/>
            <pc:sldMk cId="1852388011" sldId="2134803542"/>
            <ac:spMk id="110" creationId="{6197F19A-A79F-4479-8ECE-FFCDD7AB8F18}"/>
          </ac:spMkLst>
        </pc:spChg>
        <pc:spChg chg="add del mod">
          <ac:chgData name="Kebba Jeng" userId="fe4cc296-ba7d-48a2-8799-89b58d218255" providerId="ADAL" clId="{388EFDEE-447E-42B4-98EF-30C01AB2E8CD}" dt="2022-03-28T18:10:08.668" v="2720"/>
          <ac:spMkLst>
            <pc:docMk/>
            <pc:sldMk cId="1852388011" sldId="2134803542"/>
            <ac:spMk id="111" creationId="{802B26BD-A58D-4C75-87E9-DF8F20C2474E}"/>
          </ac:spMkLst>
        </pc:spChg>
        <pc:spChg chg="add del mod">
          <ac:chgData name="Kebba Jeng" userId="fe4cc296-ba7d-48a2-8799-89b58d218255" providerId="ADAL" clId="{388EFDEE-447E-42B4-98EF-30C01AB2E8CD}" dt="2022-03-28T18:10:08.668" v="2720"/>
          <ac:spMkLst>
            <pc:docMk/>
            <pc:sldMk cId="1852388011" sldId="2134803542"/>
            <ac:spMk id="112" creationId="{C30B6A6B-28F6-4B03-966B-B96FE84328FC}"/>
          </ac:spMkLst>
        </pc:spChg>
        <pc:spChg chg="add del mod">
          <ac:chgData name="Kebba Jeng" userId="fe4cc296-ba7d-48a2-8799-89b58d218255" providerId="ADAL" clId="{388EFDEE-447E-42B4-98EF-30C01AB2E8CD}" dt="2022-03-28T18:10:08.668" v="2720"/>
          <ac:spMkLst>
            <pc:docMk/>
            <pc:sldMk cId="1852388011" sldId="2134803542"/>
            <ac:spMk id="113" creationId="{5AF33E99-73EA-48FA-A31D-32AA69B08EAF}"/>
          </ac:spMkLst>
        </pc:spChg>
        <pc:spChg chg="add del mod">
          <ac:chgData name="Kebba Jeng" userId="fe4cc296-ba7d-48a2-8799-89b58d218255" providerId="ADAL" clId="{388EFDEE-447E-42B4-98EF-30C01AB2E8CD}" dt="2022-03-28T18:10:08.668" v="2720"/>
          <ac:spMkLst>
            <pc:docMk/>
            <pc:sldMk cId="1852388011" sldId="2134803542"/>
            <ac:spMk id="114" creationId="{55C1F6DB-19F0-4785-8A52-8C154A94EF3F}"/>
          </ac:spMkLst>
        </pc:spChg>
        <pc:spChg chg="add del mod">
          <ac:chgData name="Kebba Jeng" userId="fe4cc296-ba7d-48a2-8799-89b58d218255" providerId="ADAL" clId="{388EFDEE-447E-42B4-98EF-30C01AB2E8CD}" dt="2022-03-28T18:10:08.668" v="2720"/>
          <ac:spMkLst>
            <pc:docMk/>
            <pc:sldMk cId="1852388011" sldId="2134803542"/>
            <ac:spMk id="115" creationId="{95638857-EF4D-4DD0-8617-13190E1046F4}"/>
          </ac:spMkLst>
        </pc:spChg>
        <pc:spChg chg="add del mod">
          <ac:chgData name="Kebba Jeng" userId="fe4cc296-ba7d-48a2-8799-89b58d218255" providerId="ADAL" clId="{388EFDEE-447E-42B4-98EF-30C01AB2E8CD}" dt="2022-03-28T18:10:08.668" v="2720"/>
          <ac:spMkLst>
            <pc:docMk/>
            <pc:sldMk cId="1852388011" sldId="2134803542"/>
            <ac:spMk id="116" creationId="{3FE42A1C-F001-42D2-BB5B-EC67CBDBEC6E}"/>
          </ac:spMkLst>
        </pc:spChg>
        <pc:spChg chg="add del mod">
          <ac:chgData name="Kebba Jeng" userId="fe4cc296-ba7d-48a2-8799-89b58d218255" providerId="ADAL" clId="{388EFDEE-447E-42B4-98EF-30C01AB2E8CD}" dt="2022-03-28T18:10:08.668" v="2720"/>
          <ac:spMkLst>
            <pc:docMk/>
            <pc:sldMk cId="1852388011" sldId="2134803542"/>
            <ac:spMk id="117" creationId="{D3118918-92F1-43F2-98C4-E3B08FCBC226}"/>
          </ac:spMkLst>
        </pc:spChg>
        <pc:spChg chg="add del mod">
          <ac:chgData name="Kebba Jeng" userId="fe4cc296-ba7d-48a2-8799-89b58d218255" providerId="ADAL" clId="{388EFDEE-447E-42B4-98EF-30C01AB2E8CD}" dt="2022-03-28T18:10:08.668" v="2720"/>
          <ac:spMkLst>
            <pc:docMk/>
            <pc:sldMk cId="1852388011" sldId="2134803542"/>
            <ac:spMk id="118" creationId="{DD29A1D0-245A-4951-BE85-847BA63ED0C6}"/>
          </ac:spMkLst>
        </pc:spChg>
        <pc:spChg chg="add del mod">
          <ac:chgData name="Kebba Jeng" userId="fe4cc296-ba7d-48a2-8799-89b58d218255" providerId="ADAL" clId="{388EFDEE-447E-42B4-98EF-30C01AB2E8CD}" dt="2022-03-28T18:10:08.668" v="2720"/>
          <ac:spMkLst>
            <pc:docMk/>
            <pc:sldMk cId="1852388011" sldId="2134803542"/>
            <ac:spMk id="119" creationId="{F91AA411-40A9-43D1-8D8D-40ABBB3057C1}"/>
          </ac:spMkLst>
        </pc:spChg>
        <pc:spChg chg="add del mod">
          <ac:chgData name="Kebba Jeng" userId="fe4cc296-ba7d-48a2-8799-89b58d218255" providerId="ADAL" clId="{388EFDEE-447E-42B4-98EF-30C01AB2E8CD}" dt="2022-03-28T18:10:08.668" v="2720"/>
          <ac:spMkLst>
            <pc:docMk/>
            <pc:sldMk cId="1852388011" sldId="2134803542"/>
            <ac:spMk id="120" creationId="{B350A551-9A03-42C7-A39E-F38C61DBB641}"/>
          </ac:spMkLst>
        </pc:spChg>
        <pc:spChg chg="add del mod">
          <ac:chgData name="Kebba Jeng" userId="fe4cc296-ba7d-48a2-8799-89b58d218255" providerId="ADAL" clId="{388EFDEE-447E-42B4-98EF-30C01AB2E8CD}" dt="2022-03-28T18:10:08.668" v="2720"/>
          <ac:spMkLst>
            <pc:docMk/>
            <pc:sldMk cId="1852388011" sldId="2134803542"/>
            <ac:spMk id="121" creationId="{C7E9A4E9-DBBA-4A6E-AFDA-6C1B1B833765}"/>
          </ac:spMkLst>
        </pc:spChg>
        <pc:spChg chg="add del mod">
          <ac:chgData name="Kebba Jeng" userId="fe4cc296-ba7d-48a2-8799-89b58d218255" providerId="ADAL" clId="{388EFDEE-447E-42B4-98EF-30C01AB2E8CD}" dt="2022-03-28T18:10:08.668" v="2720"/>
          <ac:spMkLst>
            <pc:docMk/>
            <pc:sldMk cId="1852388011" sldId="2134803542"/>
            <ac:spMk id="122" creationId="{95F5E578-769D-4B2A-9F29-A36F2DB56A00}"/>
          </ac:spMkLst>
        </pc:spChg>
        <pc:spChg chg="add del mod">
          <ac:chgData name="Kebba Jeng" userId="fe4cc296-ba7d-48a2-8799-89b58d218255" providerId="ADAL" clId="{388EFDEE-447E-42B4-98EF-30C01AB2E8CD}" dt="2022-03-28T18:10:08.668" v="2720"/>
          <ac:spMkLst>
            <pc:docMk/>
            <pc:sldMk cId="1852388011" sldId="2134803542"/>
            <ac:spMk id="123" creationId="{B9EE0809-F708-4AD6-84B2-D33B4665C45C}"/>
          </ac:spMkLst>
        </pc:spChg>
        <pc:spChg chg="add del mod">
          <ac:chgData name="Kebba Jeng" userId="fe4cc296-ba7d-48a2-8799-89b58d218255" providerId="ADAL" clId="{388EFDEE-447E-42B4-98EF-30C01AB2E8CD}" dt="2022-03-28T18:10:08.668" v="2720"/>
          <ac:spMkLst>
            <pc:docMk/>
            <pc:sldMk cId="1852388011" sldId="2134803542"/>
            <ac:spMk id="124" creationId="{B7FB438F-7148-42C4-8743-4119FD001DCF}"/>
          </ac:spMkLst>
        </pc:spChg>
        <pc:spChg chg="add del mod">
          <ac:chgData name="Kebba Jeng" userId="fe4cc296-ba7d-48a2-8799-89b58d218255" providerId="ADAL" clId="{388EFDEE-447E-42B4-98EF-30C01AB2E8CD}" dt="2022-03-28T18:10:08.668" v="2720"/>
          <ac:spMkLst>
            <pc:docMk/>
            <pc:sldMk cId="1852388011" sldId="2134803542"/>
            <ac:spMk id="125" creationId="{3FA55F65-8A4E-4804-B768-CDAF855A471D}"/>
          </ac:spMkLst>
        </pc:spChg>
        <pc:spChg chg="add del mod">
          <ac:chgData name="Kebba Jeng" userId="fe4cc296-ba7d-48a2-8799-89b58d218255" providerId="ADAL" clId="{388EFDEE-447E-42B4-98EF-30C01AB2E8CD}" dt="2022-03-28T18:10:08.668" v="2720"/>
          <ac:spMkLst>
            <pc:docMk/>
            <pc:sldMk cId="1852388011" sldId="2134803542"/>
            <ac:spMk id="126" creationId="{7CBD1E98-8E2F-43AF-9877-2F14D12DFC44}"/>
          </ac:spMkLst>
        </pc:spChg>
        <pc:spChg chg="add del mod">
          <ac:chgData name="Kebba Jeng" userId="fe4cc296-ba7d-48a2-8799-89b58d218255" providerId="ADAL" clId="{388EFDEE-447E-42B4-98EF-30C01AB2E8CD}" dt="2022-03-28T18:10:08.668" v="2720"/>
          <ac:spMkLst>
            <pc:docMk/>
            <pc:sldMk cId="1852388011" sldId="2134803542"/>
            <ac:spMk id="127" creationId="{727CD338-3DD2-4E5E-BD26-429770C269C8}"/>
          </ac:spMkLst>
        </pc:spChg>
        <pc:spChg chg="add del mod">
          <ac:chgData name="Kebba Jeng" userId="fe4cc296-ba7d-48a2-8799-89b58d218255" providerId="ADAL" clId="{388EFDEE-447E-42B4-98EF-30C01AB2E8CD}" dt="2022-03-28T18:10:08.668" v="2720"/>
          <ac:spMkLst>
            <pc:docMk/>
            <pc:sldMk cId="1852388011" sldId="2134803542"/>
            <ac:spMk id="128" creationId="{358BFA20-A483-4199-963E-E57383F295B0}"/>
          </ac:spMkLst>
        </pc:spChg>
        <pc:spChg chg="add del mod">
          <ac:chgData name="Kebba Jeng" userId="fe4cc296-ba7d-48a2-8799-89b58d218255" providerId="ADAL" clId="{388EFDEE-447E-42B4-98EF-30C01AB2E8CD}" dt="2022-03-28T18:10:08.668" v="2720"/>
          <ac:spMkLst>
            <pc:docMk/>
            <pc:sldMk cId="1852388011" sldId="2134803542"/>
            <ac:spMk id="129" creationId="{2ABDC4C4-E067-47D1-B846-691167F81578}"/>
          </ac:spMkLst>
        </pc:spChg>
        <pc:spChg chg="add del mod">
          <ac:chgData name="Kebba Jeng" userId="fe4cc296-ba7d-48a2-8799-89b58d218255" providerId="ADAL" clId="{388EFDEE-447E-42B4-98EF-30C01AB2E8CD}" dt="2022-03-28T18:10:08.668" v="2720"/>
          <ac:spMkLst>
            <pc:docMk/>
            <pc:sldMk cId="1852388011" sldId="2134803542"/>
            <ac:spMk id="130" creationId="{AF30AA4B-F95B-4C4F-80A7-05DCCE1851DA}"/>
          </ac:spMkLst>
        </pc:spChg>
        <pc:spChg chg="add del mod">
          <ac:chgData name="Kebba Jeng" userId="fe4cc296-ba7d-48a2-8799-89b58d218255" providerId="ADAL" clId="{388EFDEE-447E-42B4-98EF-30C01AB2E8CD}" dt="2022-03-28T18:10:08.668" v="2720"/>
          <ac:spMkLst>
            <pc:docMk/>
            <pc:sldMk cId="1852388011" sldId="2134803542"/>
            <ac:spMk id="131" creationId="{F9BF1856-1001-4918-BB70-9987E3F74914}"/>
          </ac:spMkLst>
        </pc:spChg>
        <pc:spChg chg="add del mod">
          <ac:chgData name="Kebba Jeng" userId="fe4cc296-ba7d-48a2-8799-89b58d218255" providerId="ADAL" clId="{388EFDEE-447E-42B4-98EF-30C01AB2E8CD}" dt="2022-03-28T18:10:08.668" v="2720"/>
          <ac:spMkLst>
            <pc:docMk/>
            <pc:sldMk cId="1852388011" sldId="2134803542"/>
            <ac:spMk id="132" creationId="{01A75EB1-2EB1-4134-8F6D-5B750E3F00C7}"/>
          </ac:spMkLst>
        </pc:spChg>
        <pc:spChg chg="add del mod">
          <ac:chgData name="Kebba Jeng" userId="fe4cc296-ba7d-48a2-8799-89b58d218255" providerId="ADAL" clId="{388EFDEE-447E-42B4-98EF-30C01AB2E8CD}" dt="2022-03-28T18:10:08.668" v="2720"/>
          <ac:spMkLst>
            <pc:docMk/>
            <pc:sldMk cId="1852388011" sldId="2134803542"/>
            <ac:spMk id="133" creationId="{5A9D7383-4688-4FCC-B75B-FDFB44995E35}"/>
          </ac:spMkLst>
        </pc:spChg>
        <pc:spChg chg="add del mod">
          <ac:chgData name="Kebba Jeng" userId="fe4cc296-ba7d-48a2-8799-89b58d218255" providerId="ADAL" clId="{388EFDEE-447E-42B4-98EF-30C01AB2E8CD}" dt="2022-03-28T18:10:08.668" v="2720"/>
          <ac:spMkLst>
            <pc:docMk/>
            <pc:sldMk cId="1852388011" sldId="2134803542"/>
            <ac:spMk id="134" creationId="{915CFA81-6F6E-4CDF-8539-BBF18B32FF61}"/>
          </ac:spMkLst>
        </pc:spChg>
        <pc:spChg chg="add del mod">
          <ac:chgData name="Kebba Jeng" userId="fe4cc296-ba7d-48a2-8799-89b58d218255" providerId="ADAL" clId="{388EFDEE-447E-42B4-98EF-30C01AB2E8CD}" dt="2022-03-28T18:10:08.668" v="2720"/>
          <ac:spMkLst>
            <pc:docMk/>
            <pc:sldMk cId="1852388011" sldId="2134803542"/>
            <ac:spMk id="135" creationId="{D0FE143C-F4E7-4594-A226-437DA41B2F1F}"/>
          </ac:spMkLst>
        </pc:spChg>
        <pc:spChg chg="add del mod">
          <ac:chgData name="Kebba Jeng" userId="fe4cc296-ba7d-48a2-8799-89b58d218255" providerId="ADAL" clId="{388EFDEE-447E-42B4-98EF-30C01AB2E8CD}" dt="2022-03-28T18:10:08.668" v="2720"/>
          <ac:spMkLst>
            <pc:docMk/>
            <pc:sldMk cId="1852388011" sldId="2134803542"/>
            <ac:spMk id="136" creationId="{0DB09FBA-70A3-4BC4-BDB0-AA6BD1794292}"/>
          </ac:spMkLst>
        </pc:spChg>
        <pc:spChg chg="add del mod">
          <ac:chgData name="Kebba Jeng" userId="fe4cc296-ba7d-48a2-8799-89b58d218255" providerId="ADAL" clId="{388EFDEE-447E-42B4-98EF-30C01AB2E8CD}" dt="2022-03-28T18:10:08.668" v="2720"/>
          <ac:spMkLst>
            <pc:docMk/>
            <pc:sldMk cId="1852388011" sldId="2134803542"/>
            <ac:spMk id="137" creationId="{B79ECFE5-B754-4D39-BE17-97B07E334237}"/>
          </ac:spMkLst>
        </pc:spChg>
        <pc:spChg chg="add del mod">
          <ac:chgData name="Kebba Jeng" userId="fe4cc296-ba7d-48a2-8799-89b58d218255" providerId="ADAL" clId="{388EFDEE-447E-42B4-98EF-30C01AB2E8CD}" dt="2022-03-28T18:10:08.668" v="2720"/>
          <ac:spMkLst>
            <pc:docMk/>
            <pc:sldMk cId="1852388011" sldId="2134803542"/>
            <ac:spMk id="138" creationId="{BEC9FEAA-0648-4F3F-89AF-3FF573AF2DE7}"/>
          </ac:spMkLst>
        </pc:spChg>
        <pc:spChg chg="add del mod">
          <ac:chgData name="Kebba Jeng" userId="fe4cc296-ba7d-48a2-8799-89b58d218255" providerId="ADAL" clId="{388EFDEE-447E-42B4-98EF-30C01AB2E8CD}" dt="2022-03-28T18:10:08.668" v="2720"/>
          <ac:spMkLst>
            <pc:docMk/>
            <pc:sldMk cId="1852388011" sldId="2134803542"/>
            <ac:spMk id="139" creationId="{D7367F16-8D8B-4B39-914B-8213B3997BD9}"/>
          </ac:spMkLst>
        </pc:spChg>
        <pc:spChg chg="add del mod">
          <ac:chgData name="Kebba Jeng" userId="fe4cc296-ba7d-48a2-8799-89b58d218255" providerId="ADAL" clId="{388EFDEE-447E-42B4-98EF-30C01AB2E8CD}" dt="2022-03-28T18:10:08.668" v="2720"/>
          <ac:spMkLst>
            <pc:docMk/>
            <pc:sldMk cId="1852388011" sldId="2134803542"/>
            <ac:spMk id="140" creationId="{FBD7D543-E037-4E74-A6A1-558604F7C8A4}"/>
          </ac:spMkLst>
        </pc:spChg>
        <pc:spChg chg="add del mod">
          <ac:chgData name="Kebba Jeng" userId="fe4cc296-ba7d-48a2-8799-89b58d218255" providerId="ADAL" clId="{388EFDEE-447E-42B4-98EF-30C01AB2E8CD}" dt="2022-03-28T18:10:08.668" v="2720"/>
          <ac:spMkLst>
            <pc:docMk/>
            <pc:sldMk cId="1852388011" sldId="2134803542"/>
            <ac:spMk id="141" creationId="{9AB658C1-5253-494D-8480-D8FE4F10AA64}"/>
          </ac:spMkLst>
        </pc:spChg>
        <pc:spChg chg="add del mod">
          <ac:chgData name="Kebba Jeng" userId="fe4cc296-ba7d-48a2-8799-89b58d218255" providerId="ADAL" clId="{388EFDEE-447E-42B4-98EF-30C01AB2E8CD}" dt="2022-03-28T18:10:08.668" v="2720"/>
          <ac:spMkLst>
            <pc:docMk/>
            <pc:sldMk cId="1852388011" sldId="2134803542"/>
            <ac:spMk id="142" creationId="{052315E4-DA66-415D-85B8-2D08E052BAC5}"/>
          </ac:spMkLst>
        </pc:spChg>
        <pc:spChg chg="add del mod">
          <ac:chgData name="Kebba Jeng" userId="fe4cc296-ba7d-48a2-8799-89b58d218255" providerId="ADAL" clId="{388EFDEE-447E-42B4-98EF-30C01AB2E8CD}" dt="2022-03-28T18:10:08.668" v="2720"/>
          <ac:spMkLst>
            <pc:docMk/>
            <pc:sldMk cId="1852388011" sldId="2134803542"/>
            <ac:spMk id="143" creationId="{0FD3A190-E4AB-40D7-8B24-6885ADF7FE27}"/>
          </ac:spMkLst>
        </pc:spChg>
        <pc:spChg chg="add del mod">
          <ac:chgData name="Kebba Jeng" userId="fe4cc296-ba7d-48a2-8799-89b58d218255" providerId="ADAL" clId="{388EFDEE-447E-42B4-98EF-30C01AB2E8CD}" dt="2022-03-28T18:10:08.668" v="2720"/>
          <ac:spMkLst>
            <pc:docMk/>
            <pc:sldMk cId="1852388011" sldId="2134803542"/>
            <ac:spMk id="144" creationId="{849D26BC-36CC-4F86-BFB3-B3AF10A388A2}"/>
          </ac:spMkLst>
        </pc:spChg>
        <pc:spChg chg="add del mod">
          <ac:chgData name="Kebba Jeng" userId="fe4cc296-ba7d-48a2-8799-89b58d218255" providerId="ADAL" clId="{388EFDEE-447E-42B4-98EF-30C01AB2E8CD}" dt="2022-03-28T18:10:08.668" v="2720"/>
          <ac:spMkLst>
            <pc:docMk/>
            <pc:sldMk cId="1852388011" sldId="2134803542"/>
            <ac:spMk id="145" creationId="{AED71848-2DDD-4C7F-BCFA-C85A079279A6}"/>
          </ac:spMkLst>
        </pc:spChg>
        <pc:spChg chg="add del mod">
          <ac:chgData name="Kebba Jeng" userId="fe4cc296-ba7d-48a2-8799-89b58d218255" providerId="ADAL" clId="{388EFDEE-447E-42B4-98EF-30C01AB2E8CD}" dt="2022-03-28T18:10:08.668" v="2720"/>
          <ac:spMkLst>
            <pc:docMk/>
            <pc:sldMk cId="1852388011" sldId="2134803542"/>
            <ac:spMk id="146" creationId="{EE4EBC9E-32F5-415F-B5DB-8979A9F371A1}"/>
          </ac:spMkLst>
        </pc:spChg>
        <pc:spChg chg="add del mod">
          <ac:chgData name="Kebba Jeng" userId="fe4cc296-ba7d-48a2-8799-89b58d218255" providerId="ADAL" clId="{388EFDEE-447E-42B4-98EF-30C01AB2E8CD}" dt="2022-03-28T18:10:08.668" v="2720"/>
          <ac:spMkLst>
            <pc:docMk/>
            <pc:sldMk cId="1852388011" sldId="2134803542"/>
            <ac:spMk id="147" creationId="{3FD6B1DF-C9B6-4A3E-8015-B18CA9DAC7C0}"/>
          </ac:spMkLst>
        </pc:spChg>
        <pc:spChg chg="add del mod">
          <ac:chgData name="Kebba Jeng" userId="fe4cc296-ba7d-48a2-8799-89b58d218255" providerId="ADAL" clId="{388EFDEE-447E-42B4-98EF-30C01AB2E8CD}" dt="2022-03-28T18:10:08.668" v="2720"/>
          <ac:spMkLst>
            <pc:docMk/>
            <pc:sldMk cId="1852388011" sldId="2134803542"/>
            <ac:spMk id="148" creationId="{10F53A94-3135-4A8E-A3EB-E624E43EF27F}"/>
          </ac:spMkLst>
        </pc:spChg>
        <pc:spChg chg="add del mod">
          <ac:chgData name="Kebba Jeng" userId="fe4cc296-ba7d-48a2-8799-89b58d218255" providerId="ADAL" clId="{388EFDEE-447E-42B4-98EF-30C01AB2E8CD}" dt="2022-03-28T18:10:08.668" v="2720"/>
          <ac:spMkLst>
            <pc:docMk/>
            <pc:sldMk cId="1852388011" sldId="2134803542"/>
            <ac:spMk id="149" creationId="{F542DDE4-8607-4E7F-AE6C-D9034F25CEF2}"/>
          </ac:spMkLst>
        </pc:spChg>
        <pc:spChg chg="add del mod">
          <ac:chgData name="Kebba Jeng" userId="fe4cc296-ba7d-48a2-8799-89b58d218255" providerId="ADAL" clId="{388EFDEE-447E-42B4-98EF-30C01AB2E8CD}" dt="2022-03-28T18:10:08.668" v="2720"/>
          <ac:spMkLst>
            <pc:docMk/>
            <pc:sldMk cId="1852388011" sldId="2134803542"/>
            <ac:spMk id="150" creationId="{78D64283-D2B9-474E-A82A-495B7489068C}"/>
          </ac:spMkLst>
        </pc:spChg>
        <pc:spChg chg="add del mod">
          <ac:chgData name="Kebba Jeng" userId="fe4cc296-ba7d-48a2-8799-89b58d218255" providerId="ADAL" clId="{388EFDEE-447E-42B4-98EF-30C01AB2E8CD}" dt="2022-03-28T18:10:08.668" v="2720"/>
          <ac:spMkLst>
            <pc:docMk/>
            <pc:sldMk cId="1852388011" sldId="2134803542"/>
            <ac:spMk id="151" creationId="{7F43F061-DAC1-4B25-A259-68287F83D946}"/>
          </ac:spMkLst>
        </pc:spChg>
        <pc:spChg chg="add del mod">
          <ac:chgData name="Kebba Jeng" userId="fe4cc296-ba7d-48a2-8799-89b58d218255" providerId="ADAL" clId="{388EFDEE-447E-42B4-98EF-30C01AB2E8CD}" dt="2022-03-28T18:10:08.668" v="2720"/>
          <ac:spMkLst>
            <pc:docMk/>
            <pc:sldMk cId="1852388011" sldId="2134803542"/>
            <ac:spMk id="152" creationId="{BC184796-96B4-40D5-BCFD-C3BD8006DDF3}"/>
          </ac:spMkLst>
        </pc:spChg>
        <pc:spChg chg="add del mod">
          <ac:chgData name="Kebba Jeng" userId="fe4cc296-ba7d-48a2-8799-89b58d218255" providerId="ADAL" clId="{388EFDEE-447E-42B4-98EF-30C01AB2E8CD}" dt="2022-03-28T18:10:08.668" v="2720"/>
          <ac:spMkLst>
            <pc:docMk/>
            <pc:sldMk cId="1852388011" sldId="2134803542"/>
            <ac:spMk id="153" creationId="{32EA3F87-84AD-4FBB-AB56-F3FDF2FADD36}"/>
          </ac:spMkLst>
        </pc:spChg>
        <pc:spChg chg="add del mod">
          <ac:chgData name="Kebba Jeng" userId="fe4cc296-ba7d-48a2-8799-89b58d218255" providerId="ADAL" clId="{388EFDEE-447E-42B4-98EF-30C01AB2E8CD}" dt="2022-03-28T18:10:08.668" v="2720"/>
          <ac:spMkLst>
            <pc:docMk/>
            <pc:sldMk cId="1852388011" sldId="2134803542"/>
            <ac:spMk id="154" creationId="{A1926C32-F060-49A7-BE02-F7E325861E7D}"/>
          </ac:spMkLst>
        </pc:spChg>
        <pc:spChg chg="add del mod">
          <ac:chgData name="Kebba Jeng" userId="fe4cc296-ba7d-48a2-8799-89b58d218255" providerId="ADAL" clId="{388EFDEE-447E-42B4-98EF-30C01AB2E8CD}" dt="2022-03-28T18:10:08.668" v="2720"/>
          <ac:spMkLst>
            <pc:docMk/>
            <pc:sldMk cId="1852388011" sldId="2134803542"/>
            <ac:spMk id="155" creationId="{EF14F596-E7C8-46C6-9303-342741D3F26F}"/>
          </ac:spMkLst>
        </pc:spChg>
        <pc:spChg chg="add del mod">
          <ac:chgData name="Kebba Jeng" userId="fe4cc296-ba7d-48a2-8799-89b58d218255" providerId="ADAL" clId="{388EFDEE-447E-42B4-98EF-30C01AB2E8CD}" dt="2022-03-28T18:10:08.668" v="2720"/>
          <ac:spMkLst>
            <pc:docMk/>
            <pc:sldMk cId="1852388011" sldId="2134803542"/>
            <ac:spMk id="156" creationId="{C35C3DF3-154C-4B52-84FF-C04217408D74}"/>
          </ac:spMkLst>
        </pc:spChg>
        <pc:spChg chg="add del mod">
          <ac:chgData name="Kebba Jeng" userId="fe4cc296-ba7d-48a2-8799-89b58d218255" providerId="ADAL" clId="{388EFDEE-447E-42B4-98EF-30C01AB2E8CD}" dt="2022-03-28T18:10:08.668" v="2720"/>
          <ac:spMkLst>
            <pc:docMk/>
            <pc:sldMk cId="1852388011" sldId="2134803542"/>
            <ac:spMk id="157" creationId="{A01092C1-5D67-4484-B48B-3AAC002B784D}"/>
          </ac:spMkLst>
        </pc:spChg>
        <pc:spChg chg="add del mod">
          <ac:chgData name="Kebba Jeng" userId="fe4cc296-ba7d-48a2-8799-89b58d218255" providerId="ADAL" clId="{388EFDEE-447E-42B4-98EF-30C01AB2E8CD}" dt="2022-03-28T18:10:08.668" v="2720"/>
          <ac:spMkLst>
            <pc:docMk/>
            <pc:sldMk cId="1852388011" sldId="2134803542"/>
            <ac:spMk id="158" creationId="{D05BBC22-4C59-43E6-8E76-0A075446C378}"/>
          </ac:spMkLst>
        </pc:spChg>
        <pc:spChg chg="add del mod">
          <ac:chgData name="Kebba Jeng" userId="fe4cc296-ba7d-48a2-8799-89b58d218255" providerId="ADAL" clId="{388EFDEE-447E-42B4-98EF-30C01AB2E8CD}" dt="2022-03-28T18:10:08.668" v="2720"/>
          <ac:spMkLst>
            <pc:docMk/>
            <pc:sldMk cId="1852388011" sldId="2134803542"/>
            <ac:spMk id="159" creationId="{23C5A5D7-E4FA-42BD-8511-E6BAECE60C41}"/>
          </ac:spMkLst>
        </pc:spChg>
        <pc:spChg chg="add del mod">
          <ac:chgData name="Kebba Jeng" userId="fe4cc296-ba7d-48a2-8799-89b58d218255" providerId="ADAL" clId="{388EFDEE-447E-42B4-98EF-30C01AB2E8CD}" dt="2022-03-28T18:10:08.668" v="2720"/>
          <ac:spMkLst>
            <pc:docMk/>
            <pc:sldMk cId="1852388011" sldId="2134803542"/>
            <ac:spMk id="160" creationId="{5263D76A-BC2E-4C9F-96B3-A568F92ED6D4}"/>
          </ac:spMkLst>
        </pc:spChg>
        <pc:spChg chg="add del mod">
          <ac:chgData name="Kebba Jeng" userId="fe4cc296-ba7d-48a2-8799-89b58d218255" providerId="ADAL" clId="{388EFDEE-447E-42B4-98EF-30C01AB2E8CD}" dt="2022-03-28T18:10:08.668" v="2720"/>
          <ac:spMkLst>
            <pc:docMk/>
            <pc:sldMk cId="1852388011" sldId="2134803542"/>
            <ac:spMk id="161" creationId="{025C8782-C180-4E82-BC10-B96CDF0B3766}"/>
          </ac:spMkLst>
        </pc:spChg>
        <pc:spChg chg="add del mod">
          <ac:chgData name="Kebba Jeng" userId="fe4cc296-ba7d-48a2-8799-89b58d218255" providerId="ADAL" clId="{388EFDEE-447E-42B4-98EF-30C01AB2E8CD}" dt="2022-03-28T18:10:08.668" v="2720"/>
          <ac:spMkLst>
            <pc:docMk/>
            <pc:sldMk cId="1852388011" sldId="2134803542"/>
            <ac:spMk id="162" creationId="{F99BBFF6-CED5-4B68-BA7A-04ECD1715ADC}"/>
          </ac:spMkLst>
        </pc:spChg>
        <pc:spChg chg="add del mod">
          <ac:chgData name="Kebba Jeng" userId="fe4cc296-ba7d-48a2-8799-89b58d218255" providerId="ADAL" clId="{388EFDEE-447E-42B4-98EF-30C01AB2E8CD}" dt="2022-03-28T18:10:08.668" v="2720"/>
          <ac:spMkLst>
            <pc:docMk/>
            <pc:sldMk cId="1852388011" sldId="2134803542"/>
            <ac:spMk id="163" creationId="{9A9C2C3C-0ADC-4A00-B97E-0D1F2BDD027E}"/>
          </ac:spMkLst>
        </pc:spChg>
        <pc:spChg chg="add del mod">
          <ac:chgData name="Kebba Jeng" userId="fe4cc296-ba7d-48a2-8799-89b58d218255" providerId="ADAL" clId="{388EFDEE-447E-42B4-98EF-30C01AB2E8CD}" dt="2022-03-28T18:10:08.668" v="2720"/>
          <ac:spMkLst>
            <pc:docMk/>
            <pc:sldMk cId="1852388011" sldId="2134803542"/>
            <ac:spMk id="164" creationId="{AC2DCF56-F7D2-4DCE-94AF-641B7DA5FA4F}"/>
          </ac:spMkLst>
        </pc:spChg>
        <pc:spChg chg="add del mod">
          <ac:chgData name="Kebba Jeng" userId="fe4cc296-ba7d-48a2-8799-89b58d218255" providerId="ADAL" clId="{388EFDEE-447E-42B4-98EF-30C01AB2E8CD}" dt="2022-03-28T18:10:08.668" v="2720"/>
          <ac:spMkLst>
            <pc:docMk/>
            <pc:sldMk cId="1852388011" sldId="2134803542"/>
            <ac:spMk id="165" creationId="{48AC14B9-2DFC-44E4-8E3B-C24C09D5DAEB}"/>
          </ac:spMkLst>
        </pc:spChg>
        <pc:spChg chg="add del mod">
          <ac:chgData name="Kebba Jeng" userId="fe4cc296-ba7d-48a2-8799-89b58d218255" providerId="ADAL" clId="{388EFDEE-447E-42B4-98EF-30C01AB2E8CD}" dt="2022-03-28T18:10:08.668" v="2720"/>
          <ac:spMkLst>
            <pc:docMk/>
            <pc:sldMk cId="1852388011" sldId="2134803542"/>
            <ac:spMk id="166" creationId="{062B61DE-D9FB-415C-A948-A758AF1208FA}"/>
          </ac:spMkLst>
        </pc:spChg>
        <pc:spChg chg="add del mod">
          <ac:chgData name="Kebba Jeng" userId="fe4cc296-ba7d-48a2-8799-89b58d218255" providerId="ADAL" clId="{388EFDEE-447E-42B4-98EF-30C01AB2E8CD}" dt="2022-03-28T18:10:08.668" v="2720"/>
          <ac:spMkLst>
            <pc:docMk/>
            <pc:sldMk cId="1852388011" sldId="2134803542"/>
            <ac:spMk id="167" creationId="{22B2CD0D-C5C1-4B76-B23F-5972A27A0C54}"/>
          </ac:spMkLst>
        </pc:spChg>
        <pc:spChg chg="add del mod">
          <ac:chgData name="Kebba Jeng" userId="fe4cc296-ba7d-48a2-8799-89b58d218255" providerId="ADAL" clId="{388EFDEE-447E-42B4-98EF-30C01AB2E8CD}" dt="2022-03-28T18:10:08.668" v="2720"/>
          <ac:spMkLst>
            <pc:docMk/>
            <pc:sldMk cId="1852388011" sldId="2134803542"/>
            <ac:spMk id="168" creationId="{A2F7C57C-D018-4A05-A8B7-9B44D30378C6}"/>
          </ac:spMkLst>
        </pc:spChg>
        <pc:spChg chg="add del mod">
          <ac:chgData name="Kebba Jeng" userId="fe4cc296-ba7d-48a2-8799-89b58d218255" providerId="ADAL" clId="{388EFDEE-447E-42B4-98EF-30C01AB2E8CD}" dt="2022-03-28T18:10:08.668" v="2720"/>
          <ac:spMkLst>
            <pc:docMk/>
            <pc:sldMk cId="1852388011" sldId="2134803542"/>
            <ac:spMk id="169" creationId="{EC8293D7-77DF-49D6-A3F1-4E011EC25AC7}"/>
          </ac:spMkLst>
        </pc:spChg>
        <pc:spChg chg="add del mod">
          <ac:chgData name="Kebba Jeng" userId="fe4cc296-ba7d-48a2-8799-89b58d218255" providerId="ADAL" clId="{388EFDEE-447E-42B4-98EF-30C01AB2E8CD}" dt="2022-03-28T18:10:08.668" v="2720"/>
          <ac:spMkLst>
            <pc:docMk/>
            <pc:sldMk cId="1852388011" sldId="2134803542"/>
            <ac:spMk id="170" creationId="{6D0C7EE4-9C06-406C-A879-363E5EBD26B1}"/>
          </ac:spMkLst>
        </pc:spChg>
        <pc:spChg chg="add del mod">
          <ac:chgData name="Kebba Jeng" userId="fe4cc296-ba7d-48a2-8799-89b58d218255" providerId="ADAL" clId="{388EFDEE-447E-42B4-98EF-30C01AB2E8CD}" dt="2022-03-28T18:10:08.668" v="2720"/>
          <ac:spMkLst>
            <pc:docMk/>
            <pc:sldMk cId="1852388011" sldId="2134803542"/>
            <ac:spMk id="171" creationId="{AA2889ED-5C77-4471-9D67-C6BE26BA4030}"/>
          </ac:spMkLst>
        </pc:spChg>
        <pc:spChg chg="add del mod">
          <ac:chgData name="Kebba Jeng" userId="fe4cc296-ba7d-48a2-8799-89b58d218255" providerId="ADAL" clId="{388EFDEE-447E-42B4-98EF-30C01AB2E8CD}" dt="2022-03-28T18:10:08.668" v="2720"/>
          <ac:spMkLst>
            <pc:docMk/>
            <pc:sldMk cId="1852388011" sldId="2134803542"/>
            <ac:spMk id="172" creationId="{4E021ECE-BC49-4D1D-9963-AAA2BFA707E5}"/>
          </ac:spMkLst>
        </pc:spChg>
        <pc:spChg chg="add del mod">
          <ac:chgData name="Kebba Jeng" userId="fe4cc296-ba7d-48a2-8799-89b58d218255" providerId="ADAL" clId="{388EFDEE-447E-42B4-98EF-30C01AB2E8CD}" dt="2022-03-28T18:10:08.668" v="2720"/>
          <ac:spMkLst>
            <pc:docMk/>
            <pc:sldMk cId="1852388011" sldId="2134803542"/>
            <ac:spMk id="173" creationId="{6FADF88C-DAEE-4B66-9D64-5935856FA533}"/>
          </ac:spMkLst>
        </pc:spChg>
        <pc:spChg chg="add del mod">
          <ac:chgData name="Kebba Jeng" userId="fe4cc296-ba7d-48a2-8799-89b58d218255" providerId="ADAL" clId="{388EFDEE-447E-42B4-98EF-30C01AB2E8CD}" dt="2022-03-28T18:10:08.668" v="2720"/>
          <ac:spMkLst>
            <pc:docMk/>
            <pc:sldMk cId="1852388011" sldId="2134803542"/>
            <ac:spMk id="174" creationId="{7D280F08-082D-48B5-9EB8-B34A0A33E65B}"/>
          </ac:spMkLst>
        </pc:spChg>
        <pc:spChg chg="add del mod">
          <ac:chgData name="Kebba Jeng" userId="fe4cc296-ba7d-48a2-8799-89b58d218255" providerId="ADAL" clId="{388EFDEE-447E-42B4-98EF-30C01AB2E8CD}" dt="2022-03-28T18:10:08.668" v="2720"/>
          <ac:spMkLst>
            <pc:docMk/>
            <pc:sldMk cId="1852388011" sldId="2134803542"/>
            <ac:spMk id="175" creationId="{6B56D4C9-050B-4794-B542-C7B2304F74A9}"/>
          </ac:spMkLst>
        </pc:spChg>
        <pc:spChg chg="add del mod">
          <ac:chgData name="Kebba Jeng" userId="fe4cc296-ba7d-48a2-8799-89b58d218255" providerId="ADAL" clId="{388EFDEE-447E-42B4-98EF-30C01AB2E8CD}" dt="2022-03-28T18:10:08.668" v="2720"/>
          <ac:spMkLst>
            <pc:docMk/>
            <pc:sldMk cId="1852388011" sldId="2134803542"/>
            <ac:spMk id="176" creationId="{415883BB-8EF6-44E7-A181-3E6A28B47486}"/>
          </ac:spMkLst>
        </pc:spChg>
        <pc:spChg chg="add del mod">
          <ac:chgData name="Kebba Jeng" userId="fe4cc296-ba7d-48a2-8799-89b58d218255" providerId="ADAL" clId="{388EFDEE-447E-42B4-98EF-30C01AB2E8CD}" dt="2022-03-28T18:10:08.668" v="2720"/>
          <ac:spMkLst>
            <pc:docMk/>
            <pc:sldMk cId="1852388011" sldId="2134803542"/>
            <ac:spMk id="177" creationId="{E2499263-25D2-459B-A2F1-BFAF249D7B68}"/>
          </ac:spMkLst>
        </pc:spChg>
        <pc:spChg chg="add del mod">
          <ac:chgData name="Kebba Jeng" userId="fe4cc296-ba7d-48a2-8799-89b58d218255" providerId="ADAL" clId="{388EFDEE-447E-42B4-98EF-30C01AB2E8CD}" dt="2022-03-28T18:10:08.668" v="2720"/>
          <ac:spMkLst>
            <pc:docMk/>
            <pc:sldMk cId="1852388011" sldId="2134803542"/>
            <ac:spMk id="178" creationId="{763A94DC-909D-4FE6-A49C-7996C35F286B}"/>
          </ac:spMkLst>
        </pc:spChg>
        <pc:spChg chg="add del mod">
          <ac:chgData name="Kebba Jeng" userId="fe4cc296-ba7d-48a2-8799-89b58d218255" providerId="ADAL" clId="{388EFDEE-447E-42B4-98EF-30C01AB2E8CD}" dt="2022-03-28T18:10:08.668" v="2720"/>
          <ac:spMkLst>
            <pc:docMk/>
            <pc:sldMk cId="1852388011" sldId="2134803542"/>
            <ac:spMk id="179" creationId="{85B917B0-ED55-45C7-8733-08BB786C3409}"/>
          </ac:spMkLst>
        </pc:spChg>
        <pc:spChg chg="add del mod">
          <ac:chgData name="Kebba Jeng" userId="fe4cc296-ba7d-48a2-8799-89b58d218255" providerId="ADAL" clId="{388EFDEE-447E-42B4-98EF-30C01AB2E8CD}" dt="2022-03-28T18:10:08.668" v="2720"/>
          <ac:spMkLst>
            <pc:docMk/>
            <pc:sldMk cId="1852388011" sldId="2134803542"/>
            <ac:spMk id="180" creationId="{DD62610D-1F95-4821-9EED-FE4C065C5BB0}"/>
          </ac:spMkLst>
        </pc:spChg>
        <pc:spChg chg="add del mod">
          <ac:chgData name="Kebba Jeng" userId="fe4cc296-ba7d-48a2-8799-89b58d218255" providerId="ADAL" clId="{388EFDEE-447E-42B4-98EF-30C01AB2E8CD}" dt="2022-03-28T18:10:08.668" v="2720"/>
          <ac:spMkLst>
            <pc:docMk/>
            <pc:sldMk cId="1852388011" sldId="2134803542"/>
            <ac:spMk id="181" creationId="{01F17C8D-A351-4E59-9B68-9524DC29E73B}"/>
          </ac:spMkLst>
        </pc:spChg>
        <pc:spChg chg="add del mod">
          <ac:chgData name="Kebba Jeng" userId="fe4cc296-ba7d-48a2-8799-89b58d218255" providerId="ADAL" clId="{388EFDEE-447E-42B4-98EF-30C01AB2E8CD}" dt="2022-03-28T18:10:08.668" v="2720"/>
          <ac:spMkLst>
            <pc:docMk/>
            <pc:sldMk cId="1852388011" sldId="2134803542"/>
            <ac:spMk id="182" creationId="{80AEAC6E-FCA5-4EDD-A9E1-A1962DAD6B97}"/>
          </ac:spMkLst>
        </pc:spChg>
        <pc:spChg chg="add del mod">
          <ac:chgData name="Kebba Jeng" userId="fe4cc296-ba7d-48a2-8799-89b58d218255" providerId="ADAL" clId="{388EFDEE-447E-42B4-98EF-30C01AB2E8CD}" dt="2022-03-28T18:10:08.668" v="2720"/>
          <ac:spMkLst>
            <pc:docMk/>
            <pc:sldMk cId="1852388011" sldId="2134803542"/>
            <ac:spMk id="183" creationId="{16FFD9A7-E6FC-43BF-B76B-B46CF8ACB407}"/>
          </ac:spMkLst>
        </pc:spChg>
        <pc:spChg chg="add del mod">
          <ac:chgData name="Kebba Jeng" userId="fe4cc296-ba7d-48a2-8799-89b58d218255" providerId="ADAL" clId="{388EFDEE-447E-42B4-98EF-30C01AB2E8CD}" dt="2022-03-28T18:10:08.668" v="2720"/>
          <ac:spMkLst>
            <pc:docMk/>
            <pc:sldMk cId="1852388011" sldId="2134803542"/>
            <ac:spMk id="184" creationId="{0DBBA4BE-4D0E-498C-B1BF-CE0B18186F7A}"/>
          </ac:spMkLst>
        </pc:spChg>
        <pc:spChg chg="add del mod">
          <ac:chgData name="Kebba Jeng" userId="fe4cc296-ba7d-48a2-8799-89b58d218255" providerId="ADAL" clId="{388EFDEE-447E-42B4-98EF-30C01AB2E8CD}" dt="2022-03-28T18:10:08.668" v="2720"/>
          <ac:spMkLst>
            <pc:docMk/>
            <pc:sldMk cId="1852388011" sldId="2134803542"/>
            <ac:spMk id="185" creationId="{97B803D0-5B14-42CB-993E-EA99CD158D0F}"/>
          </ac:spMkLst>
        </pc:spChg>
        <pc:spChg chg="add del mod">
          <ac:chgData name="Kebba Jeng" userId="fe4cc296-ba7d-48a2-8799-89b58d218255" providerId="ADAL" clId="{388EFDEE-447E-42B4-98EF-30C01AB2E8CD}" dt="2022-03-28T18:10:08.668" v="2720"/>
          <ac:spMkLst>
            <pc:docMk/>
            <pc:sldMk cId="1852388011" sldId="2134803542"/>
            <ac:spMk id="186" creationId="{EEABD48D-B84B-4311-9342-AAE490144924}"/>
          </ac:spMkLst>
        </pc:spChg>
        <pc:spChg chg="add del mod">
          <ac:chgData name="Kebba Jeng" userId="fe4cc296-ba7d-48a2-8799-89b58d218255" providerId="ADAL" clId="{388EFDEE-447E-42B4-98EF-30C01AB2E8CD}" dt="2022-03-28T18:10:08.668" v="2720"/>
          <ac:spMkLst>
            <pc:docMk/>
            <pc:sldMk cId="1852388011" sldId="2134803542"/>
            <ac:spMk id="187" creationId="{6B293DCA-4C9B-4BF9-BFDC-68320D667CDB}"/>
          </ac:spMkLst>
        </pc:spChg>
        <pc:spChg chg="add del mod">
          <ac:chgData name="Kebba Jeng" userId="fe4cc296-ba7d-48a2-8799-89b58d218255" providerId="ADAL" clId="{388EFDEE-447E-42B4-98EF-30C01AB2E8CD}" dt="2022-03-28T18:10:08.668" v="2720"/>
          <ac:spMkLst>
            <pc:docMk/>
            <pc:sldMk cId="1852388011" sldId="2134803542"/>
            <ac:spMk id="188" creationId="{C0C23576-9C03-48DE-80CC-927090029F27}"/>
          </ac:spMkLst>
        </pc:spChg>
        <pc:spChg chg="add del mod">
          <ac:chgData name="Kebba Jeng" userId="fe4cc296-ba7d-48a2-8799-89b58d218255" providerId="ADAL" clId="{388EFDEE-447E-42B4-98EF-30C01AB2E8CD}" dt="2022-03-28T18:10:08.668" v="2720"/>
          <ac:spMkLst>
            <pc:docMk/>
            <pc:sldMk cId="1852388011" sldId="2134803542"/>
            <ac:spMk id="189" creationId="{EF508AA4-53BA-40EE-A405-023C5FC2EDF4}"/>
          </ac:spMkLst>
        </pc:spChg>
        <pc:spChg chg="add del mod">
          <ac:chgData name="Kebba Jeng" userId="fe4cc296-ba7d-48a2-8799-89b58d218255" providerId="ADAL" clId="{388EFDEE-447E-42B4-98EF-30C01AB2E8CD}" dt="2022-03-28T18:10:08.668" v="2720"/>
          <ac:spMkLst>
            <pc:docMk/>
            <pc:sldMk cId="1852388011" sldId="2134803542"/>
            <ac:spMk id="190" creationId="{727B408E-B97F-45CD-AFB5-AA9A3627D60F}"/>
          </ac:spMkLst>
        </pc:spChg>
        <pc:spChg chg="add del mod">
          <ac:chgData name="Kebba Jeng" userId="fe4cc296-ba7d-48a2-8799-89b58d218255" providerId="ADAL" clId="{388EFDEE-447E-42B4-98EF-30C01AB2E8CD}" dt="2022-03-28T18:10:08.668" v="2720"/>
          <ac:spMkLst>
            <pc:docMk/>
            <pc:sldMk cId="1852388011" sldId="2134803542"/>
            <ac:spMk id="191" creationId="{43DB4F96-5E24-4BB2-B10E-E09097B027F2}"/>
          </ac:spMkLst>
        </pc:spChg>
        <pc:spChg chg="add del mod">
          <ac:chgData name="Kebba Jeng" userId="fe4cc296-ba7d-48a2-8799-89b58d218255" providerId="ADAL" clId="{388EFDEE-447E-42B4-98EF-30C01AB2E8CD}" dt="2022-03-28T18:10:08.668" v="2720"/>
          <ac:spMkLst>
            <pc:docMk/>
            <pc:sldMk cId="1852388011" sldId="2134803542"/>
            <ac:spMk id="192" creationId="{F6334C9B-69F2-4A6A-B1B9-40CAFBE608EA}"/>
          </ac:spMkLst>
        </pc:spChg>
        <pc:spChg chg="add del mod">
          <ac:chgData name="Kebba Jeng" userId="fe4cc296-ba7d-48a2-8799-89b58d218255" providerId="ADAL" clId="{388EFDEE-447E-42B4-98EF-30C01AB2E8CD}" dt="2022-03-28T18:10:08.668" v="2720"/>
          <ac:spMkLst>
            <pc:docMk/>
            <pc:sldMk cId="1852388011" sldId="2134803542"/>
            <ac:spMk id="193" creationId="{E46A7964-CF17-4723-8DBF-D2A662DD6743}"/>
          </ac:spMkLst>
        </pc:spChg>
        <pc:spChg chg="add del mod">
          <ac:chgData name="Kebba Jeng" userId="fe4cc296-ba7d-48a2-8799-89b58d218255" providerId="ADAL" clId="{388EFDEE-447E-42B4-98EF-30C01AB2E8CD}" dt="2022-03-28T18:10:08.668" v="2720"/>
          <ac:spMkLst>
            <pc:docMk/>
            <pc:sldMk cId="1852388011" sldId="2134803542"/>
            <ac:spMk id="194" creationId="{2F8BF14C-59B9-454C-990D-BE7CA5E9ED01}"/>
          </ac:spMkLst>
        </pc:spChg>
        <pc:spChg chg="add del mod">
          <ac:chgData name="Kebba Jeng" userId="fe4cc296-ba7d-48a2-8799-89b58d218255" providerId="ADAL" clId="{388EFDEE-447E-42B4-98EF-30C01AB2E8CD}" dt="2022-03-28T18:10:08.668" v="2720"/>
          <ac:spMkLst>
            <pc:docMk/>
            <pc:sldMk cId="1852388011" sldId="2134803542"/>
            <ac:spMk id="195" creationId="{12016F61-BCFA-441A-AD92-A14B19FE543A}"/>
          </ac:spMkLst>
        </pc:spChg>
        <pc:spChg chg="add del mod">
          <ac:chgData name="Kebba Jeng" userId="fe4cc296-ba7d-48a2-8799-89b58d218255" providerId="ADAL" clId="{388EFDEE-447E-42B4-98EF-30C01AB2E8CD}" dt="2022-03-28T18:10:08.668" v="2720"/>
          <ac:spMkLst>
            <pc:docMk/>
            <pc:sldMk cId="1852388011" sldId="2134803542"/>
            <ac:spMk id="196" creationId="{853BB953-EE4B-4C8A-BEAF-79E352E48E5D}"/>
          </ac:spMkLst>
        </pc:spChg>
        <pc:spChg chg="add del mod">
          <ac:chgData name="Kebba Jeng" userId="fe4cc296-ba7d-48a2-8799-89b58d218255" providerId="ADAL" clId="{388EFDEE-447E-42B4-98EF-30C01AB2E8CD}" dt="2022-03-28T18:10:08.668" v="2720"/>
          <ac:spMkLst>
            <pc:docMk/>
            <pc:sldMk cId="1852388011" sldId="2134803542"/>
            <ac:spMk id="197" creationId="{59E1BCB2-A97C-4173-B722-DA9892CE49AA}"/>
          </ac:spMkLst>
        </pc:spChg>
        <pc:spChg chg="add del mod">
          <ac:chgData name="Kebba Jeng" userId="fe4cc296-ba7d-48a2-8799-89b58d218255" providerId="ADAL" clId="{388EFDEE-447E-42B4-98EF-30C01AB2E8CD}" dt="2022-03-28T18:10:08.668" v="2720"/>
          <ac:spMkLst>
            <pc:docMk/>
            <pc:sldMk cId="1852388011" sldId="2134803542"/>
            <ac:spMk id="198" creationId="{86B5EF43-0FC6-4BB5-B5AC-532188DD9F5A}"/>
          </ac:spMkLst>
        </pc:spChg>
        <pc:spChg chg="add del mod">
          <ac:chgData name="Kebba Jeng" userId="fe4cc296-ba7d-48a2-8799-89b58d218255" providerId="ADAL" clId="{388EFDEE-447E-42B4-98EF-30C01AB2E8CD}" dt="2022-03-28T18:10:08.668" v="2720"/>
          <ac:spMkLst>
            <pc:docMk/>
            <pc:sldMk cId="1852388011" sldId="2134803542"/>
            <ac:spMk id="199" creationId="{DD09D7A3-938E-4CBB-B9C7-86964D957F1E}"/>
          </ac:spMkLst>
        </pc:spChg>
        <pc:spChg chg="add del mod">
          <ac:chgData name="Kebba Jeng" userId="fe4cc296-ba7d-48a2-8799-89b58d218255" providerId="ADAL" clId="{388EFDEE-447E-42B4-98EF-30C01AB2E8CD}" dt="2022-03-28T18:10:08.668" v="2720"/>
          <ac:spMkLst>
            <pc:docMk/>
            <pc:sldMk cId="1852388011" sldId="2134803542"/>
            <ac:spMk id="200" creationId="{63849288-7EA1-49CB-81C8-02A9E2F70794}"/>
          </ac:spMkLst>
        </pc:spChg>
        <pc:spChg chg="add del mod">
          <ac:chgData name="Kebba Jeng" userId="fe4cc296-ba7d-48a2-8799-89b58d218255" providerId="ADAL" clId="{388EFDEE-447E-42B4-98EF-30C01AB2E8CD}" dt="2022-03-28T18:10:08.668" v="2720"/>
          <ac:spMkLst>
            <pc:docMk/>
            <pc:sldMk cId="1852388011" sldId="2134803542"/>
            <ac:spMk id="201" creationId="{4A38F0DF-56ED-44D9-9269-C7F38F023EB1}"/>
          </ac:spMkLst>
        </pc:spChg>
        <pc:spChg chg="add del mod">
          <ac:chgData name="Kebba Jeng" userId="fe4cc296-ba7d-48a2-8799-89b58d218255" providerId="ADAL" clId="{388EFDEE-447E-42B4-98EF-30C01AB2E8CD}" dt="2022-03-28T18:10:08.668" v="2720"/>
          <ac:spMkLst>
            <pc:docMk/>
            <pc:sldMk cId="1852388011" sldId="2134803542"/>
            <ac:spMk id="202" creationId="{7767882E-7B15-4833-A1A8-187B9052C1F4}"/>
          </ac:spMkLst>
        </pc:spChg>
        <pc:spChg chg="add del mod">
          <ac:chgData name="Kebba Jeng" userId="fe4cc296-ba7d-48a2-8799-89b58d218255" providerId="ADAL" clId="{388EFDEE-447E-42B4-98EF-30C01AB2E8CD}" dt="2022-03-28T18:10:08.668" v="2720"/>
          <ac:spMkLst>
            <pc:docMk/>
            <pc:sldMk cId="1852388011" sldId="2134803542"/>
            <ac:spMk id="203" creationId="{AAE510F8-DEF4-4C23-99C6-001B1C447766}"/>
          </ac:spMkLst>
        </pc:spChg>
        <pc:spChg chg="add del mod">
          <ac:chgData name="Kebba Jeng" userId="fe4cc296-ba7d-48a2-8799-89b58d218255" providerId="ADAL" clId="{388EFDEE-447E-42B4-98EF-30C01AB2E8CD}" dt="2022-03-28T18:10:08.668" v="2720"/>
          <ac:spMkLst>
            <pc:docMk/>
            <pc:sldMk cId="1852388011" sldId="2134803542"/>
            <ac:spMk id="204" creationId="{1DFC7B6F-3573-48FF-B067-EEA00C6B390B}"/>
          </ac:spMkLst>
        </pc:spChg>
        <pc:spChg chg="add del mod">
          <ac:chgData name="Kebba Jeng" userId="fe4cc296-ba7d-48a2-8799-89b58d218255" providerId="ADAL" clId="{388EFDEE-447E-42B4-98EF-30C01AB2E8CD}" dt="2022-03-28T18:10:08.668" v="2720"/>
          <ac:spMkLst>
            <pc:docMk/>
            <pc:sldMk cId="1852388011" sldId="2134803542"/>
            <ac:spMk id="205" creationId="{992C5D20-2CF1-458B-83F1-DA89B78D3F9C}"/>
          </ac:spMkLst>
        </pc:spChg>
        <pc:spChg chg="add del mod">
          <ac:chgData name="Kebba Jeng" userId="fe4cc296-ba7d-48a2-8799-89b58d218255" providerId="ADAL" clId="{388EFDEE-447E-42B4-98EF-30C01AB2E8CD}" dt="2022-03-28T18:10:08.668" v="2720"/>
          <ac:spMkLst>
            <pc:docMk/>
            <pc:sldMk cId="1852388011" sldId="2134803542"/>
            <ac:spMk id="206" creationId="{8C0F898D-5543-42C5-A951-0514A70AD7D8}"/>
          </ac:spMkLst>
        </pc:spChg>
        <pc:spChg chg="add del mod">
          <ac:chgData name="Kebba Jeng" userId="fe4cc296-ba7d-48a2-8799-89b58d218255" providerId="ADAL" clId="{388EFDEE-447E-42B4-98EF-30C01AB2E8CD}" dt="2022-03-28T18:10:08.668" v="2720"/>
          <ac:spMkLst>
            <pc:docMk/>
            <pc:sldMk cId="1852388011" sldId="2134803542"/>
            <ac:spMk id="207" creationId="{9F7A86EF-EBA4-4BAF-9D25-0046E29C18A9}"/>
          </ac:spMkLst>
        </pc:spChg>
        <pc:spChg chg="add del mod">
          <ac:chgData name="Kebba Jeng" userId="fe4cc296-ba7d-48a2-8799-89b58d218255" providerId="ADAL" clId="{388EFDEE-447E-42B4-98EF-30C01AB2E8CD}" dt="2022-03-28T18:10:08.668" v="2720"/>
          <ac:spMkLst>
            <pc:docMk/>
            <pc:sldMk cId="1852388011" sldId="2134803542"/>
            <ac:spMk id="208" creationId="{AD13AAAD-A9AE-4F54-AACF-216C909F2C84}"/>
          </ac:spMkLst>
        </pc:spChg>
        <pc:spChg chg="add del mod">
          <ac:chgData name="Kebba Jeng" userId="fe4cc296-ba7d-48a2-8799-89b58d218255" providerId="ADAL" clId="{388EFDEE-447E-42B4-98EF-30C01AB2E8CD}" dt="2022-03-28T18:10:08.668" v="2720"/>
          <ac:spMkLst>
            <pc:docMk/>
            <pc:sldMk cId="1852388011" sldId="2134803542"/>
            <ac:spMk id="209" creationId="{97BCE21D-FEBD-436D-A5DA-982EBC096EA2}"/>
          </ac:spMkLst>
        </pc:spChg>
        <pc:spChg chg="add del mod">
          <ac:chgData name="Kebba Jeng" userId="fe4cc296-ba7d-48a2-8799-89b58d218255" providerId="ADAL" clId="{388EFDEE-447E-42B4-98EF-30C01AB2E8CD}" dt="2022-03-28T18:10:08.668" v="2720"/>
          <ac:spMkLst>
            <pc:docMk/>
            <pc:sldMk cId="1852388011" sldId="2134803542"/>
            <ac:spMk id="210" creationId="{997A674A-1F1C-48C1-BF8B-4120C406C415}"/>
          </ac:spMkLst>
        </pc:spChg>
        <pc:spChg chg="add del mod">
          <ac:chgData name="Kebba Jeng" userId="fe4cc296-ba7d-48a2-8799-89b58d218255" providerId="ADAL" clId="{388EFDEE-447E-42B4-98EF-30C01AB2E8CD}" dt="2022-03-28T18:10:08.668" v="2720"/>
          <ac:spMkLst>
            <pc:docMk/>
            <pc:sldMk cId="1852388011" sldId="2134803542"/>
            <ac:spMk id="211" creationId="{9443DD15-EBD8-4ABA-9479-FC89E50E0E3C}"/>
          </ac:spMkLst>
        </pc:spChg>
        <pc:spChg chg="add del mod">
          <ac:chgData name="Kebba Jeng" userId="fe4cc296-ba7d-48a2-8799-89b58d218255" providerId="ADAL" clId="{388EFDEE-447E-42B4-98EF-30C01AB2E8CD}" dt="2022-03-28T18:10:08.668" v="2720"/>
          <ac:spMkLst>
            <pc:docMk/>
            <pc:sldMk cId="1852388011" sldId="2134803542"/>
            <ac:spMk id="212" creationId="{CB8F1582-A3EA-4BBF-B60D-9D434E05C0C6}"/>
          </ac:spMkLst>
        </pc:spChg>
        <pc:spChg chg="add del mod">
          <ac:chgData name="Kebba Jeng" userId="fe4cc296-ba7d-48a2-8799-89b58d218255" providerId="ADAL" clId="{388EFDEE-447E-42B4-98EF-30C01AB2E8CD}" dt="2022-03-28T18:10:08.668" v="2720"/>
          <ac:spMkLst>
            <pc:docMk/>
            <pc:sldMk cId="1852388011" sldId="2134803542"/>
            <ac:spMk id="213" creationId="{EEA89D9A-9192-4A61-8470-1C7BC879E501}"/>
          </ac:spMkLst>
        </pc:spChg>
        <pc:spChg chg="add del mod">
          <ac:chgData name="Kebba Jeng" userId="fe4cc296-ba7d-48a2-8799-89b58d218255" providerId="ADAL" clId="{388EFDEE-447E-42B4-98EF-30C01AB2E8CD}" dt="2022-03-28T18:10:08.668" v="2720"/>
          <ac:spMkLst>
            <pc:docMk/>
            <pc:sldMk cId="1852388011" sldId="2134803542"/>
            <ac:spMk id="214" creationId="{702B211F-675A-49F1-BD66-E3C9F489F529}"/>
          </ac:spMkLst>
        </pc:spChg>
        <pc:spChg chg="add del mod">
          <ac:chgData name="Kebba Jeng" userId="fe4cc296-ba7d-48a2-8799-89b58d218255" providerId="ADAL" clId="{388EFDEE-447E-42B4-98EF-30C01AB2E8CD}" dt="2022-03-28T18:10:08.668" v="2720"/>
          <ac:spMkLst>
            <pc:docMk/>
            <pc:sldMk cId="1852388011" sldId="2134803542"/>
            <ac:spMk id="215" creationId="{85E30CE7-A23C-4560-A2C6-196A8804B3F9}"/>
          </ac:spMkLst>
        </pc:spChg>
        <pc:spChg chg="add del mod">
          <ac:chgData name="Kebba Jeng" userId="fe4cc296-ba7d-48a2-8799-89b58d218255" providerId="ADAL" clId="{388EFDEE-447E-42B4-98EF-30C01AB2E8CD}" dt="2022-03-28T18:10:11.828" v="2722"/>
          <ac:spMkLst>
            <pc:docMk/>
            <pc:sldMk cId="1852388011" sldId="2134803542"/>
            <ac:spMk id="216" creationId="{B840A424-D74B-4B2D-964A-84F298688D71}"/>
          </ac:spMkLst>
        </pc:spChg>
        <pc:spChg chg="add del mod">
          <ac:chgData name="Kebba Jeng" userId="fe4cc296-ba7d-48a2-8799-89b58d218255" providerId="ADAL" clId="{388EFDEE-447E-42B4-98EF-30C01AB2E8CD}" dt="2022-03-28T18:10:11.828" v="2722"/>
          <ac:spMkLst>
            <pc:docMk/>
            <pc:sldMk cId="1852388011" sldId="2134803542"/>
            <ac:spMk id="217" creationId="{218459A2-6C15-4CB1-AAE1-9DF063D14C2A}"/>
          </ac:spMkLst>
        </pc:spChg>
        <pc:spChg chg="add del mod">
          <ac:chgData name="Kebba Jeng" userId="fe4cc296-ba7d-48a2-8799-89b58d218255" providerId="ADAL" clId="{388EFDEE-447E-42B4-98EF-30C01AB2E8CD}" dt="2022-03-28T18:10:11.828" v="2722"/>
          <ac:spMkLst>
            <pc:docMk/>
            <pc:sldMk cId="1852388011" sldId="2134803542"/>
            <ac:spMk id="218" creationId="{B859C9B6-09C7-4B27-85D7-37FBCACA6914}"/>
          </ac:spMkLst>
        </pc:spChg>
        <pc:spChg chg="add del mod">
          <ac:chgData name="Kebba Jeng" userId="fe4cc296-ba7d-48a2-8799-89b58d218255" providerId="ADAL" clId="{388EFDEE-447E-42B4-98EF-30C01AB2E8CD}" dt="2022-03-28T18:10:11.828" v="2722"/>
          <ac:spMkLst>
            <pc:docMk/>
            <pc:sldMk cId="1852388011" sldId="2134803542"/>
            <ac:spMk id="219" creationId="{8D52F8D9-055A-432C-AE81-72DEF91C4F4F}"/>
          </ac:spMkLst>
        </pc:spChg>
        <pc:spChg chg="add del mod">
          <ac:chgData name="Kebba Jeng" userId="fe4cc296-ba7d-48a2-8799-89b58d218255" providerId="ADAL" clId="{388EFDEE-447E-42B4-98EF-30C01AB2E8CD}" dt="2022-03-28T18:10:11.828" v="2722"/>
          <ac:spMkLst>
            <pc:docMk/>
            <pc:sldMk cId="1852388011" sldId="2134803542"/>
            <ac:spMk id="220" creationId="{2E522A4F-AC85-4223-8173-C19AFD72C987}"/>
          </ac:spMkLst>
        </pc:spChg>
        <pc:spChg chg="add del mod">
          <ac:chgData name="Kebba Jeng" userId="fe4cc296-ba7d-48a2-8799-89b58d218255" providerId="ADAL" clId="{388EFDEE-447E-42B4-98EF-30C01AB2E8CD}" dt="2022-03-28T18:10:11.828" v="2722"/>
          <ac:spMkLst>
            <pc:docMk/>
            <pc:sldMk cId="1852388011" sldId="2134803542"/>
            <ac:spMk id="221" creationId="{8F89446B-4A87-46BF-AA88-4131C2AAFA2A}"/>
          </ac:spMkLst>
        </pc:spChg>
        <pc:spChg chg="add del mod">
          <ac:chgData name="Kebba Jeng" userId="fe4cc296-ba7d-48a2-8799-89b58d218255" providerId="ADAL" clId="{388EFDEE-447E-42B4-98EF-30C01AB2E8CD}" dt="2022-03-28T18:10:11.828" v="2722"/>
          <ac:spMkLst>
            <pc:docMk/>
            <pc:sldMk cId="1852388011" sldId="2134803542"/>
            <ac:spMk id="222" creationId="{5CF89C5B-C0CA-4A8F-861B-D9DCFD9A430F}"/>
          </ac:spMkLst>
        </pc:spChg>
        <pc:spChg chg="add del mod">
          <ac:chgData name="Kebba Jeng" userId="fe4cc296-ba7d-48a2-8799-89b58d218255" providerId="ADAL" clId="{388EFDEE-447E-42B4-98EF-30C01AB2E8CD}" dt="2022-03-28T18:10:11.828" v="2722"/>
          <ac:spMkLst>
            <pc:docMk/>
            <pc:sldMk cId="1852388011" sldId="2134803542"/>
            <ac:spMk id="223" creationId="{E135F72A-0449-48B2-A7C2-54FFE21C1B68}"/>
          </ac:spMkLst>
        </pc:spChg>
        <pc:spChg chg="add del mod">
          <ac:chgData name="Kebba Jeng" userId="fe4cc296-ba7d-48a2-8799-89b58d218255" providerId="ADAL" clId="{388EFDEE-447E-42B4-98EF-30C01AB2E8CD}" dt="2022-03-28T18:10:11.828" v="2722"/>
          <ac:spMkLst>
            <pc:docMk/>
            <pc:sldMk cId="1852388011" sldId="2134803542"/>
            <ac:spMk id="224" creationId="{EDCA0AC2-CE47-47AB-A2E2-33B824B31214}"/>
          </ac:spMkLst>
        </pc:spChg>
        <pc:spChg chg="add del mod">
          <ac:chgData name="Kebba Jeng" userId="fe4cc296-ba7d-48a2-8799-89b58d218255" providerId="ADAL" clId="{388EFDEE-447E-42B4-98EF-30C01AB2E8CD}" dt="2022-03-28T18:10:11.828" v="2722"/>
          <ac:spMkLst>
            <pc:docMk/>
            <pc:sldMk cId="1852388011" sldId="2134803542"/>
            <ac:spMk id="225" creationId="{C1AAF4A4-04DD-4632-81A0-4CE00CDA39D9}"/>
          </ac:spMkLst>
        </pc:spChg>
        <pc:spChg chg="add del mod">
          <ac:chgData name="Kebba Jeng" userId="fe4cc296-ba7d-48a2-8799-89b58d218255" providerId="ADAL" clId="{388EFDEE-447E-42B4-98EF-30C01AB2E8CD}" dt="2022-03-28T18:10:11.828" v="2722"/>
          <ac:spMkLst>
            <pc:docMk/>
            <pc:sldMk cId="1852388011" sldId="2134803542"/>
            <ac:spMk id="226" creationId="{F776E30B-E2D0-4DB7-B5C1-93B04F6C75DC}"/>
          </ac:spMkLst>
        </pc:spChg>
        <pc:spChg chg="add del mod">
          <ac:chgData name="Kebba Jeng" userId="fe4cc296-ba7d-48a2-8799-89b58d218255" providerId="ADAL" clId="{388EFDEE-447E-42B4-98EF-30C01AB2E8CD}" dt="2022-03-28T18:10:11.828" v="2722"/>
          <ac:spMkLst>
            <pc:docMk/>
            <pc:sldMk cId="1852388011" sldId="2134803542"/>
            <ac:spMk id="227" creationId="{F8A17852-C7BA-407B-A1FB-34D4043E6FC5}"/>
          </ac:spMkLst>
        </pc:spChg>
        <pc:spChg chg="add del mod">
          <ac:chgData name="Kebba Jeng" userId="fe4cc296-ba7d-48a2-8799-89b58d218255" providerId="ADAL" clId="{388EFDEE-447E-42B4-98EF-30C01AB2E8CD}" dt="2022-03-28T18:10:11.828" v="2722"/>
          <ac:spMkLst>
            <pc:docMk/>
            <pc:sldMk cId="1852388011" sldId="2134803542"/>
            <ac:spMk id="228" creationId="{98054C92-C177-41BC-8C72-B7911EFF0C36}"/>
          </ac:spMkLst>
        </pc:spChg>
        <pc:spChg chg="add del mod">
          <ac:chgData name="Kebba Jeng" userId="fe4cc296-ba7d-48a2-8799-89b58d218255" providerId="ADAL" clId="{388EFDEE-447E-42B4-98EF-30C01AB2E8CD}" dt="2022-03-28T18:10:11.828" v="2722"/>
          <ac:spMkLst>
            <pc:docMk/>
            <pc:sldMk cId="1852388011" sldId="2134803542"/>
            <ac:spMk id="229" creationId="{F759DE40-2ADB-46E3-A39C-E651A26411DC}"/>
          </ac:spMkLst>
        </pc:spChg>
        <pc:spChg chg="add del mod">
          <ac:chgData name="Kebba Jeng" userId="fe4cc296-ba7d-48a2-8799-89b58d218255" providerId="ADAL" clId="{388EFDEE-447E-42B4-98EF-30C01AB2E8CD}" dt="2022-03-28T18:10:11.828" v="2722"/>
          <ac:spMkLst>
            <pc:docMk/>
            <pc:sldMk cId="1852388011" sldId="2134803542"/>
            <ac:spMk id="230" creationId="{B4B86C61-3549-4FBD-8E6B-D75474B14BB5}"/>
          </ac:spMkLst>
        </pc:spChg>
        <pc:spChg chg="add del mod">
          <ac:chgData name="Kebba Jeng" userId="fe4cc296-ba7d-48a2-8799-89b58d218255" providerId="ADAL" clId="{388EFDEE-447E-42B4-98EF-30C01AB2E8CD}" dt="2022-03-28T18:10:11.828" v="2722"/>
          <ac:spMkLst>
            <pc:docMk/>
            <pc:sldMk cId="1852388011" sldId="2134803542"/>
            <ac:spMk id="231" creationId="{8E03F910-61FD-4AD7-B8F6-59B9AA704A27}"/>
          </ac:spMkLst>
        </pc:spChg>
        <pc:spChg chg="add del mod">
          <ac:chgData name="Kebba Jeng" userId="fe4cc296-ba7d-48a2-8799-89b58d218255" providerId="ADAL" clId="{388EFDEE-447E-42B4-98EF-30C01AB2E8CD}" dt="2022-03-28T18:10:11.828" v="2722"/>
          <ac:spMkLst>
            <pc:docMk/>
            <pc:sldMk cId="1852388011" sldId="2134803542"/>
            <ac:spMk id="232" creationId="{74202439-B62F-44B1-8C5D-8003FBF7C0A2}"/>
          </ac:spMkLst>
        </pc:spChg>
        <pc:spChg chg="add del mod">
          <ac:chgData name="Kebba Jeng" userId="fe4cc296-ba7d-48a2-8799-89b58d218255" providerId="ADAL" clId="{388EFDEE-447E-42B4-98EF-30C01AB2E8CD}" dt="2022-03-28T18:10:11.828" v="2722"/>
          <ac:spMkLst>
            <pc:docMk/>
            <pc:sldMk cId="1852388011" sldId="2134803542"/>
            <ac:spMk id="233" creationId="{B4E866B3-7FD7-474C-B951-0328CC668EB7}"/>
          </ac:spMkLst>
        </pc:spChg>
        <pc:spChg chg="add del mod">
          <ac:chgData name="Kebba Jeng" userId="fe4cc296-ba7d-48a2-8799-89b58d218255" providerId="ADAL" clId="{388EFDEE-447E-42B4-98EF-30C01AB2E8CD}" dt="2022-03-28T18:10:11.828" v="2722"/>
          <ac:spMkLst>
            <pc:docMk/>
            <pc:sldMk cId="1852388011" sldId="2134803542"/>
            <ac:spMk id="234" creationId="{8B494A6D-2769-4D04-89E7-AE501DEB7E68}"/>
          </ac:spMkLst>
        </pc:spChg>
        <pc:spChg chg="add del mod">
          <ac:chgData name="Kebba Jeng" userId="fe4cc296-ba7d-48a2-8799-89b58d218255" providerId="ADAL" clId="{388EFDEE-447E-42B4-98EF-30C01AB2E8CD}" dt="2022-03-28T18:10:11.828" v="2722"/>
          <ac:spMkLst>
            <pc:docMk/>
            <pc:sldMk cId="1852388011" sldId="2134803542"/>
            <ac:spMk id="235" creationId="{0714504B-BFAC-418B-A838-F6BEDBB714DA}"/>
          </ac:spMkLst>
        </pc:spChg>
        <pc:spChg chg="add del mod">
          <ac:chgData name="Kebba Jeng" userId="fe4cc296-ba7d-48a2-8799-89b58d218255" providerId="ADAL" clId="{388EFDEE-447E-42B4-98EF-30C01AB2E8CD}" dt="2022-03-28T18:10:11.828" v="2722"/>
          <ac:spMkLst>
            <pc:docMk/>
            <pc:sldMk cId="1852388011" sldId="2134803542"/>
            <ac:spMk id="236" creationId="{CBFE5EFC-E394-4637-93A5-2BAA32CED240}"/>
          </ac:spMkLst>
        </pc:spChg>
        <pc:spChg chg="add del mod">
          <ac:chgData name="Kebba Jeng" userId="fe4cc296-ba7d-48a2-8799-89b58d218255" providerId="ADAL" clId="{388EFDEE-447E-42B4-98EF-30C01AB2E8CD}" dt="2022-03-28T18:10:11.828" v="2722"/>
          <ac:spMkLst>
            <pc:docMk/>
            <pc:sldMk cId="1852388011" sldId="2134803542"/>
            <ac:spMk id="237" creationId="{BB793C98-E35C-4046-8983-3AD2CED87A61}"/>
          </ac:spMkLst>
        </pc:spChg>
        <pc:spChg chg="add del mod">
          <ac:chgData name="Kebba Jeng" userId="fe4cc296-ba7d-48a2-8799-89b58d218255" providerId="ADAL" clId="{388EFDEE-447E-42B4-98EF-30C01AB2E8CD}" dt="2022-03-28T18:10:11.828" v="2722"/>
          <ac:spMkLst>
            <pc:docMk/>
            <pc:sldMk cId="1852388011" sldId="2134803542"/>
            <ac:spMk id="238" creationId="{4A51430A-5A09-4C73-8FCC-05F1DBBA3B94}"/>
          </ac:spMkLst>
        </pc:spChg>
        <pc:spChg chg="add del mod">
          <ac:chgData name="Kebba Jeng" userId="fe4cc296-ba7d-48a2-8799-89b58d218255" providerId="ADAL" clId="{388EFDEE-447E-42B4-98EF-30C01AB2E8CD}" dt="2022-03-28T18:10:11.828" v="2722"/>
          <ac:spMkLst>
            <pc:docMk/>
            <pc:sldMk cId="1852388011" sldId="2134803542"/>
            <ac:spMk id="239" creationId="{0C6520F3-6241-4971-A485-E7E95EFBFE79}"/>
          </ac:spMkLst>
        </pc:spChg>
        <pc:spChg chg="add del mod">
          <ac:chgData name="Kebba Jeng" userId="fe4cc296-ba7d-48a2-8799-89b58d218255" providerId="ADAL" clId="{388EFDEE-447E-42B4-98EF-30C01AB2E8CD}" dt="2022-03-28T18:10:11.828" v="2722"/>
          <ac:spMkLst>
            <pc:docMk/>
            <pc:sldMk cId="1852388011" sldId="2134803542"/>
            <ac:spMk id="240" creationId="{51DB43FB-9CFB-4745-A61A-919164364967}"/>
          </ac:spMkLst>
        </pc:spChg>
        <pc:spChg chg="add del mod">
          <ac:chgData name="Kebba Jeng" userId="fe4cc296-ba7d-48a2-8799-89b58d218255" providerId="ADAL" clId="{388EFDEE-447E-42B4-98EF-30C01AB2E8CD}" dt="2022-03-28T18:10:11.828" v="2722"/>
          <ac:spMkLst>
            <pc:docMk/>
            <pc:sldMk cId="1852388011" sldId="2134803542"/>
            <ac:spMk id="241" creationId="{07B2E7D2-E7F5-4A7B-A447-2BD186ABB4F8}"/>
          </ac:spMkLst>
        </pc:spChg>
        <pc:spChg chg="add del mod">
          <ac:chgData name="Kebba Jeng" userId="fe4cc296-ba7d-48a2-8799-89b58d218255" providerId="ADAL" clId="{388EFDEE-447E-42B4-98EF-30C01AB2E8CD}" dt="2022-03-28T18:10:11.828" v="2722"/>
          <ac:spMkLst>
            <pc:docMk/>
            <pc:sldMk cId="1852388011" sldId="2134803542"/>
            <ac:spMk id="242" creationId="{D95269FC-6157-47DE-9022-ED6C6ADD5EDD}"/>
          </ac:spMkLst>
        </pc:spChg>
        <pc:spChg chg="add del mod">
          <ac:chgData name="Kebba Jeng" userId="fe4cc296-ba7d-48a2-8799-89b58d218255" providerId="ADAL" clId="{388EFDEE-447E-42B4-98EF-30C01AB2E8CD}" dt="2022-03-28T18:10:11.828" v="2722"/>
          <ac:spMkLst>
            <pc:docMk/>
            <pc:sldMk cId="1852388011" sldId="2134803542"/>
            <ac:spMk id="243" creationId="{DED73924-4C6F-4040-9EF1-E96A5409F9EC}"/>
          </ac:spMkLst>
        </pc:spChg>
        <pc:spChg chg="add del mod">
          <ac:chgData name="Kebba Jeng" userId="fe4cc296-ba7d-48a2-8799-89b58d218255" providerId="ADAL" clId="{388EFDEE-447E-42B4-98EF-30C01AB2E8CD}" dt="2022-03-28T18:10:11.828" v="2722"/>
          <ac:spMkLst>
            <pc:docMk/>
            <pc:sldMk cId="1852388011" sldId="2134803542"/>
            <ac:spMk id="244" creationId="{6A31F2FE-D925-469F-8068-35059A82F42D}"/>
          </ac:spMkLst>
        </pc:spChg>
        <pc:spChg chg="add del mod">
          <ac:chgData name="Kebba Jeng" userId="fe4cc296-ba7d-48a2-8799-89b58d218255" providerId="ADAL" clId="{388EFDEE-447E-42B4-98EF-30C01AB2E8CD}" dt="2022-03-28T18:10:11.828" v="2722"/>
          <ac:spMkLst>
            <pc:docMk/>
            <pc:sldMk cId="1852388011" sldId="2134803542"/>
            <ac:spMk id="245" creationId="{892D04BB-7A48-4351-A16B-C1E66F1F7410}"/>
          </ac:spMkLst>
        </pc:spChg>
        <pc:spChg chg="add del mod">
          <ac:chgData name="Kebba Jeng" userId="fe4cc296-ba7d-48a2-8799-89b58d218255" providerId="ADAL" clId="{388EFDEE-447E-42B4-98EF-30C01AB2E8CD}" dt="2022-03-28T18:10:11.828" v="2722"/>
          <ac:spMkLst>
            <pc:docMk/>
            <pc:sldMk cId="1852388011" sldId="2134803542"/>
            <ac:spMk id="246" creationId="{84BE01DB-7A93-442B-A3B1-137543D5CC97}"/>
          </ac:spMkLst>
        </pc:spChg>
        <pc:spChg chg="add del mod">
          <ac:chgData name="Kebba Jeng" userId="fe4cc296-ba7d-48a2-8799-89b58d218255" providerId="ADAL" clId="{388EFDEE-447E-42B4-98EF-30C01AB2E8CD}" dt="2022-03-28T18:10:11.828" v="2722"/>
          <ac:spMkLst>
            <pc:docMk/>
            <pc:sldMk cId="1852388011" sldId="2134803542"/>
            <ac:spMk id="247" creationId="{CDCD6A59-F72C-42C2-8B36-AEE891F13B03}"/>
          </ac:spMkLst>
        </pc:spChg>
        <pc:spChg chg="add del mod">
          <ac:chgData name="Kebba Jeng" userId="fe4cc296-ba7d-48a2-8799-89b58d218255" providerId="ADAL" clId="{388EFDEE-447E-42B4-98EF-30C01AB2E8CD}" dt="2022-03-28T18:10:11.828" v="2722"/>
          <ac:spMkLst>
            <pc:docMk/>
            <pc:sldMk cId="1852388011" sldId="2134803542"/>
            <ac:spMk id="248" creationId="{BA9F22B6-B65D-4176-9004-445966C3C7C5}"/>
          </ac:spMkLst>
        </pc:spChg>
        <pc:spChg chg="add del mod">
          <ac:chgData name="Kebba Jeng" userId="fe4cc296-ba7d-48a2-8799-89b58d218255" providerId="ADAL" clId="{388EFDEE-447E-42B4-98EF-30C01AB2E8CD}" dt="2022-03-28T18:10:11.828" v="2722"/>
          <ac:spMkLst>
            <pc:docMk/>
            <pc:sldMk cId="1852388011" sldId="2134803542"/>
            <ac:spMk id="249" creationId="{792D7BCC-023C-4205-BFBA-F76AFCEA4EBF}"/>
          </ac:spMkLst>
        </pc:spChg>
        <pc:spChg chg="add del mod">
          <ac:chgData name="Kebba Jeng" userId="fe4cc296-ba7d-48a2-8799-89b58d218255" providerId="ADAL" clId="{388EFDEE-447E-42B4-98EF-30C01AB2E8CD}" dt="2022-03-28T18:10:11.828" v="2722"/>
          <ac:spMkLst>
            <pc:docMk/>
            <pc:sldMk cId="1852388011" sldId="2134803542"/>
            <ac:spMk id="250" creationId="{B4BDB6CF-18D5-442D-A53B-78DD95680F36}"/>
          </ac:spMkLst>
        </pc:spChg>
        <pc:spChg chg="add del mod">
          <ac:chgData name="Kebba Jeng" userId="fe4cc296-ba7d-48a2-8799-89b58d218255" providerId="ADAL" clId="{388EFDEE-447E-42B4-98EF-30C01AB2E8CD}" dt="2022-03-28T18:10:11.828" v="2722"/>
          <ac:spMkLst>
            <pc:docMk/>
            <pc:sldMk cId="1852388011" sldId="2134803542"/>
            <ac:spMk id="251" creationId="{E4DB5913-48B3-400A-9DAC-246AB710EA0C}"/>
          </ac:spMkLst>
        </pc:spChg>
        <pc:spChg chg="add del mod">
          <ac:chgData name="Kebba Jeng" userId="fe4cc296-ba7d-48a2-8799-89b58d218255" providerId="ADAL" clId="{388EFDEE-447E-42B4-98EF-30C01AB2E8CD}" dt="2022-03-28T18:10:11.828" v="2722"/>
          <ac:spMkLst>
            <pc:docMk/>
            <pc:sldMk cId="1852388011" sldId="2134803542"/>
            <ac:spMk id="252" creationId="{675001A1-A5FD-4A97-9381-915EF84B0164}"/>
          </ac:spMkLst>
        </pc:spChg>
        <pc:spChg chg="add del mod">
          <ac:chgData name="Kebba Jeng" userId="fe4cc296-ba7d-48a2-8799-89b58d218255" providerId="ADAL" clId="{388EFDEE-447E-42B4-98EF-30C01AB2E8CD}" dt="2022-03-28T18:10:11.828" v="2722"/>
          <ac:spMkLst>
            <pc:docMk/>
            <pc:sldMk cId="1852388011" sldId="2134803542"/>
            <ac:spMk id="253" creationId="{78F678F9-606F-45FB-A4A8-C36CC8D16E55}"/>
          </ac:spMkLst>
        </pc:spChg>
        <pc:spChg chg="add del mod">
          <ac:chgData name="Kebba Jeng" userId="fe4cc296-ba7d-48a2-8799-89b58d218255" providerId="ADAL" clId="{388EFDEE-447E-42B4-98EF-30C01AB2E8CD}" dt="2022-03-28T18:10:11.828" v="2722"/>
          <ac:spMkLst>
            <pc:docMk/>
            <pc:sldMk cId="1852388011" sldId="2134803542"/>
            <ac:spMk id="254" creationId="{86BE42A6-5F99-4FF3-B281-4F53246EB9A6}"/>
          </ac:spMkLst>
        </pc:spChg>
        <pc:spChg chg="add del mod">
          <ac:chgData name="Kebba Jeng" userId="fe4cc296-ba7d-48a2-8799-89b58d218255" providerId="ADAL" clId="{388EFDEE-447E-42B4-98EF-30C01AB2E8CD}" dt="2022-03-28T18:10:11.828" v="2722"/>
          <ac:spMkLst>
            <pc:docMk/>
            <pc:sldMk cId="1852388011" sldId="2134803542"/>
            <ac:spMk id="255" creationId="{307BC176-27F6-4D7F-A1C9-935FA5B36744}"/>
          </ac:spMkLst>
        </pc:spChg>
        <pc:spChg chg="add del mod">
          <ac:chgData name="Kebba Jeng" userId="fe4cc296-ba7d-48a2-8799-89b58d218255" providerId="ADAL" clId="{388EFDEE-447E-42B4-98EF-30C01AB2E8CD}" dt="2022-03-28T18:10:11.828" v="2722"/>
          <ac:spMkLst>
            <pc:docMk/>
            <pc:sldMk cId="1852388011" sldId="2134803542"/>
            <ac:spMk id="256" creationId="{E4ACE0AD-86B7-47A0-A18A-150616BE1912}"/>
          </ac:spMkLst>
        </pc:spChg>
        <pc:spChg chg="add del mod">
          <ac:chgData name="Kebba Jeng" userId="fe4cc296-ba7d-48a2-8799-89b58d218255" providerId="ADAL" clId="{388EFDEE-447E-42B4-98EF-30C01AB2E8CD}" dt="2022-03-28T18:10:11.828" v="2722"/>
          <ac:spMkLst>
            <pc:docMk/>
            <pc:sldMk cId="1852388011" sldId="2134803542"/>
            <ac:spMk id="257" creationId="{CE3D3319-52E0-4D02-8749-30163E4610E9}"/>
          </ac:spMkLst>
        </pc:spChg>
        <pc:spChg chg="add del mod">
          <ac:chgData name="Kebba Jeng" userId="fe4cc296-ba7d-48a2-8799-89b58d218255" providerId="ADAL" clId="{388EFDEE-447E-42B4-98EF-30C01AB2E8CD}" dt="2022-03-28T18:10:11.828" v="2722"/>
          <ac:spMkLst>
            <pc:docMk/>
            <pc:sldMk cId="1852388011" sldId="2134803542"/>
            <ac:spMk id="258" creationId="{40663F1E-5D7A-40B0-8750-8BDE63890266}"/>
          </ac:spMkLst>
        </pc:spChg>
        <pc:spChg chg="add del mod">
          <ac:chgData name="Kebba Jeng" userId="fe4cc296-ba7d-48a2-8799-89b58d218255" providerId="ADAL" clId="{388EFDEE-447E-42B4-98EF-30C01AB2E8CD}" dt="2022-03-28T18:10:11.828" v="2722"/>
          <ac:spMkLst>
            <pc:docMk/>
            <pc:sldMk cId="1852388011" sldId="2134803542"/>
            <ac:spMk id="259" creationId="{78E3E889-D902-4611-BFFB-C0990F9BAB92}"/>
          </ac:spMkLst>
        </pc:spChg>
        <pc:spChg chg="add del mod">
          <ac:chgData name="Kebba Jeng" userId="fe4cc296-ba7d-48a2-8799-89b58d218255" providerId="ADAL" clId="{388EFDEE-447E-42B4-98EF-30C01AB2E8CD}" dt="2022-03-28T18:10:11.828" v="2722"/>
          <ac:spMkLst>
            <pc:docMk/>
            <pc:sldMk cId="1852388011" sldId="2134803542"/>
            <ac:spMk id="260" creationId="{2516465E-AFCE-4CEB-B179-34E9235A4EBC}"/>
          </ac:spMkLst>
        </pc:spChg>
        <pc:spChg chg="add del mod">
          <ac:chgData name="Kebba Jeng" userId="fe4cc296-ba7d-48a2-8799-89b58d218255" providerId="ADAL" clId="{388EFDEE-447E-42B4-98EF-30C01AB2E8CD}" dt="2022-03-28T18:10:11.828" v="2722"/>
          <ac:spMkLst>
            <pc:docMk/>
            <pc:sldMk cId="1852388011" sldId="2134803542"/>
            <ac:spMk id="261" creationId="{88EBA344-5D80-4BBE-AE78-A7B126D4A03C}"/>
          </ac:spMkLst>
        </pc:spChg>
        <pc:spChg chg="add del mod">
          <ac:chgData name="Kebba Jeng" userId="fe4cc296-ba7d-48a2-8799-89b58d218255" providerId="ADAL" clId="{388EFDEE-447E-42B4-98EF-30C01AB2E8CD}" dt="2022-03-28T18:10:11.828" v="2722"/>
          <ac:spMkLst>
            <pc:docMk/>
            <pc:sldMk cId="1852388011" sldId="2134803542"/>
            <ac:spMk id="262" creationId="{DA49C777-FE4E-49C3-BC93-4606913A3230}"/>
          </ac:spMkLst>
        </pc:spChg>
        <pc:spChg chg="add del mod">
          <ac:chgData name="Kebba Jeng" userId="fe4cc296-ba7d-48a2-8799-89b58d218255" providerId="ADAL" clId="{388EFDEE-447E-42B4-98EF-30C01AB2E8CD}" dt="2022-03-28T18:10:11.828" v="2722"/>
          <ac:spMkLst>
            <pc:docMk/>
            <pc:sldMk cId="1852388011" sldId="2134803542"/>
            <ac:spMk id="263" creationId="{BAF796BD-621D-4418-817A-774394E67E19}"/>
          </ac:spMkLst>
        </pc:spChg>
        <pc:spChg chg="add del mod">
          <ac:chgData name="Kebba Jeng" userId="fe4cc296-ba7d-48a2-8799-89b58d218255" providerId="ADAL" clId="{388EFDEE-447E-42B4-98EF-30C01AB2E8CD}" dt="2022-03-28T18:10:11.828" v="2722"/>
          <ac:spMkLst>
            <pc:docMk/>
            <pc:sldMk cId="1852388011" sldId="2134803542"/>
            <ac:spMk id="264" creationId="{A704F2B7-028B-4210-AE47-2E379BED638E}"/>
          </ac:spMkLst>
        </pc:spChg>
        <pc:spChg chg="add del mod">
          <ac:chgData name="Kebba Jeng" userId="fe4cc296-ba7d-48a2-8799-89b58d218255" providerId="ADAL" clId="{388EFDEE-447E-42B4-98EF-30C01AB2E8CD}" dt="2022-03-28T18:10:11.828" v="2722"/>
          <ac:spMkLst>
            <pc:docMk/>
            <pc:sldMk cId="1852388011" sldId="2134803542"/>
            <ac:spMk id="265" creationId="{1C6ABED3-CE88-4B82-A1DA-B7159638CE1C}"/>
          </ac:spMkLst>
        </pc:spChg>
        <pc:spChg chg="add del mod">
          <ac:chgData name="Kebba Jeng" userId="fe4cc296-ba7d-48a2-8799-89b58d218255" providerId="ADAL" clId="{388EFDEE-447E-42B4-98EF-30C01AB2E8CD}" dt="2022-03-28T18:10:11.828" v="2722"/>
          <ac:spMkLst>
            <pc:docMk/>
            <pc:sldMk cId="1852388011" sldId="2134803542"/>
            <ac:spMk id="266" creationId="{6681EDBB-DFFF-4D80-942B-68DDF36AC0F1}"/>
          </ac:spMkLst>
        </pc:spChg>
        <pc:spChg chg="add del mod">
          <ac:chgData name="Kebba Jeng" userId="fe4cc296-ba7d-48a2-8799-89b58d218255" providerId="ADAL" clId="{388EFDEE-447E-42B4-98EF-30C01AB2E8CD}" dt="2022-03-28T18:10:11.828" v="2722"/>
          <ac:spMkLst>
            <pc:docMk/>
            <pc:sldMk cId="1852388011" sldId="2134803542"/>
            <ac:spMk id="267" creationId="{FB759544-89FA-48FE-B463-36C1318F1786}"/>
          </ac:spMkLst>
        </pc:spChg>
        <pc:spChg chg="add del mod">
          <ac:chgData name="Kebba Jeng" userId="fe4cc296-ba7d-48a2-8799-89b58d218255" providerId="ADAL" clId="{388EFDEE-447E-42B4-98EF-30C01AB2E8CD}" dt="2022-03-28T18:10:11.828" v="2722"/>
          <ac:spMkLst>
            <pc:docMk/>
            <pc:sldMk cId="1852388011" sldId="2134803542"/>
            <ac:spMk id="268" creationId="{B8010240-A307-4660-99EB-94D7E03A2572}"/>
          </ac:spMkLst>
        </pc:spChg>
        <pc:spChg chg="add del mod">
          <ac:chgData name="Kebba Jeng" userId="fe4cc296-ba7d-48a2-8799-89b58d218255" providerId="ADAL" clId="{388EFDEE-447E-42B4-98EF-30C01AB2E8CD}" dt="2022-03-28T18:10:11.828" v="2722"/>
          <ac:spMkLst>
            <pc:docMk/>
            <pc:sldMk cId="1852388011" sldId="2134803542"/>
            <ac:spMk id="269" creationId="{DF2C68F8-07A2-4DB9-A69B-29EFBDDF6508}"/>
          </ac:spMkLst>
        </pc:spChg>
        <pc:spChg chg="add del mod">
          <ac:chgData name="Kebba Jeng" userId="fe4cc296-ba7d-48a2-8799-89b58d218255" providerId="ADAL" clId="{388EFDEE-447E-42B4-98EF-30C01AB2E8CD}" dt="2022-03-28T18:10:11.828" v="2722"/>
          <ac:spMkLst>
            <pc:docMk/>
            <pc:sldMk cId="1852388011" sldId="2134803542"/>
            <ac:spMk id="270" creationId="{DC542283-8AD5-4C41-8837-AF7A39C702C3}"/>
          </ac:spMkLst>
        </pc:spChg>
        <pc:spChg chg="add del mod">
          <ac:chgData name="Kebba Jeng" userId="fe4cc296-ba7d-48a2-8799-89b58d218255" providerId="ADAL" clId="{388EFDEE-447E-42B4-98EF-30C01AB2E8CD}" dt="2022-03-28T18:10:11.828" v="2722"/>
          <ac:spMkLst>
            <pc:docMk/>
            <pc:sldMk cId="1852388011" sldId="2134803542"/>
            <ac:spMk id="271" creationId="{9EA654D4-160F-4E54-80D5-008F74A63364}"/>
          </ac:spMkLst>
        </pc:spChg>
        <pc:spChg chg="add del mod">
          <ac:chgData name="Kebba Jeng" userId="fe4cc296-ba7d-48a2-8799-89b58d218255" providerId="ADAL" clId="{388EFDEE-447E-42B4-98EF-30C01AB2E8CD}" dt="2022-03-28T18:10:11.828" v="2722"/>
          <ac:spMkLst>
            <pc:docMk/>
            <pc:sldMk cId="1852388011" sldId="2134803542"/>
            <ac:spMk id="272" creationId="{3C3C65FE-4AD0-4588-912D-610707630B41}"/>
          </ac:spMkLst>
        </pc:spChg>
        <pc:spChg chg="add del mod">
          <ac:chgData name="Kebba Jeng" userId="fe4cc296-ba7d-48a2-8799-89b58d218255" providerId="ADAL" clId="{388EFDEE-447E-42B4-98EF-30C01AB2E8CD}" dt="2022-03-28T18:10:11.828" v="2722"/>
          <ac:spMkLst>
            <pc:docMk/>
            <pc:sldMk cId="1852388011" sldId="2134803542"/>
            <ac:spMk id="273" creationId="{ADC9D2A8-1164-446B-981E-B9EC07F65DB0}"/>
          </ac:spMkLst>
        </pc:spChg>
        <pc:spChg chg="add del mod">
          <ac:chgData name="Kebba Jeng" userId="fe4cc296-ba7d-48a2-8799-89b58d218255" providerId="ADAL" clId="{388EFDEE-447E-42B4-98EF-30C01AB2E8CD}" dt="2022-03-28T18:10:11.828" v="2722"/>
          <ac:spMkLst>
            <pc:docMk/>
            <pc:sldMk cId="1852388011" sldId="2134803542"/>
            <ac:spMk id="274" creationId="{F825C608-353A-4B82-B918-03088FB7633D}"/>
          </ac:spMkLst>
        </pc:spChg>
        <pc:spChg chg="add del mod">
          <ac:chgData name="Kebba Jeng" userId="fe4cc296-ba7d-48a2-8799-89b58d218255" providerId="ADAL" clId="{388EFDEE-447E-42B4-98EF-30C01AB2E8CD}" dt="2022-03-28T18:10:11.828" v="2722"/>
          <ac:spMkLst>
            <pc:docMk/>
            <pc:sldMk cId="1852388011" sldId="2134803542"/>
            <ac:spMk id="275" creationId="{F43A120E-9548-4009-B473-48DA133E218F}"/>
          </ac:spMkLst>
        </pc:spChg>
        <pc:spChg chg="add del mod">
          <ac:chgData name="Kebba Jeng" userId="fe4cc296-ba7d-48a2-8799-89b58d218255" providerId="ADAL" clId="{388EFDEE-447E-42B4-98EF-30C01AB2E8CD}" dt="2022-03-28T18:10:11.828" v="2722"/>
          <ac:spMkLst>
            <pc:docMk/>
            <pc:sldMk cId="1852388011" sldId="2134803542"/>
            <ac:spMk id="276" creationId="{95A66975-1A3B-4A05-AC8F-8CFEE8E053EF}"/>
          </ac:spMkLst>
        </pc:spChg>
        <pc:spChg chg="add del mod">
          <ac:chgData name="Kebba Jeng" userId="fe4cc296-ba7d-48a2-8799-89b58d218255" providerId="ADAL" clId="{388EFDEE-447E-42B4-98EF-30C01AB2E8CD}" dt="2022-03-28T18:10:11.828" v="2722"/>
          <ac:spMkLst>
            <pc:docMk/>
            <pc:sldMk cId="1852388011" sldId="2134803542"/>
            <ac:spMk id="277" creationId="{7442234E-B520-41D3-A18F-6ADE68FA3DE6}"/>
          </ac:spMkLst>
        </pc:spChg>
        <pc:spChg chg="add del mod">
          <ac:chgData name="Kebba Jeng" userId="fe4cc296-ba7d-48a2-8799-89b58d218255" providerId="ADAL" clId="{388EFDEE-447E-42B4-98EF-30C01AB2E8CD}" dt="2022-03-28T18:10:11.828" v="2722"/>
          <ac:spMkLst>
            <pc:docMk/>
            <pc:sldMk cId="1852388011" sldId="2134803542"/>
            <ac:spMk id="278" creationId="{8D34DA37-7CEE-4E24-8A67-DB2B575AA710}"/>
          </ac:spMkLst>
        </pc:spChg>
        <pc:spChg chg="add del mod">
          <ac:chgData name="Kebba Jeng" userId="fe4cc296-ba7d-48a2-8799-89b58d218255" providerId="ADAL" clId="{388EFDEE-447E-42B4-98EF-30C01AB2E8CD}" dt="2022-03-28T18:10:11.828" v="2722"/>
          <ac:spMkLst>
            <pc:docMk/>
            <pc:sldMk cId="1852388011" sldId="2134803542"/>
            <ac:spMk id="279" creationId="{71C31F36-476D-4293-A7C7-1F78968F490F}"/>
          </ac:spMkLst>
        </pc:spChg>
        <pc:spChg chg="add del mod">
          <ac:chgData name="Kebba Jeng" userId="fe4cc296-ba7d-48a2-8799-89b58d218255" providerId="ADAL" clId="{388EFDEE-447E-42B4-98EF-30C01AB2E8CD}" dt="2022-03-28T18:10:11.828" v="2722"/>
          <ac:spMkLst>
            <pc:docMk/>
            <pc:sldMk cId="1852388011" sldId="2134803542"/>
            <ac:spMk id="280" creationId="{68D51913-1A7A-40FF-8FAC-E7AAD392312C}"/>
          </ac:spMkLst>
        </pc:spChg>
        <pc:spChg chg="add del mod">
          <ac:chgData name="Kebba Jeng" userId="fe4cc296-ba7d-48a2-8799-89b58d218255" providerId="ADAL" clId="{388EFDEE-447E-42B4-98EF-30C01AB2E8CD}" dt="2022-03-28T18:10:11.828" v="2722"/>
          <ac:spMkLst>
            <pc:docMk/>
            <pc:sldMk cId="1852388011" sldId="2134803542"/>
            <ac:spMk id="281" creationId="{901C6C37-D882-4C0F-8F24-A2703B13032C}"/>
          </ac:spMkLst>
        </pc:spChg>
        <pc:spChg chg="add del mod">
          <ac:chgData name="Kebba Jeng" userId="fe4cc296-ba7d-48a2-8799-89b58d218255" providerId="ADAL" clId="{388EFDEE-447E-42B4-98EF-30C01AB2E8CD}" dt="2022-03-28T18:10:11.828" v="2722"/>
          <ac:spMkLst>
            <pc:docMk/>
            <pc:sldMk cId="1852388011" sldId="2134803542"/>
            <ac:spMk id="282" creationId="{175D795E-4C93-4DD3-BB39-AEA3E0B86E24}"/>
          </ac:spMkLst>
        </pc:spChg>
        <pc:spChg chg="add del mod">
          <ac:chgData name="Kebba Jeng" userId="fe4cc296-ba7d-48a2-8799-89b58d218255" providerId="ADAL" clId="{388EFDEE-447E-42B4-98EF-30C01AB2E8CD}" dt="2022-03-28T18:10:11.828" v="2722"/>
          <ac:spMkLst>
            <pc:docMk/>
            <pc:sldMk cId="1852388011" sldId="2134803542"/>
            <ac:spMk id="283" creationId="{6FD67C61-13BA-47B0-BCB8-19715801CCA8}"/>
          </ac:spMkLst>
        </pc:spChg>
        <pc:spChg chg="add del mod">
          <ac:chgData name="Kebba Jeng" userId="fe4cc296-ba7d-48a2-8799-89b58d218255" providerId="ADAL" clId="{388EFDEE-447E-42B4-98EF-30C01AB2E8CD}" dt="2022-03-28T18:10:11.828" v="2722"/>
          <ac:spMkLst>
            <pc:docMk/>
            <pc:sldMk cId="1852388011" sldId="2134803542"/>
            <ac:spMk id="284" creationId="{1B73E0CA-C4C3-4273-B905-CBD8D76E2BBE}"/>
          </ac:spMkLst>
        </pc:spChg>
        <pc:spChg chg="add del mod">
          <ac:chgData name="Kebba Jeng" userId="fe4cc296-ba7d-48a2-8799-89b58d218255" providerId="ADAL" clId="{388EFDEE-447E-42B4-98EF-30C01AB2E8CD}" dt="2022-03-28T18:10:11.828" v="2722"/>
          <ac:spMkLst>
            <pc:docMk/>
            <pc:sldMk cId="1852388011" sldId="2134803542"/>
            <ac:spMk id="285" creationId="{1C9E6547-6805-4602-8430-57F7F6BA19C2}"/>
          </ac:spMkLst>
        </pc:spChg>
        <pc:spChg chg="add del mod">
          <ac:chgData name="Kebba Jeng" userId="fe4cc296-ba7d-48a2-8799-89b58d218255" providerId="ADAL" clId="{388EFDEE-447E-42B4-98EF-30C01AB2E8CD}" dt="2022-03-28T18:10:11.828" v="2722"/>
          <ac:spMkLst>
            <pc:docMk/>
            <pc:sldMk cId="1852388011" sldId="2134803542"/>
            <ac:spMk id="286" creationId="{1A9356BD-05ED-424B-A2FD-DE489DB70FC2}"/>
          </ac:spMkLst>
        </pc:spChg>
        <pc:spChg chg="add del mod">
          <ac:chgData name="Kebba Jeng" userId="fe4cc296-ba7d-48a2-8799-89b58d218255" providerId="ADAL" clId="{388EFDEE-447E-42B4-98EF-30C01AB2E8CD}" dt="2022-03-28T18:10:11.828" v="2722"/>
          <ac:spMkLst>
            <pc:docMk/>
            <pc:sldMk cId="1852388011" sldId="2134803542"/>
            <ac:spMk id="287" creationId="{03E298D3-9F8C-4FCC-A7AA-0683899D8987}"/>
          </ac:spMkLst>
        </pc:spChg>
        <pc:spChg chg="add del mod">
          <ac:chgData name="Kebba Jeng" userId="fe4cc296-ba7d-48a2-8799-89b58d218255" providerId="ADAL" clId="{388EFDEE-447E-42B4-98EF-30C01AB2E8CD}" dt="2022-03-28T18:10:11.828" v="2722"/>
          <ac:spMkLst>
            <pc:docMk/>
            <pc:sldMk cId="1852388011" sldId="2134803542"/>
            <ac:spMk id="288" creationId="{E248B4C6-0CEE-48A5-9A23-8A6D128F6210}"/>
          </ac:spMkLst>
        </pc:spChg>
        <pc:spChg chg="add del mod">
          <ac:chgData name="Kebba Jeng" userId="fe4cc296-ba7d-48a2-8799-89b58d218255" providerId="ADAL" clId="{388EFDEE-447E-42B4-98EF-30C01AB2E8CD}" dt="2022-03-28T18:10:11.828" v="2722"/>
          <ac:spMkLst>
            <pc:docMk/>
            <pc:sldMk cId="1852388011" sldId="2134803542"/>
            <ac:spMk id="289" creationId="{50014194-60A3-4D44-9F55-E1301A0D5CE2}"/>
          </ac:spMkLst>
        </pc:spChg>
        <pc:spChg chg="add del mod">
          <ac:chgData name="Kebba Jeng" userId="fe4cc296-ba7d-48a2-8799-89b58d218255" providerId="ADAL" clId="{388EFDEE-447E-42B4-98EF-30C01AB2E8CD}" dt="2022-03-28T18:10:11.828" v="2722"/>
          <ac:spMkLst>
            <pc:docMk/>
            <pc:sldMk cId="1852388011" sldId="2134803542"/>
            <ac:spMk id="290" creationId="{29DF8623-807A-4088-B9F7-A1A834F3366F}"/>
          </ac:spMkLst>
        </pc:spChg>
        <pc:spChg chg="add del mod">
          <ac:chgData name="Kebba Jeng" userId="fe4cc296-ba7d-48a2-8799-89b58d218255" providerId="ADAL" clId="{388EFDEE-447E-42B4-98EF-30C01AB2E8CD}" dt="2022-03-28T18:10:11.828" v="2722"/>
          <ac:spMkLst>
            <pc:docMk/>
            <pc:sldMk cId="1852388011" sldId="2134803542"/>
            <ac:spMk id="291" creationId="{7F74A595-4AE5-4DCB-A129-BD5AF36403D3}"/>
          </ac:spMkLst>
        </pc:spChg>
        <pc:spChg chg="add del mod">
          <ac:chgData name="Kebba Jeng" userId="fe4cc296-ba7d-48a2-8799-89b58d218255" providerId="ADAL" clId="{388EFDEE-447E-42B4-98EF-30C01AB2E8CD}" dt="2022-03-28T18:10:11.828" v="2722"/>
          <ac:spMkLst>
            <pc:docMk/>
            <pc:sldMk cId="1852388011" sldId="2134803542"/>
            <ac:spMk id="292" creationId="{9B9090FC-CEBA-4611-AC27-56AFCADD7341}"/>
          </ac:spMkLst>
        </pc:spChg>
        <pc:spChg chg="add del mod">
          <ac:chgData name="Kebba Jeng" userId="fe4cc296-ba7d-48a2-8799-89b58d218255" providerId="ADAL" clId="{388EFDEE-447E-42B4-98EF-30C01AB2E8CD}" dt="2022-03-28T18:10:11.828" v="2722"/>
          <ac:spMkLst>
            <pc:docMk/>
            <pc:sldMk cId="1852388011" sldId="2134803542"/>
            <ac:spMk id="293" creationId="{D8ED5686-47AA-413A-AF29-F2660E7CA685}"/>
          </ac:spMkLst>
        </pc:spChg>
        <pc:spChg chg="add del mod">
          <ac:chgData name="Kebba Jeng" userId="fe4cc296-ba7d-48a2-8799-89b58d218255" providerId="ADAL" clId="{388EFDEE-447E-42B4-98EF-30C01AB2E8CD}" dt="2022-03-28T18:10:11.828" v="2722"/>
          <ac:spMkLst>
            <pc:docMk/>
            <pc:sldMk cId="1852388011" sldId="2134803542"/>
            <ac:spMk id="294" creationId="{2389DF77-49F4-42A2-9679-C5552F74D797}"/>
          </ac:spMkLst>
        </pc:spChg>
        <pc:spChg chg="add del mod">
          <ac:chgData name="Kebba Jeng" userId="fe4cc296-ba7d-48a2-8799-89b58d218255" providerId="ADAL" clId="{388EFDEE-447E-42B4-98EF-30C01AB2E8CD}" dt="2022-03-28T18:10:11.828" v="2722"/>
          <ac:spMkLst>
            <pc:docMk/>
            <pc:sldMk cId="1852388011" sldId="2134803542"/>
            <ac:spMk id="295" creationId="{87510AAA-6E7D-4B92-A21E-4FF37A21BB37}"/>
          </ac:spMkLst>
        </pc:spChg>
        <pc:spChg chg="add del mod">
          <ac:chgData name="Kebba Jeng" userId="fe4cc296-ba7d-48a2-8799-89b58d218255" providerId="ADAL" clId="{388EFDEE-447E-42B4-98EF-30C01AB2E8CD}" dt="2022-03-28T18:10:11.828" v="2722"/>
          <ac:spMkLst>
            <pc:docMk/>
            <pc:sldMk cId="1852388011" sldId="2134803542"/>
            <ac:spMk id="296" creationId="{3ED506C6-FE3B-4B36-8719-705C860D4703}"/>
          </ac:spMkLst>
        </pc:spChg>
        <pc:spChg chg="add del mod">
          <ac:chgData name="Kebba Jeng" userId="fe4cc296-ba7d-48a2-8799-89b58d218255" providerId="ADAL" clId="{388EFDEE-447E-42B4-98EF-30C01AB2E8CD}" dt="2022-03-28T18:10:11.828" v="2722"/>
          <ac:spMkLst>
            <pc:docMk/>
            <pc:sldMk cId="1852388011" sldId="2134803542"/>
            <ac:spMk id="297" creationId="{51B746F8-F7C8-4A7E-9C96-0956CA72035F}"/>
          </ac:spMkLst>
        </pc:spChg>
        <pc:spChg chg="add del mod">
          <ac:chgData name="Kebba Jeng" userId="fe4cc296-ba7d-48a2-8799-89b58d218255" providerId="ADAL" clId="{388EFDEE-447E-42B4-98EF-30C01AB2E8CD}" dt="2022-03-28T18:10:11.828" v="2722"/>
          <ac:spMkLst>
            <pc:docMk/>
            <pc:sldMk cId="1852388011" sldId="2134803542"/>
            <ac:spMk id="298" creationId="{88E69619-940B-4570-96A4-08A668A403C2}"/>
          </ac:spMkLst>
        </pc:spChg>
        <pc:spChg chg="add del mod">
          <ac:chgData name="Kebba Jeng" userId="fe4cc296-ba7d-48a2-8799-89b58d218255" providerId="ADAL" clId="{388EFDEE-447E-42B4-98EF-30C01AB2E8CD}" dt="2022-03-28T18:10:11.828" v="2722"/>
          <ac:spMkLst>
            <pc:docMk/>
            <pc:sldMk cId="1852388011" sldId="2134803542"/>
            <ac:spMk id="299" creationId="{B3844761-E69A-475C-84A6-A7C3429CFDA6}"/>
          </ac:spMkLst>
        </pc:spChg>
        <pc:spChg chg="add del mod">
          <ac:chgData name="Kebba Jeng" userId="fe4cc296-ba7d-48a2-8799-89b58d218255" providerId="ADAL" clId="{388EFDEE-447E-42B4-98EF-30C01AB2E8CD}" dt="2022-03-28T18:10:11.828" v="2722"/>
          <ac:spMkLst>
            <pc:docMk/>
            <pc:sldMk cId="1852388011" sldId="2134803542"/>
            <ac:spMk id="300" creationId="{C62BB956-C1DC-4A7A-81E9-72BFDC53FB4A}"/>
          </ac:spMkLst>
        </pc:spChg>
        <pc:spChg chg="add del mod">
          <ac:chgData name="Kebba Jeng" userId="fe4cc296-ba7d-48a2-8799-89b58d218255" providerId="ADAL" clId="{388EFDEE-447E-42B4-98EF-30C01AB2E8CD}" dt="2022-03-28T18:10:11.828" v="2722"/>
          <ac:spMkLst>
            <pc:docMk/>
            <pc:sldMk cId="1852388011" sldId="2134803542"/>
            <ac:spMk id="301" creationId="{58DCBE16-BCA2-49E5-A0ED-A8D2D561E894}"/>
          </ac:spMkLst>
        </pc:spChg>
        <pc:spChg chg="add del mod">
          <ac:chgData name="Kebba Jeng" userId="fe4cc296-ba7d-48a2-8799-89b58d218255" providerId="ADAL" clId="{388EFDEE-447E-42B4-98EF-30C01AB2E8CD}" dt="2022-03-28T18:10:11.828" v="2722"/>
          <ac:spMkLst>
            <pc:docMk/>
            <pc:sldMk cId="1852388011" sldId="2134803542"/>
            <ac:spMk id="302" creationId="{74AE4F92-65BE-4F8F-AB37-F0354A27B455}"/>
          </ac:spMkLst>
        </pc:spChg>
        <pc:spChg chg="add del mod">
          <ac:chgData name="Kebba Jeng" userId="fe4cc296-ba7d-48a2-8799-89b58d218255" providerId="ADAL" clId="{388EFDEE-447E-42B4-98EF-30C01AB2E8CD}" dt="2022-03-28T18:10:11.828" v="2722"/>
          <ac:spMkLst>
            <pc:docMk/>
            <pc:sldMk cId="1852388011" sldId="2134803542"/>
            <ac:spMk id="303" creationId="{D27494D3-6C95-4852-BFFD-297C3122DE1F}"/>
          </ac:spMkLst>
        </pc:spChg>
        <pc:spChg chg="add del mod">
          <ac:chgData name="Kebba Jeng" userId="fe4cc296-ba7d-48a2-8799-89b58d218255" providerId="ADAL" clId="{388EFDEE-447E-42B4-98EF-30C01AB2E8CD}" dt="2022-03-28T18:10:11.828" v="2722"/>
          <ac:spMkLst>
            <pc:docMk/>
            <pc:sldMk cId="1852388011" sldId="2134803542"/>
            <ac:spMk id="304" creationId="{4566FA6F-C866-4B3D-9847-8DC9E6EFB7B0}"/>
          </ac:spMkLst>
        </pc:spChg>
        <pc:spChg chg="add del mod">
          <ac:chgData name="Kebba Jeng" userId="fe4cc296-ba7d-48a2-8799-89b58d218255" providerId="ADAL" clId="{388EFDEE-447E-42B4-98EF-30C01AB2E8CD}" dt="2022-03-28T18:10:11.828" v="2722"/>
          <ac:spMkLst>
            <pc:docMk/>
            <pc:sldMk cId="1852388011" sldId="2134803542"/>
            <ac:spMk id="305" creationId="{106A43DE-70DC-450B-A889-106987823074}"/>
          </ac:spMkLst>
        </pc:spChg>
        <pc:spChg chg="add del mod">
          <ac:chgData name="Kebba Jeng" userId="fe4cc296-ba7d-48a2-8799-89b58d218255" providerId="ADAL" clId="{388EFDEE-447E-42B4-98EF-30C01AB2E8CD}" dt="2022-03-28T18:10:11.828" v="2722"/>
          <ac:spMkLst>
            <pc:docMk/>
            <pc:sldMk cId="1852388011" sldId="2134803542"/>
            <ac:spMk id="306" creationId="{DF7CBA77-26E2-41D9-8715-3727227FAA79}"/>
          </ac:spMkLst>
        </pc:spChg>
        <pc:spChg chg="add del mod">
          <ac:chgData name="Kebba Jeng" userId="fe4cc296-ba7d-48a2-8799-89b58d218255" providerId="ADAL" clId="{388EFDEE-447E-42B4-98EF-30C01AB2E8CD}" dt="2022-03-28T18:10:11.828" v="2722"/>
          <ac:spMkLst>
            <pc:docMk/>
            <pc:sldMk cId="1852388011" sldId="2134803542"/>
            <ac:spMk id="307" creationId="{97492365-93A4-4E00-BB8A-16E839980E60}"/>
          </ac:spMkLst>
        </pc:spChg>
        <pc:spChg chg="add del mod">
          <ac:chgData name="Kebba Jeng" userId="fe4cc296-ba7d-48a2-8799-89b58d218255" providerId="ADAL" clId="{388EFDEE-447E-42B4-98EF-30C01AB2E8CD}" dt="2022-03-28T18:10:11.828" v="2722"/>
          <ac:spMkLst>
            <pc:docMk/>
            <pc:sldMk cId="1852388011" sldId="2134803542"/>
            <ac:spMk id="308" creationId="{71E0B169-4B52-4C8C-B1B4-0AC2B92BFB74}"/>
          </ac:spMkLst>
        </pc:spChg>
        <pc:spChg chg="add del mod">
          <ac:chgData name="Kebba Jeng" userId="fe4cc296-ba7d-48a2-8799-89b58d218255" providerId="ADAL" clId="{388EFDEE-447E-42B4-98EF-30C01AB2E8CD}" dt="2022-03-28T18:10:11.828" v="2722"/>
          <ac:spMkLst>
            <pc:docMk/>
            <pc:sldMk cId="1852388011" sldId="2134803542"/>
            <ac:spMk id="309" creationId="{7A05CFDD-F891-45CD-ADA3-551929F21250}"/>
          </ac:spMkLst>
        </pc:spChg>
        <pc:spChg chg="add del mod">
          <ac:chgData name="Kebba Jeng" userId="fe4cc296-ba7d-48a2-8799-89b58d218255" providerId="ADAL" clId="{388EFDEE-447E-42B4-98EF-30C01AB2E8CD}" dt="2022-03-28T18:10:11.828" v="2722"/>
          <ac:spMkLst>
            <pc:docMk/>
            <pc:sldMk cId="1852388011" sldId="2134803542"/>
            <ac:spMk id="310" creationId="{D5882EF9-4CF4-423E-B66E-F0BB90BBE447}"/>
          </ac:spMkLst>
        </pc:spChg>
        <pc:spChg chg="add del mod">
          <ac:chgData name="Kebba Jeng" userId="fe4cc296-ba7d-48a2-8799-89b58d218255" providerId="ADAL" clId="{388EFDEE-447E-42B4-98EF-30C01AB2E8CD}" dt="2022-03-28T18:10:11.828" v="2722"/>
          <ac:spMkLst>
            <pc:docMk/>
            <pc:sldMk cId="1852388011" sldId="2134803542"/>
            <ac:spMk id="311" creationId="{0359A3A1-2ABE-4575-93C2-F90370E873C2}"/>
          </ac:spMkLst>
        </pc:spChg>
        <pc:spChg chg="add del mod">
          <ac:chgData name="Kebba Jeng" userId="fe4cc296-ba7d-48a2-8799-89b58d218255" providerId="ADAL" clId="{388EFDEE-447E-42B4-98EF-30C01AB2E8CD}" dt="2022-03-28T18:10:11.828" v="2722"/>
          <ac:spMkLst>
            <pc:docMk/>
            <pc:sldMk cId="1852388011" sldId="2134803542"/>
            <ac:spMk id="312" creationId="{E12D17B5-A673-4365-8008-0EC42BED4930}"/>
          </ac:spMkLst>
        </pc:spChg>
        <pc:spChg chg="add del mod">
          <ac:chgData name="Kebba Jeng" userId="fe4cc296-ba7d-48a2-8799-89b58d218255" providerId="ADAL" clId="{388EFDEE-447E-42B4-98EF-30C01AB2E8CD}" dt="2022-03-28T18:10:11.828" v="2722"/>
          <ac:spMkLst>
            <pc:docMk/>
            <pc:sldMk cId="1852388011" sldId="2134803542"/>
            <ac:spMk id="313" creationId="{63C52563-C0DD-4BF9-8030-7082373F6088}"/>
          </ac:spMkLst>
        </pc:spChg>
        <pc:spChg chg="add del mod">
          <ac:chgData name="Kebba Jeng" userId="fe4cc296-ba7d-48a2-8799-89b58d218255" providerId="ADAL" clId="{388EFDEE-447E-42B4-98EF-30C01AB2E8CD}" dt="2022-03-28T18:10:11.828" v="2722"/>
          <ac:spMkLst>
            <pc:docMk/>
            <pc:sldMk cId="1852388011" sldId="2134803542"/>
            <ac:spMk id="314" creationId="{FBD0A156-9532-46CA-8AB3-A836603BE47F}"/>
          </ac:spMkLst>
        </pc:spChg>
        <pc:spChg chg="add del mod">
          <ac:chgData name="Kebba Jeng" userId="fe4cc296-ba7d-48a2-8799-89b58d218255" providerId="ADAL" clId="{388EFDEE-447E-42B4-98EF-30C01AB2E8CD}" dt="2022-03-28T18:10:11.828" v="2722"/>
          <ac:spMkLst>
            <pc:docMk/>
            <pc:sldMk cId="1852388011" sldId="2134803542"/>
            <ac:spMk id="315" creationId="{D7C20C4B-DAA9-49CB-B58F-ECE4BB0CA5FF}"/>
          </ac:spMkLst>
        </pc:spChg>
        <pc:spChg chg="add del mod">
          <ac:chgData name="Kebba Jeng" userId="fe4cc296-ba7d-48a2-8799-89b58d218255" providerId="ADAL" clId="{388EFDEE-447E-42B4-98EF-30C01AB2E8CD}" dt="2022-03-28T18:10:11.828" v="2722"/>
          <ac:spMkLst>
            <pc:docMk/>
            <pc:sldMk cId="1852388011" sldId="2134803542"/>
            <ac:spMk id="316" creationId="{A1344F76-D476-4133-ABE2-4C82C19EA266}"/>
          </ac:spMkLst>
        </pc:spChg>
        <pc:spChg chg="add del mod">
          <ac:chgData name="Kebba Jeng" userId="fe4cc296-ba7d-48a2-8799-89b58d218255" providerId="ADAL" clId="{388EFDEE-447E-42B4-98EF-30C01AB2E8CD}" dt="2022-03-28T18:10:11.828" v="2722"/>
          <ac:spMkLst>
            <pc:docMk/>
            <pc:sldMk cId="1852388011" sldId="2134803542"/>
            <ac:spMk id="317" creationId="{C5E01CF2-2174-4B5A-A65A-1DD94D611A5C}"/>
          </ac:spMkLst>
        </pc:spChg>
        <pc:spChg chg="add del mod">
          <ac:chgData name="Kebba Jeng" userId="fe4cc296-ba7d-48a2-8799-89b58d218255" providerId="ADAL" clId="{388EFDEE-447E-42B4-98EF-30C01AB2E8CD}" dt="2022-03-28T18:10:11.828" v="2722"/>
          <ac:spMkLst>
            <pc:docMk/>
            <pc:sldMk cId="1852388011" sldId="2134803542"/>
            <ac:spMk id="318" creationId="{706A7249-2861-4B80-A2F2-027011DB50E0}"/>
          </ac:spMkLst>
        </pc:spChg>
        <pc:spChg chg="add del mod">
          <ac:chgData name="Kebba Jeng" userId="fe4cc296-ba7d-48a2-8799-89b58d218255" providerId="ADAL" clId="{388EFDEE-447E-42B4-98EF-30C01AB2E8CD}" dt="2022-03-28T18:10:11.828" v="2722"/>
          <ac:spMkLst>
            <pc:docMk/>
            <pc:sldMk cId="1852388011" sldId="2134803542"/>
            <ac:spMk id="319" creationId="{2BAD212D-1CF4-4DEF-A252-CA8701182081}"/>
          </ac:spMkLst>
        </pc:spChg>
        <pc:spChg chg="add del mod">
          <ac:chgData name="Kebba Jeng" userId="fe4cc296-ba7d-48a2-8799-89b58d218255" providerId="ADAL" clId="{388EFDEE-447E-42B4-98EF-30C01AB2E8CD}" dt="2022-03-28T18:10:11.828" v="2722"/>
          <ac:spMkLst>
            <pc:docMk/>
            <pc:sldMk cId="1852388011" sldId="2134803542"/>
            <ac:spMk id="320" creationId="{C5E5097F-E198-41F8-B0CF-398E1E0A5E97}"/>
          </ac:spMkLst>
        </pc:spChg>
        <pc:spChg chg="add del mod">
          <ac:chgData name="Kebba Jeng" userId="fe4cc296-ba7d-48a2-8799-89b58d218255" providerId="ADAL" clId="{388EFDEE-447E-42B4-98EF-30C01AB2E8CD}" dt="2022-03-28T18:10:11.828" v="2722"/>
          <ac:spMkLst>
            <pc:docMk/>
            <pc:sldMk cId="1852388011" sldId="2134803542"/>
            <ac:spMk id="321" creationId="{A1B04F40-284D-4C3C-A97E-02FCAC367049}"/>
          </ac:spMkLst>
        </pc:spChg>
        <pc:spChg chg="add del mod">
          <ac:chgData name="Kebba Jeng" userId="fe4cc296-ba7d-48a2-8799-89b58d218255" providerId="ADAL" clId="{388EFDEE-447E-42B4-98EF-30C01AB2E8CD}" dt="2022-03-28T18:10:11.828" v="2722"/>
          <ac:spMkLst>
            <pc:docMk/>
            <pc:sldMk cId="1852388011" sldId="2134803542"/>
            <ac:spMk id="322" creationId="{7B607C94-BBB7-44B1-A403-E308BB28B60B}"/>
          </ac:spMkLst>
        </pc:spChg>
        <pc:spChg chg="add del mod">
          <ac:chgData name="Kebba Jeng" userId="fe4cc296-ba7d-48a2-8799-89b58d218255" providerId="ADAL" clId="{388EFDEE-447E-42B4-98EF-30C01AB2E8CD}" dt="2022-03-28T18:10:11.828" v="2722"/>
          <ac:spMkLst>
            <pc:docMk/>
            <pc:sldMk cId="1852388011" sldId="2134803542"/>
            <ac:spMk id="323" creationId="{B4DC47E9-A029-463E-B710-BC2E4C34307C}"/>
          </ac:spMkLst>
        </pc:spChg>
        <pc:spChg chg="add del mod">
          <ac:chgData name="Kebba Jeng" userId="fe4cc296-ba7d-48a2-8799-89b58d218255" providerId="ADAL" clId="{388EFDEE-447E-42B4-98EF-30C01AB2E8CD}" dt="2022-03-28T18:10:11.828" v="2722"/>
          <ac:spMkLst>
            <pc:docMk/>
            <pc:sldMk cId="1852388011" sldId="2134803542"/>
            <ac:spMk id="324" creationId="{2E50E983-BED5-438C-8783-B3704E4C1B9E}"/>
          </ac:spMkLst>
        </pc:spChg>
        <pc:spChg chg="add del mod">
          <ac:chgData name="Kebba Jeng" userId="fe4cc296-ba7d-48a2-8799-89b58d218255" providerId="ADAL" clId="{388EFDEE-447E-42B4-98EF-30C01AB2E8CD}" dt="2022-03-28T18:10:11.828" v="2722"/>
          <ac:spMkLst>
            <pc:docMk/>
            <pc:sldMk cId="1852388011" sldId="2134803542"/>
            <ac:spMk id="325" creationId="{B0FB0617-A930-4A69-8774-BDD607E3E4C7}"/>
          </ac:spMkLst>
        </pc:spChg>
        <pc:spChg chg="add del mod">
          <ac:chgData name="Kebba Jeng" userId="fe4cc296-ba7d-48a2-8799-89b58d218255" providerId="ADAL" clId="{388EFDEE-447E-42B4-98EF-30C01AB2E8CD}" dt="2022-03-28T18:10:11.828" v="2722"/>
          <ac:spMkLst>
            <pc:docMk/>
            <pc:sldMk cId="1852388011" sldId="2134803542"/>
            <ac:spMk id="326" creationId="{06DDF295-6A5B-4FE1-9640-C477ED42E720}"/>
          </ac:spMkLst>
        </pc:spChg>
        <pc:spChg chg="add del mod">
          <ac:chgData name="Kebba Jeng" userId="fe4cc296-ba7d-48a2-8799-89b58d218255" providerId="ADAL" clId="{388EFDEE-447E-42B4-98EF-30C01AB2E8CD}" dt="2022-03-28T18:10:11.828" v="2722"/>
          <ac:spMkLst>
            <pc:docMk/>
            <pc:sldMk cId="1852388011" sldId="2134803542"/>
            <ac:spMk id="327" creationId="{24334CDC-6388-48AC-8CBC-A7161386A68E}"/>
          </ac:spMkLst>
        </pc:spChg>
        <pc:spChg chg="add del mod">
          <ac:chgData name="Kebba Jeng" userId="fe4cc296-ba7d-48a2-8799-89b58d218255" providerId="ADAL" clId="{388EFDEE-447E-42B4-98EF-30C01AB2E8CD}" dt="2022-03-28T18:10:11.828" v="2722"/>
          <ac:spMkLst>
            <pc:docMk/>
            <pc:sldMk cId="1852388011" sldId="2134803542"/>
            <ac:spMk id="328" creationId="{4D9771DF-71C7-46A4-8478-BA6218846A70}"/>
          </ac:spMkLst>
        </pc:spChg>
        <pc:spChg chg="add del mod">
          <ac:chgData name="Kebba Jeng" userId="fe4cc296-ba7d-48a2-8799-89b58d218255" providerId="ADAL" clId="{388EFDEE-447E-42B4-98EF-30C01AB2E8CD}" dt="2022-03-28T18:10:11.828" v="2722"/>
          <ac:spMkLst>
            <pc:docMk/>
            <pc:sldMk cId="1852388011" sldId="2134803542"/>
            <ac:spMk id="329" creationId="{F4ADA14F-1445-45EF-BE8A-4AA7550F74CF}"/>
          </ac:spMkLst>
        </pc:spChg>
        <pc:spChg chg="add del mod">
          <ac:chgData name="Kebba Jeng" userId="fe4cc296-ba7d-48a2-8799-89b58d218255" providerId="ADAL" clId="{388EFDEE-447E-42B4-98EF-30C01AB2E8CD}" dt="2022-03-28T18:10:11.828" v="2722"/>
          <ac:spMkLst>
            <pc:docMk/>
            <pc:sldMk cId="1852388011" sldId="2134803542"/>
            <ac:spMk id="330" creationId="{C6D06CF6-EB73-40FB-BF0C-6BA523E9C54A}"/>
          </ac:spMkLst>
        </pc:spChg>
        <pc:spChg chg="add del mod">
          <ac:chgData name="Kebba Jeng" userId="fe4cc296-ba7d-48a2-8799-89b58d218255" providerId="ADAL" clId="{388EFDEE-447E-42B4-98EF-30C01AB2E8CD}" dt="2022-03-28T18:10:11.828" v="2722"/>
          <ac:spMkLst>
            <pc:docMk/>
            <pc:sldMk cId="1852388011" sldId="2134803542"/>
            <ac:spMk id="331" creationId="{7C442F0D-D9C8-40E5-93ED-E9286B26D35B}"/>
          </ac:spMkLst>
        </pc:spChg>
        <pc:spChg chg="add del mod">
          <ac:chgData name="Kebba Jeng" userId="fe4cc296-ba7d-48a2-8799-89b58d218255" providerId="ADAL" clId="{388EFDEE-447E-42B4-98EF-30C01AB2E8CD}" dt="2022-03-28T18:10:11.828" v="2722"/>
          <ac:spMkLst>
            <pc:docMk/>
            <pc:sldMk cId="1852388011" sldId="2134803542"/>
            <ac:spMk id="332" creationId="{1BFF7395-DB54-44D9-86BC-CD22DDD6353D}"/>
          </ac:spMkLst>
        </pc:spChg>
        <pc:spChg chg="add del mod">
          <ac:chgData name="Kebba Jeng" userId="fe4cc296-ba7d-48a2-8799-89b58d218255" providerId="ADAL" clId="{388EFDEE-447E-42B4-98EF-30C01AB2E8CD}" dt="2022-03-28T18:10:11.828" v="2722"/>
          <ac:spMkLst>
            <pc:docMk/>
            <pc:sldMk cId="1852388011" sldId="2134803542"/>
            <ac:spMk id="333" creationId="{DAD7FA84-010E-43FF-A9F9-2A20853C52E9}"/>
          </ac:spMkLst>
        </pc:spChg>
        <pc:spChg chg="add del mod">
          <ac:chgData name="Kebba Jeng" userId="fe4cc296-ba7d-48a2-8799-89b58d218255" providerId="ADAL" clId="{388EFDEE-447E-42B4-98EF-30C01AB2E8CD}" dt="2022-03-28T18:10:11.828" v="2722"/>
          <ac:spMkLst>
            <pc:docMk/>
            <pc:sldMk cId="1852388011" sldId="2134803542"/>
            <ac:spMk id="334" creationId="{E079DF45-158C-4CBF-AFED-5CD5E2896659}"/>
          </ac:spMkLst>
        </pc:spChg>
        <pc:spChg chg="add del mod">
          <ac:chgData name="Kebba Jeng" userId="fe4cc296-ba7d-48a2-8799-89b58d218255" providerId="ADAL" clId="{388EFDEE-447E-42B4-98EF-30C01AB2E8CD}" dt="2022-03-28T18:10:11.828" v="2722"/>
          <ac:spMkLst>
            <pc:docMk/>
            <pc:sldMk cId="1852388011" sldId="2134803542"/>
            <ac:spMk id="335" creationId="{B4102649-D6AA-45C6-8C26-30FC920B88C1}"/>
          </ac:spMkLst>
        </pc:spChg>
        <pc:spChg chg="add del mod">
          <ac:chgData name="Kebba Jeng" userId="fe4cc296-ba7d-48a2-8799-89b58d218255" providerId="ADAL" clId="{388EFDEE-447E-42B4-98EF-30C01AB2E8CD}" dt="2022-03-28T18:10:11.828" v="2722"/>
          <ac:spMkLst>
            <pc:docMk/>
            <pc:sldMk cId="1852388011" sldId="2134803542"/>
            <ac:spMk id="336" creationId="{B2381AFA-4623-42CC-B4B1-1D11E9E4E4A4}"/>
          </ac:spMkLst>
        </pc:spChg>
        <pc:spChg chg="add del mod">
          <ac:chgData name="Kebba Jeng" userId="fe4cc296-ba7d-48a2-8799-89b58d218255" providerId="ADAL" clId="{388EFDEE-447E-42B4-98EF-30C01AB2E8CD}" dt="2022-03-28T18:10:11.828" v="2722"/>
          <ac:spMkLst>
            <pc:docMk/>
            <pc:sldMk cId="1852388011" sldId="2134803542"/>
            <ac:spMk id="337" creationId="{6F7393D5-9686-4E9D-B785-333C789C5246}"/>
          </ac:spMkLst>
        </pc:spChg>
        <pc:spChg chg="add del mod">
          <ac:chgData name="Kebba Jeng" userId="fe4cc296-ba7d-48a2-8799-89b58d218255" providerId="ADAL" clId="{388EFDEE-447E-42B4-98EF-30C01AB2E8CD}" dt="2022-03-28T18:10:11.828" v="2722"/>
          <ac:spMkLst>
            <pc:docMk/>
            <pc:sldMk cId="1852388011" sldId="2134803542"/>
            <ac:spMk id="338" creationId="{465D30E1-8C59-4EC5-8E44-D375D6616982}"/>
          </ac:spMkLst>
        </pc:spChg>
        <pc:spChg chg="add del mod">
          <ac:chgData name="Kebba Jeng" userId="fe4cc296-ba7d-48a2-8799-89b58d218255" providerId="ADAL" clId="{388EFDEE-447E-42B4-98EF-30C01AB2E8CD}" dt="2022-03-28T18:10:11.828" v="2722"/>
          <ac:spMkLst>
            <pc:docMk/>
            <pc:sldMk cId="1852388011" sldId="2134803542"/>
            <ac:spMk id="339" creationId="{A341B569-44DC-4817-A329-A6E28D7BA165}"/>
          </ac:spMkLst>
        </pc:spChg>
        <pc:spChg chg="add del mod">
          <ac:chgData name="Kebba Jeng" userId="fe4cc296-ba7d-48a2-8799-89b58d218255" providerId="ADAL" clId="{388EFDEE-447E-42B4-98EF-30C01AB2E8CD}" dt="2022-03-28T18:10:11.828" v="2722"/>
          <ac:spMkLst>
            <pc:docMk/>
            <pc:sldMk cId="1852388011" sldId="2134803542"/>
            <ac:spMk id="340" creationId="{D37CB9E3-6BCB-447C-90AC-C62D1193797A}"/>
          </ac:spMkLst>
        </pc:spChg>
        <pc:spChg chg="add del mod">
          <ac:chgData name="Kebba Jeng" userId="fe4cc296-ba7d-48a2-8799-89b58d218255" providerId="ADAL" clId="{388EFDEE-447E-42B4-98EF-30C01AB2E8CD}" dt="2022-03-28T18:10:11.828" v="2722"/>
          <ac:spMkLst>
            <pc:docMk/>
            <pc:sldMk cId="1852388011" sldId="2134803542"/>
            <ac:spMk id="341" creationId="{F6D2A5FC-93E1-4425-A9D6-49AABDC2C861}"/>
          </ac:spMkLst>
        </pc:spChg>
        <pc:spChg chg="add del mod">
          <ac:chgData name="Kebba Jeng" userId="fe4cc296-ba7d-48a2-8799-89b58d218255" providerId="ADAL" clId="{388EFDEE-447E-42B4-98EF-30C01AB2E8CD}" dt="2022-03-28T18:10:11.828" v="2722"/>
          <ac:spMkLst>
            <pc:docMk/>
            <pc:sldMk cId="1852388011" sldId="2134803542"/>
            <ac:spMk id="342" creationId="{DC2C035F-9A6C-44A5-84EB-03972FADA9D0}"/>
          </ac:spMkLst>
        </pc:spChg>
        <pc:spChg chg="add del mod">
          <ac:chgData name="Kebba Jeng" userId="fe4cc296-ba7d-48a2-8799-89b58d218255" providerId="ADAL" clId="{388EFDEE-447E-42B4-98EF-30C01AB2E8CD}" dt="2022-03-28T18:10:11.828" v="2722"/>
          <ac:spMkLst>
            <pc:docMk/>
            <pc:sldMk cId="1852388011" sldId="2134803542"/>
            <ac:spMk id="343" creationId="{4F8951D7-9BE0-42EC-9AE4-B0FBA7FE2350}"/>
          </ac:spMkLst>
        </pc:spChg>
        <pc:spChg chg="add del mod">
          <ac:chgData name="Kebba Jeng" userId="fe4cc296-ba7d-48a2-8799-89b58d218255" providerId="ADAL" clId="{388EFDEE-447E-42B4-98EF-30C01AB2E8CD}" dt="2022-03-28T18:10:11.828" v="2722"/>
          <ac:spMkLst>
            <pc:docMk/>
            <pc:sldMk cId="1852388011" sldId="2134803542"/>
            <ac:spMk id="344" creationId="{5C5A614E-19EE-4F45-98C5-03449B6FBB52}"/>
          </ac:spMkLst>
        </pc:spChg>
        <pc:spChg chg="add del mod">
          <ac:chgData name="Kebba Jeng" userId="fe4cc296-ba7d-48a2-8799-89b58d218255" providerId="ADAL" clId="{388EFDEE-447E-42B4-98EF-30C01AB2E8CD}" dt="2022-03-28T18:10:11.828" v="2722"/>
          <ac:spMkLst>
            <pc:docMk/>
            <pc:sldMk cId="1852388011" sldId="2134803542"/>
            <ac:spMk id="345" creationId="{436BF78B-CC5C-459F-8DB4-2D260476CDC8}"/>
          </ac:spMkLst>
        </pc:spChg>
        <pc:spChg chg="add del mod">
          <ac:chgData name="Kebba Jeng" userId="fe4cc296-ba7d-48a2-8799-89b58d218255" providerId="ADAL" clId="{388EFDEE-447E-42B4-98EF-30C01AB2E8CD}" dt="2022-03-28T18:10:11.828" v="2722"/>
          <ac:spMkLst>
            <pc:docMk/>
            <pc:sldMk cId="1852388011" sldId="2134803542"/>
            <ac:spMk id="346" creationId="{DBB0B5C0-173E-4AFD-8DC2-368CC32F1DC2}"/>
          </ac:spMkLst>
        </pc:spChg>
        <pc:spChg chg="add del mod">
          <ac:chgData name="Kebba Jeng" userId="fe4cc296-ba7d-48a2-8799-89b58d218255" providerId="ADAL" clId="{388EFDEE-447E-42B4-98EF-30C01AB2E8CD}" dt="2022-03-28T18:10:11.828" v="2722"/>
          <ac:spMkLst>
            <pc:docMk/>
            <pc:sldMk cId="1852388011" sldId="2134803542"/>
            <ac:spMk id="347" creationId="{4EB96B05-E150-4486-AD5F-37224371156C}"/>
          </ac:spMkLst>
        </pc:spChg>
        <pc:spChg chg="add del mod">
          <ac:chgData name="Kebba Jeng" userId="fe4cc296-ba7d-48a2-8799-89b58d218255" providerId="ADAL" clId="{388EFDEE-447E-42B4-98EF-30C01AB2E8CD}" dt="2022-03-28T18:10:11.828" v="2722"/>
          <ac:spMkLst>
            <pc:docMk/>
            <pc:sldMk cId="1852388011" sldId="2134803542"/>
            <ac:spMk id="348" creationId="{A8250C1E-87A1-4DF7-BFB0-D2A76E99A535}"/>
          </ac:spMkLst>
        </pc:spChg>
        <pc:spChg chg="add del mod">
          <ac:chgData name="Kebba Jeng" userId="fe4cc296-ba7d-48a2-8799-89b58d218255" providerId="ADAL" clId="{388EFDEE-447E-42B4-98EF-30C01AB2E8CD}" dt="2022-03-28T18:10:11.828" v="2722"/>
          <ac:spMkLst>
            <pc:docMk/>
            <pc:sldMk cId="1852388011" sldId="2134803542"/>
            <ac:spMk id="349" creationId="{5693AA08-9913-41AE-B822-338B63DE38C0}"/>
          </ac:spMkLst>
        </pc:spChg>
        <pc:spChg chg="add del mod">
          <ac:chgData name="Kebba Jeng" userId="fe4cc296-ba7d-48a2-8799-89b58d218255" providerId="ADAL" clId="{388EFDEE-447E-42B4-98EF-30C01AB2E8CD}" dt="2022-03-28T18:10:11.828" v="2722"/>
          <ac:spMkLst>
            <pc:docMk/>
            <pc:sldMk cId="1852388011" sldId="2134803542"/>
            <ac:spMk id="350" creationId="{0E5F582D-935F-4F00-8E00-D5CB3F33A405}"/>
          </ac:spMkLst>
        </pc:spChg>
        <pc:spChg chg="add del mod">
          <ac:chgData name="Kebba Jeng" userId="fe4cc296-ba7d-48a2-8799-89b58d218255" providerId="ADAL" clId="{388EFDEE-447E-42B4-98EF-30C01AB2E8CD}" dt="2022-03-28T18:10:11.828" v="2722"/>
          <ac:spMkLst>
            <pc:docMk/>
            <pc:sldMk cId="1852388011" sldId="2134803542"/>
            <ac:spMk id="351" creationId="{1FD68A6C-2583-416C-8AEE-7F35BF08E8A7}"/>
          </ac:spMkLst>
        </pc:spChg>
        <pc:spChg chg="add del mod">
          <ac:chgData name="Kebba Jeng" userId="fe4cc296-ba7d-48a2-8799-89b58d218255" providerId="ADAL" clId="{388EFDEE-447E-42B4-98EF-30C01AB2E8CD}" dt="2022-03-28T18:10:11.828" v="2722"/>
          <ac:spMkLst>
            <pc:docMk/>
            <pc:sldMk cId="1852388011" sldId="2134803542"/>
            <ac:spMk id="352" creationId="{D590F77C-6E97-4C2C-88B8-7D34D5060B42}"/>
          </ac:spMkLst>
        </pc:spChg>
        <pc:spChg chg="add del mod">
          <ac:chgData name="Kebba Jeng" userId="fe4cc296-ba7d-48a2-8799-89b58d218255" providerId="ADAL" clId="{388EFDEE-447E-42B4-98EF-30C01AB2E8CD}" dt="2022-03-28T18:10:11.828" v="2722"/>
          <ac:spMkLst>
            <pc:docMk/>
            <pc:sldMk cId="1852388011" sldId="2134803542"/>
            <ac:spMk id="353" creationId="{C02DBFE5-AB72-46E4-AFDC-A459D2093A89}"/>
          </ac:spMkLst>
        </pc:spChg>
        <pc:spChg chg="add del mod">
          <ac:chgData name="Kebba Jeng" userId="fe4cc296-ba7d-48a2-8799-89b58d218255" providerId="ADAL" clId="{388EFDEE-447E-42B4-98EF-30C01AB2E8CD}" dt="2022-03-28T18:10:11.828" v="2722"/>
          <ac:spMkLst>
            <pc:docMk/>
            <pc:sldMk cId="1852388011" sldId="2134803542"/>
            <ac:spMk id="354" creationId="{435843A7-2533-48EC-8719-9882563EF4B7}"/>
          </ac:spMkLst>
        </pc:spChg>
        <pc:spChg chg="add del mod">
          <ac:chgData name="Kebba Jeng" userId="fe4cc296-ba7d-48a2-8799-89b58d218255" providerId="ADAL" clId="{388EFDEE-447E-42B4-98EF-30C01AB2E8CD}" dt="2022-03-28T18:10:11.828" v="2722"/>
          <ac:spMkLst>
            <pc:docMk/>
            <pc:sldMk cId="1852388011" sldId="2134803542"/>
            <ac:spMk id="355" creationId="{D595045D-FE41-4426-A8DF-954151134C2D}"/>
          </ac:spMkLst>
        </pc:spChg>
        <pc:spChg chg="add del mod">
          <ac:chgData name="Kebba Jeng" userId="fe4cc296-ba7d-48a2-8799-89b58d218255" providerId="ADAL" clId="{388EFDEE-447E-42B4-98EF-30C01AB2E8CD}" dt="2022-03-28T18:10:11.828" v="2722"/>
          <ac:spMkLst>
            <pc:docMk/>
            <pc:sldMk cId="1852388011" sldId="2134803542"/>
            <ac:spMk id="356" creationId="{7AC622E3-8879-4F0E-97AC-8CBC672F62C8}"/>
          </ac:spMkLst>
        </pc:spChg>
        <pc:spChg chg="add del mod">
          <ac:chgData name="Kebba Jeng" userId="fe4cc296-ba7d-48a2-8799-89b58d218255" providerId="ADAL" clId="{388EFDEE-447E-42B4-98EF-30C01AB2E8CD}" dt="2022-03-28T18:10:11.828" v="2722"/>
          <ac:spMkLst>
            <pc:docMk/>
            <pc:sldMk cId="1852388011" sldId="2134803542"/>
            <ac:spMk id="357" creationId="{22979CA5-4C77-4573-8560-6F64FAD2E931}"/>
          </ac:spMkLst>
        </pc:spChg>
        <pc:spChg chg="add del mod">
          <ac:chgData name="Kebba Jeng" userId="fe4cc296-ba7d-48a2-8799-89b58d218255" providerId="ADAL" clId="{388EFDEE-447E-42B4-98EF-30C01AB2E8CD}" dt="2022-03-28T18:10:11.828" v="2722"/>
          <ac:spMkLst>
            <pc:docMk/>
            <pc:sldMk cId="1852388011" sldId="2134803542"/>
            <ac:spMk id="358" creationId="{2F7AB443-2905-46F3-8D6D-EF99142A8633}"/>
          </ac:spMkLst>
        </pc:spChg>
        <pc:spChg chg="add del mod">
          <ac:chgData name="Kebba Jeng" userId="fe4cc296-ba7d-48a2-8799-89b58d218255" providerId="ADAL" clId="{388EFDEE-447E-42B4-98EF-30C01AB2E8CD}" dt="2022-03-28T18:10:11.828" v="2722"/>
          <ac:spMkLst>
            <pc:docMk/>
            <pc:sldMk cId="1852388011" sldId="2134803542"/>
            <ac:spMk id="359" creationId="{48369A17-14BE-4AEE-885D-12088714C2A8}"/>
          </ac:spMkLst>
        </pc:spChg>
        <pc:spChg chg="add del mod">
          <ac:chgData name="Kebba Jeng" userId="fe4cc296-ba7d-48a2-8799-89b58d218255" providerId="ADAL" clId="{388EFDEE-447E-42B4-98EF-30C01AB2E8CD}" dt="2022-03-28T18:10:11.828" v="2722"/>
          <ac:spMkLst>
            <pc:docMk/>
            <pc:sldMk cId="1852388011" sldId="2134803542"/>
            <ac:spMk id="360" creationId="{9E7AC49B-8F17-40F5-B612-D0215C30E81C}"/>
          </ac:spMkLst>
        </pc:spChg>
        <pc:spChg chg="add del mod">
          <ac:chgData name="Kebba Jeng" userId="fe4cc296-ba7d-48a2-8799-89b58d218255" providerId="ADAL" clId="{388EFDEE-447E-42B4-98EF-30C01AB2E8CD}" dt="2022-03-28T18:10:11.828" v="2722"/>
          <ac:spMkLst>
            <pc:docMk/>
            <pc:sldMk cId="1852388011" sldId="2134803542"/>
            <ac:spMk id="361" creationId="{764259AC-E62F-4A6F-A3E2-20051043EAB0}"/>
          </ac:spMkLst>
        </pc:spChg>
        <pc:spChg chg="add del mod">
          <ac:chgData name="Kebba Jeng" userId="fe4cc296-ba7d-48a2-8799-89b58d218255" providerId="ADAL" clId="{388EFDEE-447E-42B4-98EF-30C01AB2E8CD}" dt="2022-03-28T18:10:11.828" v="2722"/>
          <ac:spMkLst>
            <pc:docMk/>
            <pc:sldMk cId="1852388011" sldId="2134803542"/>
            <ac:spMk id="362" creationId="{942282FF-7B33-4423-BB28-5DA2E23697B4}"/>
          </ac:spMkLst>
        </pc:spChg>
        <pc:spChg chg="add del mod">
          <ac:chgData name="Kebba Jeng" userId="fe4cc296-ba7d-48a2-8799-89b58d218255" providerId="ADAL" clId="{388EFDEE-447E-42B4-98EF-30C01AB2E8CD}" dt="2022-03-28T18:10:11.828" v="2722"/>
          <ac:spMkLst>
            <pc:docMk/>
            <pc:sldMk cId="1852388011" sldId="2134803542"/>
            <ac:spMk id="363" creationId="{91B7A865-B7EA-4504-A49B-9A040F6B508C}"/>
          </ac:spMkLst>
        </pc:spChg>
        <pc:spChg chg="add del mod">
          <ac:chgData name="Kebba Jeng" userId="fe4cc296-ba7d-48a2-8799-89b58d218255" providerId="ADAL" clId="{388EFDEE-447E-42B4-98EF-30C01AB2E8CD}" dt="2022-03-28T18:10:11.828" v="2722"/>
          <ac:spMkLst>
            <pc:docMk/>
            <pc:sldMk cId="1852388011" sldId="2134803542"/>
            <ac:spMk id="364" creationId="{03E1A4FD-2357-4639-9108-D2681CABA857}"/>
          </ac:spMkLst>
        </pc:spChg>
        <pc:spChg chg="add del mod">
          <ac:chgData name="Kebba Jeng" userId="fe4cc296-ba7d-48a2-8799-89b58d218255" providerId="ADAL" clId="{388EFDEE-447E-42B4-98EF-30C01AB2E8CD}" dt="2022-03-28T18:10:11.828" v="2722"/>
          <ac:spMkLst>
            <pc:docMk/>
            <pc:sldMk cId="1852388011" sldId="2134803542"/>
            <ac:spMk id="365" creationId="{40FAB43E-DB49-4B39-8260-748171A3080D}"/>
          </ac:spMkLst>
        </pc:spChg>
        <pc:spChg chg="add del mod">
          <ac:chgData name="Kebba Jeng" userId="fe4cc296-ba7d-48a2-8799-89b58d218255" providerId="ADAL" clId="{388EFDEE-447E-42B4-98EF-30C01AB2E8CD}" dt="2022-03-28T18:10:11.828" v="2722"/>
          <ac:spMkLst>
            <pc:docMk/>
            <pc:sldMk cId="1852388011" sldId="2134803542"/>
            <ac:spMk id="366" creationId="{0B2FCC7C-6846-49BE-8F5A-88D6D3475515}"/>
          </ac:spMkLst>
        </pc:spChg>
        <pc:spChg chg="add del mod">
          <ac:chgData name="Kebba Jeng" userId="fe4cc296-ba7d-48a2-8799-89b58d218255" providerId="ADAL" clId="{388EFDEE-447E-42B4-98EF-30C01AB2E8CD}" dt="2022-03-28T18:10:11.828" v="2722"/>
          <ac:spMkLst>
            <pc:docMk/>
            <pc:sldMk cId="1852388011" sldId="2134803542"/>
            <ac:spMk id="367" creationId="{025B1507-F368-42A5-A332-FA2535AD3580}"/>
          </ac:spMkLst>
        </pc:spChg>
        <pc:spChg chg="add del mod">
          <ac:chgData name="Kebba Jeng" userId="fe4cc296-ba7d-48a2-8799-89b58d218255" providerId="ADAL" clId="{388EFDEE-447E-42B4-98EF-30C01AB2E8CD}" dt="2022-03-28T18:10:11.828" v="2722"/>
          <ac:spMkLst>
            <pc:docMk/>
            <pc:sldMk cId="1852388011" sldId="2134803542"/>
            <ac:spMk id="368" creationId="{4D832593-EFDF-424C-B17F-699091B24B3D}"/>
          </ac:spMkLst>
        </pc:spChg>
        <pc:spChg chg="add del mod">
          <ac:chgData name="Kebba Jeng" userId="fe4cc296-ba7d-48a2-8799-89b58d218255" providerId="ADAL" clId="{388EFDEE-447E-42B4-98EF-30C01AB2E8CD}" dt="2022-03-28T18:10:11.828" v="2722"/>
          <ac:spMkLst>
            <pc:docMk/>
            <pc:sldMk cId="1852388011" sldId="2134803542"/>
            <ac:spMk id="369" creationId="{00E45074-5E1D-4361-9D02-AD66A22CADCF}"/>
          </ac:spMkLst>
        </pc:spChg>
        <pc:spChg chg="add del mod">
          <ac:chgData name="Kebba Jeng" userId="fe4cc296-ba7d-48a2-8799-89b58d218255" providerId="ADAL" clId="{388EFDEE-447E-42B4-98EF-30C01AB2E8CD}" dt="2022-03-28T18:10:11.828" v="2722"/>
          <ac:spMkLst>
            <pc:docMk/>
            <pc:sldMk cId="1852388011" sldId="2134803542"/>
            <ac:spMk id="370" creationId="{A819B501-9977-43D5-B7E5-C78FEB90F819}"/>
          </ac:spMkLst>
        </pc:spChg>
        <pc:spChg chg="add del mod">
          <ac:chgData name="Kebba Jeng" userId="fe4cc296-ba7d-48a2-8799-89b58d218255" providerId="ADAL" clId="{388EFDEE-447E-42B4-98EF-30C01AB2E8CD}" dt="2022-03-28T18:10:11.828" v="2722"/>
          <ac:spMkLst>
            <pc:docMk/>
            <pc:sldMk cId="1852388011" sldId="2134803542"/>
            <ac:spMk id="371" creationId="{ED89274D-5E03-4BB8-AFC9-A87969E5BE54}"/>
          </ac:spMkLst>
        </pc:spChg>
        <pc:spChg chg="add del mod">
          <ac:chgData name="Kebba Jeng" userId="fe4cc296-ba7d-48a2-8799-89b58d218255" providerId="ADAL" clId="{388EFDEE-447E-42B4-98EF-30C01AB2E8CD}" dt="2022-03-28T18:10:11.828" v="2722"/>
          <ac:spMkLst>
            <pc:docMk/>
            <pc:sldMk cId="1852388011" sldId="2134803542"/>
            <ac:spMk id="372" creationId="{D764165E-2EE7-415B-B00B-3FE7280C9467}"/>
          </ac:spMkLst>
        </pc:spChg>
        <pc:spChg chg="add del mod">
          <ac:chgData name="Kebba Jeng" userId="fe4cc296-ba7d-48a2-8799-89b58d218255" providerId="ADAL" clId="{388EFDEE-447E-42B4-98EF-30C01AB2E8CD}" dt="2022-03-28T18:10:11.828" v="2722"/>
          <ac:spMkLst>
            <pc:docMk/>
            <pc:sldMk cId="1852388011" sldId="2134803542"/>
            <ac:spMk id="373" creationId="{6420352F-3C97-44E0-9003-EEE8CCA34A34}"/>
          </ac:spMkLst>
        </pc:spChg>
        <pc:spChg chg="add del mod">
          <ac:chgData name="Kebba Jeng" userId="fe4cc296-ba7d-48a2-8799-89b58d218255" providerId="ADAL" clId="{388EFDEE-447E-42B4-98EF-30C01AB2E8CD}" dt="2022-03-28T18:10:11.828" v="2722"/>
          <ac:spMkLst>
            <pc:docMk/>
            <pc:sldMk cId="1852388011" sldId="2134803542"/>
            <ac:spMk id="374" creationId="{FD358171-4999-4CAA-B3DB-F543489DBB52}"/>
          </ac:spMkLst>
        </pc:spChg>
        <pc:spChg chg="add del mod">
          <ac:chgData name="Kebba Jeng" userId="fe4cc296-ba7d-48a2-8799-89b58d218255" providerId="ADAL" clId="{388EFDEE-447E-42B4-98EF-30C01AB2E8CD}" dt="2022-03-28T18:10:11.828" v="2722"/>
          <ac:spMkLst>
            <pc:docMk/>
            <pc:sldMk cId="1852388011" sldId="2134803542"/>
            <ac:spMk id="375" creationId="{CB0D70C0-6426-4A85-B06E-29643D0280F0}"/>
          </ac:spMkLst>
        </pc:spChg>
        <pc:spChg chg="add del mod">
          <ac:chgData name="Kebba Jeng" userId="fe4cc296-ba7d-48a2-8799-89b58d218255" providerId="ADAL" clId="{388EFDEE-447E-42B4-98EF-30C01AB2E8CD}" dt="2022-03-28T18:10:11.828" v="2722"/>
          <ac:spMkLst>
            <pc:docMk/>
            <pc:sldMk cId="1852388011" sldId="2134803542"/>
            <ac:spMk id="376" creationId="{032F75C8-7C59-4B2F-880D-729107E5D187}"/>
          </ac:spMkLst>
        </pc:spChg>
        <pc:spChg chg="add del mod">
          <ac:chgData name="Kebba Jeng" userId="fe4cc296-ba7d-48a2-8799-89b58d218255" providerId="ADAL" clId="{388EFDEE-447E-42B4-98EF-30C01AB2E8CD}" dt="2022-03-28T18:10:11.828" v="2722"/>
          <ac:spMkLst>
            <pc:docMk/>
            <pc:sldMk cId="1852388011" sldId="2134803542"/>
            <ac:spMk id="377" creationId="{EED6E218-BDD8-40BB-9D02-13053FAAC863}"/>
          </ac:spMkLst>
        </pc:spChg>
        <pc:spChg chg="add del mod">
          <ac:chgData name="Kebba Jeng" userId="fe4cc296-ba7d-48a2-8799-89b58d218255" providerId="ADAL" clId="{388EFDEE-447E-42B4-98EF-30C01AB2E8CD}" dt="2022-03-28T18:10:11.828" v="2722"/>
          <ac:spMkLst>
            <pc:docMk/>
            <pc:sldMk cId="1852388011" sldId="2134803542"/>
            <ac:spMk id="378" creationId="{7D9AE69B-11C2-446D-8F89-E4A810A55924}"/>
          </ac:spMkLst>
        </pc:spChg>
        <pc:spChg chg="add del mod">
          <ac:chgData name="Kebba Jeng" userId="fe4cc296-ba7d-48a2-8799-89b58d218255" providerId="ADAL" clId="{388EFDEE-447E-42B4-98EF-30C01AB2E8CD}" dt="2022-03-28T18:10:11.828" v="2722"/>
          <ac:spMkLst>
            <pc:docMk/>
            <pc:sldMk cId="1852388011" sldId="2134803542"/>
            <ac:spMk id="379" creationId="{60AE6094-1716-4E82-B9C7-8D493D956EFB}"/>
          </ac:spMkLst>
        </pc:spChg>
        <pc:spChg chg="add del mod">
          <ac:chgData name="Kebba Jeng" userId="fe4cc296-ba7d-48a2-8799-89b58d218255" providerId="ADAL" clId="{388EFDEE-447E-42B4-98EF-30C01AB2E8CD}" dt="2022-03-28T18:10:11.828" v="2722"/>
          <ac:spMkLst>
            <pc:docMk/>
            <pc:sldMk cId="1852388011" sldId="2134803542"/>
            <ac:spMk id="380" creationId="{A43BFF42-3EDE-4F90-8766-6CE8A4DE918A}"/>
          </ac:spMkLst>
        </pc:spChg>
        <pc:spChg chg="add del mod">
          <ac:chgData name="Kebba Jeng" userId="fe4cc296-ba7d-48a2-8799-89b58d218255" providerId="ADAL" clId="{388EFDEE-447E-42B4-98EF-30C01AB2E8CD}" dt="2022-03-28T18:10:11.828" v="2722"/>
          <ac:spMkLst>
            <pc:docMk/>
            <pc:sldMk cId="1852388011" sldId="2134803542"/>
            <ac:spMk id="381" creationId="{9177188F-4119-4A8A-929C-C46CCFE697B6}"/>
          </ac:spMkLst>
        </pc:spChg>
        <pc:spChg chg="add del mod">
          <ac:chgData name="Kebba Jeng" userId="fe4cc296-ba7d-48a2-8799-89b58d218255" providerId="ADAL" clId="{388EFDEE-447E-42B4-98EF-30C01AB2E8CD}" dt="2022-03-28T18:10:11.828" v="2722"/>
          <ac:spMkLst>
            <pc:docMk/>
            <pc:sldMk cId="1852388011" sldId="2134803542"/>
            <ac:spMk id="382" creationId="{DA60EA5E-25AD-4BCA-ABE7-7FE22579403F}"/>
          </ac:spMkLst>
        </pc:spChg>
        <pc:spChg chg="add del mod">
          <ac:chgData name="Kebba Jeng" userId="fe4cc296-ba7d-48a2-8799-89b58d218255" providerId="ADAL" clId="{388EFDEE-447E-42B4-98EF-30C01AB2E8CD}" dt="2022-03-28T18:10:11.828" v="2722"/>
          <ac:spMkLst>
            <pc:docMk/>
            <pc:sldMk cId="1852388011" sldId="2134803542"/>
            <ac:spMk id="383" creationId="{A2DC581E-A4FE-415C-9310-A1760AD77BD6}"/>
          </ac:spMkLst>
        </pc:spChg>
        <pc:spChg chg="add del mod">
          <ac:chgData name="Kebba Jeng" userId="fe4cc296-ba7d-48a2-8799-89b58d218255" providerId="ADAL" clId="{388EFDEE-447E-42B4-98EF-30C01AB2E8CD}" dt="2022-03-28T18:10:11.828" v="2722"/>
          <ac:spMkLst>
            <pc:docMk/>
            <pc:sldMk cId="1852388011" sldId="2134803542"/>
            <ac:spMk id="384" creationId="{8BFCBF49-52AE-472A-95AA-68B660F9DFF8}"/>
          </ac:spMkLst>
        </pc:spChg>
        <pc:spChg chg="add del mod">
          <ac:chgData name="Kebba Jeng" userId="fe4cc296-ba7d-48a2-8799-89b58d218255" providerId="ADAL" clId="{388EFDEE-447E-42B4-98EF-30C01AB2E8CD}" dt="2022-03-28T18:10:11.828" v="2722"/>
          <ac:spMkLst>
            <pc:docMk/>
            <pc:sldMk cId="1852388011" sldId="2134803542"/>
            <ac:spMk id="385" creationId="{8A4C3AE3-6D49-4A07-B3CC-1D32F40457FD}"/>
          </ac:spMkLst>
        </pc:spChg>
        <pc:spChg chg="add del mod">
          <ac:chgData name="Kebba Jeng" userId="fe4cc296-ba7d-48a2-8799-89b58d218255" providerId="ADAL" clId="{388EFDEE-447E-42B4-98EF-30C01AB2E8CD}" dt="2022-03-28T18:10:11.828" v="2722"/>
          <ac:spMkLst>
            <pc:docMk/>
            <pc:sldMk cId="1852388011" sldId="2134803542"/>
            <ac:spMk id="386" creationId="{7A5FF7EC-D439-43BD-8099-5506803791F6}"/>
          </ac:spMkLst>
        </pc:spChg>
        <pc:spChg chg="add del mod">
          <ac:chgData name="Kebba Jeng" userId="fe4cc296-ba7d-48a2-8799-89b58d218255" providerId="ADAL" clId="{388EFDEE-447E-42B4-98EF-30C01AB2E8CD}" dt="2022-03-28T18:10:11.828" v="2722"/>
          <ac:spMkLst>
            <pc:docMk/>
            <pc:sldMk cId="1852388011" sldId="2134803542"/>
            <ac:spMk id="387" creationId="{2AD6A45C-15D5-41DB-8A85-C9174BDB1BD2}"/>
          </ac:spMkLst>
        </pc:spChg>
        <pc:spChg chg="add del mod">
          <ac:chgData name="Kebba Jeng" userId="fe4cc296-ba7d-48a2-8799-89b58d218255" providerId="ADAL" clId="{388EFDEE-447E-42B4-98EF-30C01AB2E8CD}" dt="2022-03-28T18:10:11.828" v="2722"/>
          <ac:spMkLst>
            <pc:docMk/>
            <pc:sldMk cId="1852388011" sldId="2134803542"/>
            <ac:spMk id="388" creationId="{9BF740DA-11A3-4A07-85D1-01BD41C60F27}"/>
          </ac:spMkLst>
        </pc:spChg>
        <pc:spChg chg="add del mod">
          <ac:chgData name="Kebba Jeng" userId="fe4cc296-ba7d-48a2-8799-89b58d218255" providerId="ADAL" clId="{388EFDEE-447E-42B4-98EF-30C01AB2E8CD}" dt="2022-03-28T18:10:11.828" v="2722"/>
          <ac:spMkLst>
            <pc:docMk/>
            <pc:sldMk cId="1852388011" sldId="2134803542"/>
            <ac:spMk id="389" creationId="{4568DBE3-B7DE-436C-9E41-2BBA3636D1AD}"/>
          </ac:spMkLst>
        </pc:spChg>
        <pc:spChg chg="add del mod">
          <ac:chgData name="Kebba Jeng" userId="fe4cc296-ba7d-48a2-8799-89b58d218255" providerId="ADAL" clId="{388EFDEE-447E-42B4-98EF-30C01AB2E8CD}" dt="2022-03-28T18:10:11.828" v="2722"/>
          <ac:spMkLst>
            <pc:docMk/>
            <pc:sldMk cId="1852388011" sldId="2134803542"/>
            <ac:spMk id="390" creationId="{A65B491F-C4DB-4C8E-BE5D-486F0D4AE10B}"/>
          </ac:spMkLst>
        </pc:spChg>
        <pc:spChg chg="add del mod">
          <ac:chgData name="Kebba Jeng" userId="fe4cc296-ba7d-48a2-8799-89b58d218255" providerId="ADAL" clId="{388EFDEE-447E-42B4-98EF-30C01AB2E8CD}" dt="2022-03-28T18:10:11.828" v="2722"/>
          <ac:spMkLst>
            <pc:docMk/>
            <pc:sldMk cId="1852388011" sldId="2134803542"/>
            <ac:spMk id="391" creationId="{33DBF3A3-AAB7-4A39-9568-E7FB01C703C3}"/>
          </ac:spMkLst>
        </pc:spChg>
        <pc:spChg chg="add del mod">
          <ac:chgData name="Kebba Jeng" userId="fe4cc296-ba7d-48a2-8799-89b58d218255" providerId="ADAL" clId="{388EFDEE-447E-42B4-98EF-30C01AB2E8CD}" dt="2022-03-28T18:10:11.828" v="2722"/>
          <ac:spMkLst>
            <pc:docMk/>
            <pc:sldMk cId="1852388011" sldId="2134803542"/>
            <ac:spMk id="392" creationId="{BAA695A2-441C-4590-B55B-D10D0A673B76}"/>
          </ac:spMkLst>
        </pc:spChg>
        <pc:spChg chg="add del mod">
          <ac:chgData name="Kebba Jeng" userId="fe4cc296-ba7d-48a2-8799-89b58d218255" providerId="ADAL" clId="{388EFDEE-447E-42B4-98EF-30C01AB2E8CD}" dt="2022-03-28T18:10:11.828" v="2722"/>
          <ac:spMkLst>
            <pc:docMk/>
            <pc:sldMk cId="1852388011" sldId="2134803542"/>
            <ac:spMk id="393" creationId="{572BC242-CC4B-44DE-B8FB-3BE91C71D45B}"/>
          </ac:spMkLst>
        </pc:spChg>
        <pc:spChg chg="add del mod">
          <ac:chgData name="Kebba Jeng" userId="fe4cc296-ba7d-48a2-8799-89b58d218255" providerId="ADAL" clId="{388EFDEE-447E-42B4-98EF-30C01AB2E8CD}" dt="2022-03-28T18:10:11.828" v="2722"/>
          <ac:spMkLst>
            <pc:docMk/>
            <pc:sldMk cId="1852388011" sldId="2134803542"/>
            <ac:spMk id="394" creationId="{46D22FD7-97C1-43F3-9CAE-62BFA8E1F542}"/>
          </ac:spMkLst>
        </pc:spChg>
        <pc:spChg chg="add del mod">
          <ac:chgData name="Kebba Jeng" userId="fe4cc296-ba7d-48a2-8799-89b58d218255" providerId="ADAL" clId="{388EFDEE-447E-42B4-98EF-30C01AB2E8CD}" dt="2022-03-28T18:10:11.828" v="2722"/>
          <ac:spMkLst>
            <pc:docMk/>
            <pc:sldMk cId="1852388011" sldId="2134803542"/>
            <ac:spMk id="395" creationId="{BEBBB8DD-4E2A-4064-9150-3CD470003505}"/>
          </ac:spMkLst>
        </pc:spChg>
        <pc:spChg chg="add del mod">
          <ac:chgData name="Kebba Jeng" userId="fe4cc296-ba7d-48a2-8799-89b58d218255" providerId="ADAL" clId="{388EFDEE-447E-42B4-98EF-30C01AB2E8CD}" dt="2022-03-28T18:10:11.828" v="2722"/>
          <ac:spMkLst>
            <pc:docMk/>
            <pc:sldMk cId="1852388011" sldId="2134803542"/>
            <ac:spMk id="396" creationId="{1BDE9CD2-4C5F-44FE-A648-CEE9E3F3B0EE}"/>
          </ac:spMkLst>
        </pc:spChg>
        <pc:spChg chg="add del mod">
          <ac:chgData name="Kebba Jeng" userId="fe4cc296-ba7d-48a2-8799-89b58d218255" providerId="ADAL" clId="{388EFDEE-447E-42B4-98EF-30C01AB2E8CD}" dt="2022-03-28T18:10:11.828" v="2722"/>
          <ac:spMkLst>
            <pc:docMk/>
            <pc:sldMk cId="1852388011" sldId="2134803542"/>
            <ac:spMk id="397" creationId="{2DF1F852-C1A8-4F20-893D-22BA4AD86CF6}"/>
          </ac:spMkLst>
        </pc:spChg>
        <pc:spChg chg="add del mod">
          <ac:chgData name="Kebba Jeng" userId="fe4cc296-ba7d-48a2-8799-89b58d218255" providerId="ADAL" clId="{388EFDEE-447E-42B4-98EF-30C01AB2E8CD}" dt="2022-03-28T18:10:11.828" v="2722"/>
          <ac:spMkLst>
            <pc:docMk/>
            <pc:sldMk cId="1852388011" sldId="2134803542"/>
            <ac:spMk id="398" creationId="{B4AF14C6-C7ED-4ED3-B218-C9C17B658E88}"/>
          </ac:spMkLst>
        </pc:spChg>
        <pc:spChg chg="add del mod">
          <ac:chgData name="Kebba Jeng" userId="fe4cc296-ba7d-48a2-8799-89b58d218255" providerId="ADAL" clId="{388EFDEE-447E-42B4-98EF-30C01AB2E8CD}" dt="2022-03-28T18:10:11.828" v="2722"/>
          <ac:spMkLst>
            <pc:docMk/>
            <pc:sldMk cId="1852388011" sldId="2134803542"/>
            <ac:spMk id="399" creationId="{036B8234-C2B6-4AC6-8B65-57B035E89DC6}"/>
          </ac:spMkLst>
        </pc:spChg>
        <pc:spChg chg="add del mod">
          <ac:chgData name="Kebba Jeng" userId="fe4cc296-ba7d-48a2-8799-89b58d218255" providerId="ADAL" clId="{388EFDEE-447E-42B4-98EF-30C01AB2E8CD}" dt="2022-03-28T18:10:11.828" v="2722"/>
          <ac:spMkLst>
            <pc:docMk/>
            <pc:sldMk cId="1852388011" sldId="2134803542"/>
            <ac:spMk id="400" creationId="{F536C4BF-C738-4816-8ADD-2FCED92C67B6}"/>
          </ac:spMkLst>
        </pc:spChg>
        <pc:spChg chg="add del mod">
          <ac:chgData name="Kebba Jeng" userId="fe4cc296-ba7d-48a2-8799-89b58d218255" providerId="ADAL" clId="{388EFDEE-447E-42B4-98EF-30C01AB2E8CD}" dt="2022-03-28T18:10:11.828" v="2722"/>
          <ac:spMkLst>
            <pc:docMk/>
            <pc:sldMk cId="1852388011" sldId="2134803542"/>
            <ac:spMk id="401" creationId="{8BA6F9DF-29B6-4543-AA92-2B360B8D7BAC}"/>
          </ac:spMkLst>
        </pc:spChg>
        <pc:spChg chg="add del mod">
          <ac:chgData name="Kebba Jeng" userId="fe4cc296-ba7d-48a2-8799-89b58d218255" providerId="ADAL" clId="{388EFDEE-447E-42B4-98EF-30C01AB2E8CD}" dt="2022-03-28T18:10:11.828" v="2722"/>
          <ac:spMkLst>
            <pc:docMk/>
            <pc:sldMk cId="1852388011" sldId="2134803542"/>
            <ac:spMk id="402" creationId="{A0FE604B-5DBB-4986-9BEE-A489504BA32A}"/>
          </ac:spMkLst>
        </pc:spChg>
        <pc:spChg chg="add del mod">
          <ac:chgData name="Kebba Jeng" userId="fe4cc296-ba7d-48a2-8799-89b58d218255" providerId="ADAL" clId="{388EFDEE-447E-42B4-98EF-30C01AB2E8CD}" dt="2022-03-28T18:10:11.828" v="2722"/>
          <ac:spMkLst>
            <pc:docMk/>
            <pc:sldMk cId="1852388011" sldId="2134803542"/>
            <ac:spMk id="403" creationId="{3031B658-DB88-4D8F-AE84-C26578722B28}"/>
          </ac:spMkLst>
        </pc:spChg>
        <pc:spChg chg="add del mod">
          <ac:chgData name="Kebba Jeng" userId="fe4cc296-ba7d-48a2-8799-89b58d218255" providerId="ADAL" clId="{388EFDEE-447E-42B4-98EF-30C01AB2E8CD}" dt="2022-03-28T18:10:11.828" v="2722"/>
          <ac:spMkLst>
            <pc:docMk/>
            <pc:sldMk cId="1852388011" sldId="2134803542"/>
            <ac:spMk id="404" creationId="{DAD7C823-C6D8-47C4-A81D-CB772B537EE0}"/>
          </ac:spMkLst>
        </pc:spChg>
        <pc:spChg chg="add del mod">
          <ac:chgData name="Kebba Jeng" userId="fe4cc296-ba7d-48a2-8799-89b58d218255" providerId="ADAL" clId="{388EFDEE-447E-42B4-98EF-30C01AB2E8CD}" dt="2022-03-28T18:10:11.828" v="2722"/>
          <ac:spMkLst>
            <pc:docMk/>
            <pc:sldMk cId="1852388011" sldId="2134803542"/>
            <ac:spMk id="405" creationId="{340DF83D-1196-4EE9-BDFC-7D779B3E25C5}"/>
          </ac:spMkLst>
        </pc:spChg>
        <pc:spChg chg="add del mod">
          <ac:chgData name="Kebba Jeng" userId="fe4cc296-ba7d-48a2-8799-89b58d218255" providerId="ADAL" clId="{388EFDEE-447E-42B4-98EF-30C01AB2E8CD}" dt="2022-03-28T18:10:11.828" v="2722"/>
          <ac:spMkLst>
            <pc:docMk/>
            <pc:sldMk cId="1852388011" sldId="2134803542"/>
            <ac:spMk id="406" creationId="{CF863E96-DC84-45A2-958E-E7AE8F014658}"/>
          </ac:spMkLst>
        </pc:spChg>
        <pc:spChg chg="add del mod">
          <ac:chgData name="Kebba Jeng" userId="fe4cc296-ba7d-48a2-8799-89b58d218255" providerId="ADAL" clId="{388EFDEE-447E-42B4-98EF-30C01AB2E8CD}" dt="2022-03-28T18:10:11.828" v="2722"/>
          <ac:spMkLst>
            <pc:docMk/>
            <pc:sldMk cId="1852388011" sldId="2134803542"/>
            <ac:spMk id="407" creationId="{69A2EBAA-E93F-4BE5-A4DB-19380247FA9B}"/>
          </ac:spMkLst>
        </pc:spChg>
        <pc:spChg chg="add del mod">
          <ac:chgData name="Kebba Jeng" userId="fe4cc296-ba7d-48a2-8799-89b58d218255" providerId="ADAL" clId="{388EFDEE-447E-42B4-98EF-30C01AB2E8CD}" dt="2022-03-28T18:10:11.828" v="2722"/>
          <ac:spMkLst>
            <pc:docMk/>
            <pc:sldMk cId="1852388011" sldId="2134803542"/>
            <ac:spMk id="408" creationId="{2C4C4D10-AEAD-4450-8F5C-A4A3C628B76F}"/>
          </ac:spMkLst>
        </pc:spChg>
        <pc:spChg chg="add del mod">
          <ac:chgData name="Kebba Jeng" userId="fe4cc296-ba7d-48a2-8799-89b58d218255" providerId="ADAL" clId="{388EFDEE-447E-42B4-98EF-30C01AB2E8CD}" dt="2022-03-28T18:10:11.828" v="2722"/>
          <ac:spMkLst>
            <pc:docMk/>
            <pc:sldMk cId="1852388011" sldId="2134803542"/>
            <ac:spMk id="409" creationId="{BDDCBA15-41EC-4E4C-AB3F-5E62660F72CC}"/>
          </ac:spMkLst>
        </pc:spChg>
        <pc:spChg chg="add del mod">
          <ac:chgData name="Kebba Jeng" userId="fe4cc296-ba7d-48a2-8799-89b58d218255" providerId="ADAL" clId="{388EFDEE-447E-42B4-98EF-30C01AB2E8CD}" dt="2022-03-28T18:10:11.828" v="2722"/>
          <ac:spMkLst>
            <pc:docMk/>
            <pc:sldMk cId="1852388011" sldId="2134803542"/>
            <ac:spMk id="410" creationId="{62AEFAB3-FA77-426A-8366-4A4F281B7087}"/>
          </ac:spMkLst>
        </pc:spChg>
        <pc:spChg chg="add mod">
          <ac:chgData name="Kebba Jeng" userId="fe4cc296-ba7d-48a2-8799-89b58d218255" providerId="ADAL" clId="{388EFDEE-447E-42B4-98EF-30C01AB2E8CD}" dt="2022-03-28T18:22:56.964" v="2878" actId="1076"/>
          <ac:spMkLst>
            <pc:docMk/>
            <pc:sldMk cId="1852388011" sldId="2134803542"/>
            <ac:spMk id="414" creationId="{6E70624B-820D-45A7-9DB8-2166056F1374}"/>
          </ac:spMkLst>
        </pc:spChg>
        <pc:spChg chg="add mod">
          <ac:chgData name="Kebba Jeng" userId="fe4cc296-ba7d-48a2-8799-89b58d218255" providerId="ADAL" clId="{388EFDEE-447E-42B4-98EF-30C01AB2E8CD}" dt="2022-03-28T18:22:56.964" v="2878" actId="1076"/>
          <ac:spMkLst>
            <pc:docMk/>
            <pc:sldMk cId="1852388011" sldId="2134803542"/>
            <ac:spMk id="415" creationId="{66391A57-C7E4-4726-917D-6BEE196AD60C}"/>
          </ac:spMkLst>
        </pc:spChg>
        <pc:spChg chg="add mod">
          <ac:chgData name="Kebba Jeng" userId="fe4cc296-ba7d-48a2-8799-89b58d218255" providerId="ADAL" clId="{388EFDEE-447E-42B4-98EF-30C01AB2E8CD}" dt="2022-03-28T18:22:56.964" v="2878" actId="1076"/>
          <ac:spMkLst>
            <pc:docMk/>
            <pc:sldMk cId="1852388011" sldId="2134803542"/>
            <ac:spMk id="416" creationId="{332C25AE-26CC-4BEA-BB1D-470A85712EF1}"/>
          </ac:spMkLst>
        </pc:spChg>
        <pc:spChg chg="add mod">
          <ac:chgData name="Kebba Jeng" userId="fe4cc296-ba7d-48a2-8799-89b58d218255" providerId="ADAL" clId="{388EFDEE-447E-42B4-98EF-30C01AB2E8CD}" dt="2022-03-28T18:22:56.964" v="2878" actId="1076"/>
          <ac:spMkLst>
            <pc:docMk/>
            <pc:sldMk cId="1852388011" sldId="2134803542"/>
            <ac:spMk id="417" creationId="{69EB01B7-7DC1-49E7-8F88-B72ED4FC5E4C}"/>
          </ac:spMkLst>
        </pc:spChg>
        <pc:spChg chg="add del mod">
          <ac:chgData name="Kebba Jeng" userId="fe4cc296-ba7d-48a2-8799-89b58d218255" providerId="ADAL" clId="{388EFDEE-447E-42B4-98EF-30C01AB2E8CD}" dt="2022-03-28T18:15:33.786" v="2817" actId="478"/>
          <ac:spMkLst>
            <pc:docMk/>
            <pc:sldMk cId="1852388011" sldId="2134803542"/>
            <ac:spMk id="423" creationId="{4FF894B1-FDD3-4691-98EB-0E2F6BBB0B5B}"/>
          </ac:spMkLst>
        </pc:spChg>
        <pc:spChg chg="add del mod">
          <ac:chgData name="Kebba Jeng" userId="fe4cc296-ba7d-48a2-8799-89b58d218255" providerId="ADAL" clId="{388EFDEE-447E-42B4-98EF-30C01AB2E8CD}" dt="2022-03-28T18:15:33.786" v="2817" actId="478"/>
          <ac:spMkLst>
            <pc:docMk/>
            <pc:sldMk cId="1852388011" sldId="2134803542"/>
            <ac:spMk id="424" creationId="{EED90C52-40D7-4180-B02E-691349404A94}"/>
          </ac:spMkLst>
        </pc:spChg>
        <pc:spChg chg="add mod">
          <ac:chgData name="Kebba Jeng" userId="fe4cc296-ba7d-48a2-8799-89b58d218255" providerId="ADAL" clId="{388EFDEE-447E-42B4-98EF-30C01AB2E8CD}" dt="2022-03-28T18:22:56.964" v="2878" actId="1076"/>
          <ac:spMkLst>
            <pc:docMk/>
            <pc:sldMk cId="1852388011" sldId="2134803542"/>
            <ac:spMk id="425" creationId="{AF49E900-EDB8-4429-BF99-BA782B1C5926}"/>
          </ac:spMkLst>
        </pc:spChg>
        <pc:spChg chg="add mod">
          <ac:chgData name="Kebba Jeng" userId="fe4cc296-ba7d-48a2-8799-89b58d218255" providerId="ADAL" clId="{388EFDEE-447E-42B4-98EF-30C01AB2E8CD}" dt="2022-03-28T18:22:56.964" v="2878" actId="1076"/>
          <ac:spMkLst>
            <pc:docMk/>
            <pc:sldMk cId="1852388011" sldId="2134803542"/>
            <ac:spMk id="426" creationId="{92BFEC0C-39C6-4723-8440-488CBDA0237F}"/>
          </ac:spMkLst>
        </pc:spChg>
        <pc:spChg chg="add mod">
          <ac:chgData name="Kebba Jeng" userId="fe4cc296-ba7d-48a2-8799-89b58d218255" providerId="ADAL" clId="{388EFDEE-447E-42B4-98EF-30C01AB2E8CD}" dt="2022-03-28T18:22:56.964" v="2878" actId="1076"/>
          <ac:spMkLst>
            <pc:docMk/>
            <pc:sldMk cId="1852388011" sldId="2134803542"/>
            <ac:spMk id="427" creationId="{2B4F1D0F-3092-4B7D-BD6A-F347198A0726}"/>
          </ac:spMkLst>
        </pc:spChg>
        <pc:spChg chg="add mod">
          <ac:chgData name="Kebba Jeng" userId="fe4cc296-ba7d-48a2-8799-89b58d218255" providerId="ADAL" clId="{388EFDEE-447E-42B4-98EF-30C01AB2E8CD}" dt="2022-03-28T18:22:56.964" v="2878" actId="1076"/>
          <ac:spMkLst>
            <pc:docMk/>
            <pc:sldMk cId="1852388011" sldId="2134803542"/>
            <ac:spMk id="428" creationId="{9AF77E6E-A66D-4BB3-AE42-2E11657B35D8}"/>
          </ac:spMkLst>
        </pc:spChg>
        <pc:spChg chg="add mod">
          <ac:chgData name="Kebba Jeng" userId="fe4cc296-ba7d-48a2-8799-89b58d218255" providerId="ADAL" clId="{388EFDEE-447E-42B4-98EF-30C01AB2E8CD}" dt="2022-03-28T18:22:56.964" v="2878" actId="1076"/>
          <ac:spMkLst>
            <pc:docMk/>
            <pc:sldMk cId="1852388011" sldId="2134803542"/>
            <ac:spMk id="429" creationId="{325C49B1-3C3D-413F-818E-C035513CB738}"/>
          </ac:spMkLst>
        </pc:spChg>
        <pc:spChg chg="del">
          <ac:chgData name="Kebba Jeng" userId="fe4cc296-ba7d-48a2-8799-89b58d218255" providerId="ADAL" clId="{388EFDEE-447E-42B4-98EF-30C01AB2E8CD}" dt="2022-03-28T18:09:44.889" v="2714" actId="478"/>
          <ac:spMkLst>
            <pc:docMk/>
            <pc:sldMk cId="1852388011" sldId="2134803542"/>
            <ac:spMk id="1112" creationId="{F14CFA2A-1C72-43E9-937D-93FCE1820995}"/>
          </ac:spMkLst>
        </pc:spChg>
        <pc:spChg chg="del">
          <ac:chgData name="Kebba Jeng" userId="fe4cc296-ba7d-48a2-8799-89b58d218255" providerId="ADAL" clId="{388EFDEE-447E-42B4-98EF-30C01AB2E8CD}" dt="2022-03-28T18:09:44.889" v="2714" actId="478"/>
          <ac:spMkLst>
            <pc:docMk/>
            <pc:sldMk cId="1852388011" sldId="2134803542"/>
            <ac:spMk id="1113" creationId="{892717BF-3EE1-48E7-AF9C-D1059AD041E0}"/>
          </ac:spMkLst>
        </pc:spChg>
        <pc:spChg chg="add mod">
          <ac:chgData name="Kebba Jeng" userId="fe4cc296-ba7d-48a2-8799-89b58d218255" providerId="ADAL" clId="{388EFDEE-447E-42B4-98EF-30C01AB2E8CD}" dt="2022-03-28T18:22:56.964" v="2878" actId="1076"/>
          <ac:spMkLst>
            <pc:docMk/>
            <pc:sldMk cId="1852388011" sldId="2134803542"/>
            <ac:spMk id="1882" creationId="{CB682833-4826-48B1-A7A8-6F9F41CEF769}"/>
          </ac:spMkLst>
        </pc:spChg>
        <pc:spChg chg="del">
          <ac:chgData name="Kebba Jeng" userId="fe4cc296-ba7d-48a2-8799-89b58d218255" providerId="ADAL" clId="{388EFDEE-447E-42B4-98EF-30C01AB2E8CD}" dt="2022-03-28T18:09:44.889" v="2714" actId="478"/>
          <ac:spMkLst>
            <pc:docMk/>
            <pc:sldMk cId="1852388011" sldId="2134803542"/>
            <ac:spMk id="1891" creationId="{9F2A9366-C2B7-4701-9311-32D822031E99}"/>
          </ac:spMkLst>
        </pc:spChg>
        <pc:spChg chg="del">
          <ac:chgData name="Kebba Jeng" userId="fe4cc296-ba7d-48a2-8799-89b58d218255" providerId="ADAL" clId="{388EFDEE-447E-42B4-98EF-30C01AB2E8CD}" dt="2022-03-28T18:09:44.889" v="2714" actId="478"/>
          <ac:spMkLst>
            <pc:docMk/>
            <pc:sldMk cId="1852388011" sldId="2134803542"/>
            <ac:spMk id="1892" creationId="{B4DAC36F-1CBB-40E5-9DBF-9C98975C2DA7}"/>
          </ac:spMkLst>
        </pc:spChg>
        <pc:spChg chg="del">
          <ac:chgData name="Kebba Jeng" userId="fe4cc296-ba7d-48a2-8799-89b58d218255" providerId="ADAL" clId="{388EFDEE-447E-42B4-98EF-30C01AB2E8CD}" dt="2022-03-28T18:09:44.889" v="2714" actId="478"/>
          <ac:spMkLst>
            <pc:docMk/>
            <pc:sldMk cId="1852388011" sldId="2134803542"/>
            <ac:spMk id="1893" creationId="{759EE0F5-4E97-4309-9E36-F8398C06B3A8}"/>
          </ac:spMkLst>
        </pc:spChg>
        <pc:spChg chg="del">
          <ac:chgData name="Kebba Jeng" userId="fe4cc296-ba7d-48a2-8799-89b58d218255" providerId="ADAL" clId="{388EFDEE-447E-42B4-98EF-30C01AB2E8CD}" dt="2022-03-28T18:09:47.816" v="2715" actId="478"/>
          <ac:spMkLst>
            <pc:docMk/>
            <pc:sldMk cId="1852388011" sldId="2134803542"/>
            <ac:spMk id="1894" creationId="{E466B3DC-888E-4679-9A1B-E18944BA62AD}"/>
          </ac:spMkLst>
        </pc:spChg>
        <pc:spChg chg="del">
          <ac:chgData name="Kebba Jeng" userId="fe4cc296-ba7d-48a2-8799-89b58d218255" providerId="ADAL" clId="{388EFDEE-447E-42B4-98EF-30C01AB2E8CD}" dt="2022-03-28T18:09:44.889" v="2714" actId="478"/>
          <ac:spMkLst>
            <pc:docMk/>
            <pc:sldMk cId="1852388011" sldId="2134803542"/>
            <ac:spMk id="1895" creationId="{4416A948-B53D-4E74-AA0D-813A57E5BF0C}"/>
          </ac:spMkLst>
        </pc:spChg>
        <pc:spChg chg="del">
          <ac:chgData name="Kebba Jeng" userId="fe4cc296-ba7d-48a2-8799-89b58d218255" providerId="ADAL" clId="{388EFDEE-447E-42B4-98EF-30C01AB2E8CD}" dt="2022-03-28T18:09:44.889" v="2714" actId="478"/>
          <ac:spMkLst>
            <pc:docMk/>
            <pc:sldMk cId="1852388011" sldId="2134803542"/>
            <ac:spMk id="1896" creationId="{4A5937D3-B3B5-486F-AAE3-578961016B35}"/>
          </ac:spMkLst>
        </pc:spChg>
        <pc:spChg chg="del">
          <ac:chgData name="Kebba Jeng" userId="fe4cc296-ba7d-48a2-8799-89b58d218255" providerId="ADAL" clId="{388EFDEE-447E-42B4-98EF-30C01AB2E8CD}" dt="2022-03-28T18:09:47.816" v="2715" actId="478"/>
          <ac:spMkLst>
            <pc:docMk/>
            <pc:sldMk cId="1852388011" sldId="2134803542"/>
            <ac:spMk id="1897" creationId="{671D742B-2FFD-4344-9250-71A059C11927}"/>
          </ac:spMkLst>
        </pc:spChg>
        <pc:spChg chg="del">
          <ac:chgData name="Kebba Jeng" userId="fe4cc296-ba7d-48a2-8799-89b58d218255" providerId="ADAL" clId="{388EFDEE-447E-42B4-98EF-30C01AB2E8CD}" dt="2022-03-28T18:09:44.889" v="2714" actId="478"/>
          <ac:spMkLst>
            <pc:docMk/>
            <pc:sldMk cId="1852388011" sldId="2134803542"/>
            <ac:spMk id="1898" creationId="{9965CFE3-F405-4532-A9AD-DBF78C38C08F}"/>
          </ac:spMkLst>
        </pc:spChg>
        <pc:picChg chg="add mod">
          <ac:chgData name="Kebba Jeng" userId="fe4cc296-ba7d-48a2-8799-89b58d218255" providerId="ADAL" clId="{388EFDEE-447E-42B4-98EF-30C01AB2E8CD}" dt="2022-03-28T18:22:56.964" v="2878" actId="1076"/>
          <ac:picMkLst>
            <pc:docMk/>
            <pc:sldMk cId="1852388011" sldId="2134803542"/>
            <ac:picMk id="4" creationId="{C0211300-76FB-4807-A3FD-23E802636BD3}"/>
          </ac:picMkLst>
        </pc:picChg>
        <pc:picChg chg="del">
          <ac:chgData name="Kebba Jeng" userId="fe4cc296-ba7d-48a2-8799-89b58d218255" providerId="ADAL" clId="{388EFDEE-447E-42B4-98EF-30C01AB2E8CD}" dt="2022-03-28T18:09:44.889" v="2714" actId="478"/>
          <ac:picMkLst>
            <pc:docMk/>
            <pc:sldMk cId="1852388011" sldId="2134803542"/>
            <ac:picMk id="5" creationId="{4B0810EB-FF18-46B7-8B00-8AC6D9C4AF79}"/>
          </ac:picMkLst>
        </pc:picChg>
        <pc:picChg chg="del">
          <ac:chgData name="Kebba Jeng" userId="fe4cc296-ba7d-48a2-8799-89b58d218255" providerId="ADAL" clId="{388EFDEE-447E-42B4-98EF-30C01AB2E8CD}" dt="2022-03-28T18:09:44.889" v="2714" actId="478"/>
          <ac:picMkLst>
            <pc:docMk/>
            <pc:sldMk cId="1852388011" sldId="2134803542"/>
            <ac:picMk id="6" creationId="{0EBFF919-8803-4A9C-A014-4026BA78917D}"/>
          </ac:picMkLst>
        </pc:picChg>
        <pc:picChg chg="del">
          <ac:chgData name="Kebba Jeng" userId="fe4cc296-ba7d-48a2-8799-89b58d218255" providerId="ADAL" clId="{388EFDEE-447E-42B4-98EF-30C01AB2E8CD}" dt="2022-03-28T18:09:44.889" v="2714" actId="478"/>
          <ac:picMkLst>
            <pc:docMk/>
            <pc:sldMk cId="1852388011" sldId="2134803542"/>
            <ac:picMk id="7" creationId="{D0CEEC6D-920A-4BEB-8B28-6610031F589F}"/>
          </ac:picMkLst>
        </pc:picChg>
        <pc:picChg chg="add mod">
          <ac:chgData name="Kebba Jeng" userId="fe4cc296-ba7d-48a2-8799-89b58d218255" providerId="ADAL" clId="{388EFDEE-447E-42B4-98EF-30C01AB2E8CD}" dt="2022-03-28T18:22:56.964" v="2878" actId="1076"/>
          <ac:picMkLst>
            <pc:docMk/>
            <pc:sldMk cId="1852388011" sldId="2134803542"/>
            <ac:picMk id="418" creationId="{8DF8607A-F34F-47CE-9F9F-AA7872A7AA07}"/>
          </ac:picMkLst>
        </pc:picChg>
        <pc:picChg chg="add mod">
          <ac:chgData name="Kebba Jeng" userId="fe4cc296-ba7d-48a2-8799-89b58d218255" providerId="ADAL" clId="{388EFDEE-447E-42B4-98EF-30C01AB2E8CD}" dt="2022-03-28T18:22:56.964" v="2878" actId="1076"/>
          <ac:picMkLst>
            <pc:docMk/>
            <pc:sldMk cId="1852388011" sldId="2134803542"/>
            <ac:picMk id="419" creationId="{250AF66A-E695-46AA-B50F-CE65E2A363CB}"/>
          </ac:picMkLst>
        </pc:picChg>
        <pc:cxnChg chg="add del mod">
          <ac:chgData name="Kebba Jeng" userId="fe4cc296-ba7d-48a2-8799-89b58d218255" providerId="ADAL" clId="{388EFDEE-447E-42B4-98EF-30C01AB2E8CD}" dt="2022-03-28T18:13:44.451" v="2757" actId="478"/>
          <ac:cxnSpMkLst>
            <pc:docMk/>
            <pc:sldMk cId="1852388011" sldId="2134803542"/>
            <ac:cxnSpMk id="13" creationId="{889057D9-7A34-4797-86A9-03A933599F67}"/>
          </ac:cxnSpMkLst>
        </pc:cxnChg>
        <pc:cxnChg chg="add del">
          <ac:chgData name="Kebba Jeng" userId="fe4cc296-ba7d-48a2-8799-89b58d218255" providerId="ADAL" clId="{388EFDEE-447E-42B4-98EF-30C01AB2E8CD}" dt="2022-03-28T18:17:17.913" v="2835" actId="478"/>
          <ac:cxnSpMkLst>
            <pc:docMk/>
            <pc:sldMk cId="1852388011" sldId="2134803542"/>
            <ac:cxnSpMk id="16" creationId="{031BAFF6-AAAF-45C9-93C5-C0B9608ACB8A}"/>
          </ac:cxnSpMkLst>
        </pc:cxnChg>
        <pc:cxnChg chg="add mod">
          <ac:chgData name="Kebba Jeng" userId="fe4cc296-ba7d-48a2-8799-89b58d218255" providerId="ADAL" clId="{388EFDEE-447E-42B4-98EF-30C01AB2E8CD}" dt="2022-03-28T18:22:56.964" v="2878" actId="1076"/>
          <ac:cxnSpMkLst>
            <pc:docMk/>
            <pc:sldMk cId="1852388011" sldId="2134803542"/>
            <ac:cxnSpMk id="18" creationId="{FC174DDC-6842-48BB-B636-5566CD5B1F27}"/>
          </ac:cxnSpMkLst>
        </pc:cxnChg>
        <pc:cxnChg chg="add mod">
          <ac:chgData name="Kebba Jeng" userId="fe4cc296-ba7d-48a2-8799-89b58d218255" providerId="ADAL" clId="{388EFDEE-447E-42B4-98EF-30C01AB2E8CD}" dt="2022-03-28T18:22:56.964" v="2878" actId="1076"/>
          <ac:cxnSpMkLst>
            <pc:docMk/>
            <pc:sldMk cId="1852388011" sldId="2134803542"/>
            <ac:cxnSpMk id="20" creationId="{64462B4A-DCCB-41AF-A3A2-914316C14755}"/>
          </ac:cxnSpMkLst>
        </pc:cxnChg>
        <pc:cxnChg chg="add mod">
          <ac:chgData name="Kebba Jeng" userId="fe4cc296-ba7d-48a2-8799-89b58d218255" providerId="ADAL" clId="{388EFDEE-447E-42B4-98EF-30C01AB2E8CD}" dt="2022-03-28T18:22:56.964" v="2878" actId="1076"/>
          <ac:cxnSpMkLst>
            <pc:docMk/>
            <pc:sldMk cId="1852388011" sldId="2134803542"/>
            <ac:cxnSpMk id="1863" creationId="{2FD63A8F-C9B5-40FC-B61E-4A0DFDB0A2B7}"/>
          </ac:cxnSpMkLst>
        </pc:cxnChg>
        <pc:cxnChg chg="add mod">
          <ac:chgData name="Kebba Jeng" userId="fe4cc296-ba7d-48a2-8799-89b58d218255" providerId="ADAL" clId="{388EFDEE-447E-42B4-98EF-30C01AB2E8CD}" dt="2022-03-28T18:22:56.964" v="2878" actId="1076"/>
          <ac:cxnSpMkLst>
            <pc:docMk/>
            <pc:sldMk cId="1852388011" sldId="2134803542"/>
            <ac:cxnSpMk id="1874" creationId="{3E692FF3-1905-4481-B402-425057D5E6D1}"/>
          </ac:cxnSpMkLst>
        </pc:cxnChg>
        <pc:cxnChg chg="add mod">
          <ac:chgData name="Kebba Jeng" userId="fe4cc296-ba7d-48a2-8799-89b58d218255" providerId="ADAL" clId="{388EFDEE-447E-42B4-98EF-30C01AB2E8CD}" dt="2022-03-28T18:22:56.964" v="2878" actId="1076"/>
          <ac:cxnSpMkLst>
            <pc:docMk/>
            <pc:sldMk cId="1852388011" sldId="2134803542"/>
            <ac:cxnSpMk id="1876" creationId="{1625D8ED-9D3D-4A98-A931-D79B8C0E82AD}"/>
          </ac:cxnSpMkLst>
        </pc:cxnChg>
        <pc:cxnChg chg="add mod">
          <ac:chgData name="Kebba Jeng" userId="fe4cc296-ba7d-48a2-8799-89b58d218255" providerId="ADAL" clId="{388EFDEE-447E-42B4-98EF-30C01AB2E8CD}" dt="2022-03-28T18:22:56.964" v="2878" actId="1076"/>
          <ac:cxnSpMkLst>
            <pc:docMk/>
            <pc:sldMk cId="1852388011" sldId="2134803542"/>
            <ac:cxnSpMk id="1878" creationId="{F0C2F116-8BDA-4B8E-825A-F1054DDD6D4A}"/>
          </ac:cxnSpMkLst>
        </pc:cxnChg>
        <pc:cxnChg chg="add mod">
          <ac:chgData name="Kebba Jeng" userId="fe4cc296-ba7d-48a2-8799-89b58d218255" providerId="ADAL" clId="{388EFDEE-447E-42B4-98EF-30C01AB2E8CD}" dt="2022-03-28T18:22:56.964" v="2878" actId="1076"/>
          <ac:cxnSpMkLst>
            <pc:docMk/>
            <pc:sldMk cId="1852388011" sldId="2134803542"/>
            <ac:cxnSpMk id="1884" creationId="{F281A327-50FD-44B9-B191-2258440DA073}"/>
          </ac:cxnSpMkLst>
        </pc:cxnChg>
      </pc:sldChg>
      <pc:sldChg chg="addSp delSp modSp add mod ord modShow">
        <pc:chgData name="Kebba Jeng" userId="fe4cc296-ba7d-48a2-8799-89b58d218255" providerId="ADAL" clId="{388EFDEE-447E-42B4-98EF-30C01AB2E8CD}" dt="2022-03-28T19:58:55.220" v="4048" actId="729"/>
        <pc:sldMkLst>
          <pc:docMk/>
          <pc:sldMk cId="3854848144" sldId="2134803543"/>
        </pc:sldMkLst>
        <pc:spChg chg="add mod">
          <ac:chgData name="Kebba Jeng" userId="fe4cc296-ba7d-48a2-8799-89b58d218255" providerId="ADAL" clId="{388EFDEE-447E-42B4-98EF-30C01AB2E8CD}" dt="2022-03-28T19:20:52.729" v="3936" actId="1076"/>
          <ac:spMkLst>
            <pc:docMk/>
            <pc:sldMk cId="3854848144" sldId="2134803543"/>
            <ac:spMk id="2" creationId="{B7CC54E8-03D1-419E-BF76-C9EFE23FB88D}"/>
          </ac:spMkLst>
        </pc:spChg>
        <pc:spChg chg="add mod">
          <ac:chgData name="Kebba Jeng" userId="fe4cc296-ba7d-48a2-8799-89b58d218255" providerId="ADAL" clId="{388EFDEE-447E-42B4-98EF-30C01AB2E8CD}" dt="2022-03-28T19:20:52.729" v="3936" actId="1076"/>
          <ac:spMkLst>
            <pc:docMk/>
            <pc:sldMk cId="3854848144" sldId="2134803543"/>
            <ac:spMk id="203" creationId="{3403F74A-AA04-4A00-9FE3-275E36116698}"/>
          </ac:spMkLst>
        </pc:spChg>
        <pc:spChg chg="add mod">
          <ac:chgData name="Kebba Jeng" userId="fe4cc296-ba7d-48a2-8799-89b58d218255" providerId="ADAL" clId="{388EFDEE-447E-42B4-98EF-30C01AB2E8CD}" dt="2022-03-28T19:20:52.729" v="3936" actId="1076"/>
          <ac:spMkLst>
            <pc:docMk/>
            <pc:sldMk cId="3854848144" sldId="2134803543"/>
            <ac:spMk id="204" creationId="{930CA7BC-FD2C-4FDF-B61D-38FED8FC2B63}"/>
          </ac:spMkLst>
        </pc:spChg>
        <pc:spChg chg="add mod">
          <ac:chgData name="Kebba Jeng" userId="fe4cc296-ba7d-48a2-8799-89b58d218255" providerId="ADAL" clId="{388EFDEE-447E-42B4-98EF-30C01AB2E8CD}" dt="2022-03-28T19:10:43.737" v="3622"/>
          <ac:spMkLst>
            <pc:docMk/>
            <pc:sldMk cId="3854848144" sldId="2134803543"/>
            <ac:spMk id="205" creationId="{94241CA3-2DBF-4167-8697-4666BB0545F0}"/>
          </ac:spMkLst>
        </pc:spChg>
        <pc:spChg chg="del">
          <ac:chgData name="Kebba Jeng" userId="fe4cc296-ba7d-48a2-8799-89b58d218255" providerId="ADAL" clId="{388EFDEE-447E-42B4-98EF-30C01AB2E8CD}" dt="2022-03-28T19:10:39.439" v="3621" actId="478"/>
          <ac:spMkLst>
            <pc:docMk/>
            <pc:sldMk cId="3854848144" sldId="2134803543"/>
            <ac:spMk id="1719"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22"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23"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24"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25"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26"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27"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28"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29"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30"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31"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32"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33"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34"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35"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36"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37"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38"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39"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40"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41"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42"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43"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44"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45"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46"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47"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48"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49"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50"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51"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52"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53"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54"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55"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56"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57"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58"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59"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60"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61"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62"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63"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64"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65"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66"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67"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68"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69"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70"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71"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72"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73"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74"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75"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76"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77"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78"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79"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80"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81"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82"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83"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84"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85"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86"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87"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88"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89"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90"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91"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92"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93"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94"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95"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96"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97"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98"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799"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00"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01"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02"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03"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04"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05"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06"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07"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08"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09"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10"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11"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12"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13"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14"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15"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16"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17"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18"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19"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20"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21"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22"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23"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24"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25"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26"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27"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28"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29"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30"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31"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32"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33"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34"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35"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36"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37"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38"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39"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40"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41"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42"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43"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44"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45"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46"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47"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48"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49"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50"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51"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52"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53"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54"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55"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56"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57"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58"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59"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60"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61"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62"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63"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64"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65"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66"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67"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68"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69"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70"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71"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72"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73"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74"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75"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76"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77"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78"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79"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80"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81"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82"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83"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84"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85"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86"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87"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88"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89"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90"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91"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92"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93"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94"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95"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96"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97"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98"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899"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900"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901"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902"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903"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904"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905"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906"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907"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908"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909"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910"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911"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912"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913"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914"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915" creationId="{00000000-0000-0000-0000-000000000000}"/>
          </ac:spMkLst>
        </pc:spChg>
        <pc:spChg chg="del">
          <ac:chgData name="Kebba Jeng" userId="fe4cc296-ba7d-48a2-8799-89b58d218255" providerId="ADAL" clId="{388EFDEE-447E-42B4-98EF-30C01AB2E8CD}" dt="2022-03-28T19:07:53.265" v="3524" actId="478"/>
          <ac:spMkLst>
            <pc:docMk/>
            <pc:sldMk cId="3854848144" sldId="2134803543"/>
            <ac:spMk id="1916" creationId="{00000000-0000-0000-0000-000000000000}"/>
          </ac:spMkLst>
        </pc:spChg>
        <pc:picChg chg="mod">
          <ac:chgData name="Kebba Jeng" userId="fe4cc296-ba7d-48a2-8799-89b58d218255" providerId="ADAL" clId="{388EFDEE-447E-42B4-98EF-30C01AB2E8CD}" dt="2022-03-28T19:20:41.681" v="3934" actId="14100"/>
          <ac:picMkLst>
            <pc:docMk/>
            <pc:sldMk cId="3854848144" sldId="2134803543"/>
            <ac:picMk id="1718" creationId="{00000000-0000-0000-0000-000000000000}"/>
          </ac:picMkLst>
        </pc:picChg>
        <pc:cxnChg chg="add mod">
          <ac:chgData name="Kebba Jeng" userId="fe4cc296-ba7d-48a2-8799-89b58d218255" providerId="ADAL" clId="{388EFDEE-447E-42B4-98EF-30C01AB2E8CD}" dt="2022-03-28T19:20:52.729" v="3936" actId="1076"/>
          <ac:cxnSpMkLst>
            <pc:docMk/>
            <pc:sldMk cId="3854848144" sldId="2134803543"/>
            <ac:cxnSpMk id="4" creationId="{E1D26B6B-69FB-4B4C-ADB7-59E3AEC4F1BA}"/>
          </ac:cxnSpMkLst>
        </pc:cxnChg>
        <pc:cxnChg chg="add mod">
          <ac:chgData name="Kebba Jeng" userId="fe4cc296-ba7d-48a2-8799-89b58d218255" providerId="ADAL" clId="{388EFDEE-447E-42B4-98EF-30C01AB2E8CD}" dt="2022-03-28T19:20:52.729" v="3936" actId="1076"/>
          <ac:cxnSpMkLst>
            <pc:docMk/>
            <pc:sldMk cId="3854848144" sldId="2134803543"/>
            <ac:cxnSpMk id="6" creationId="{5B600736-93AD-4B67-99BC-072EA1E131D0}"/>
          </ac:cxnSpMkLst>
        </pc:cxnChg>
        <pc:cxnChg chg="add mod">
          <ac:chgData name="Kebba Jeng" userId="fe4cc296-ba7d-48a2-8799-89b58d218255" providerId="ADAL" clId="{388EFDEE-447E-42B4-98EF-30C01AB2E8CD}" dt="2022-03-28T19:20:52.729" v="3936" actId="1076"/>
          <ac:cxnSpMkLst>
            <pc:docMk/>
            <pc:sldMk cId="3854848144" sldId="2134803543"/>
            <ac:cxnSpMk id="8" creationId="{641B81EF-0E42-46BC-92C9-79B175E269E4}"/>
          </ac:cxnSpMkLst>
        </pc:cxnChg>
      </pc:sldChg>
      <pc:sldChg chg="add mod ord modShow">
        <pc:chgData name="Kebba Jeng" userId="fe4cc296-ba7d-48a2-8799-89b58d218255" providerId="ADAL" clId="{388EFDEE-447E-42B4-98EF-30C01AB2E8CD}" dt="2022-03-28T19:22:51.734" v="3955" actId="729"/>
        <pc:sldMkLst>
          <pc:docMk/>
          <pc:sldMk cId="2255173003" sldId="2134803544"/>
        </pc:sldMkLst>
      </pc:sldChg>
      <pc:sldChg chg="addSp delSp modSp add mod ord modNotesTx">
        <pc:chgData name="Kebba Jeng" userId="fe4cc296-ba7d-48a2-8799-89b58d218255" providerId="ADAL" clId="{388EFDEE-447E-42B4-98EF-30C01AB2E8CD}" dt="2022-03-29T19:07:48.668" v="6142" actId="20577"/>
        <pc:sldMkLst>
          <pc:docMk/>
          <pc:sldMk cId="53059774" sldId="2134803545"/>
        </pc:sldMkLst>
        <pc:spChg chg="mod">
          <ac:chgData name="Kebba Jeng" userId="fe4cc296-ba7d-48a2-8799-89b58d218255" providerId="ADAL" clId="{388EFDEE-447E-42B4-98EF-30C01AB2E8CD}" dt="2022-03-29T19:07:30.400" v="6137" actId="20577"/>
          <ac:spMkLst>
            <pc:docMk/>
            <pc:sldMk cId="53059774" sldId="2134803545"/>
            <ac:spMk id="2" creationId="{CD937EA4-3F52-4E64-992E-36C9D2E6779F}"/>
          </ac:spMkLst>
        </pc:spChg>
        <pc:spChg chg="del">
          <ac:chgData name="Kebba Jeng" userId="fe4cc296-ba7d-48a2-8799-89b58d218255" providerId="ADAL" clId="{388EFDEE-447E-42B4-98EF-30C01AB2E8CD}" dt="2022-03-28T19:11:54.957" v="3631" actId="478"/>
          <ac:spMkLst>
            <pc:docMk/>
            <pc:sldMk cId="53059774" sldId="2134803545"/>
            <ac:spMk id="3" creationId="{9B78DEC8-96DA-4CBB-B8BE-C2FDAFC73852}"/>
          </ac:spMkLst>
        </pc:spChg>
        <pc:spChg chg="del">
          <ac:chgData name="Kebba Jeng" userId="fe4cc296-ba7d-48a2-8799-89b58d218255" providerId="ADAL" clId="{388EFDEE-447E-42B4-98EF-30C01AB2E8CD}" dt="2022-03-28T19:11:54.957" v="3631" actId="478"/>
          <ac:spMkLst>
            <pc:docMk/>
            <pc:sldMk cId="53059774" sldId="2134803545"/>
            <ac:spMk id="8" creationId="{74647358-158C-46FD-9C13-7E35AC243095}"/>
          </ac:spMkLst>
        </pc:spChg>
        <pc:spChg chg="del">
          <ac:chgData name="Kebba Jeng" userId="fe4cc296-ba7d-48a2-8799-89b58d218255" providerId="ADAL" clId="{388EFDEE-447E-42B4-98EF-30C01AB2E8CD}" dt="2022-03-28T19:11:54.957" v="3631" actId="478"/>
          <ac:spMkLst>
            <pc:docMk/>
            <pc:sldMk cId="53059774" sldId="2134803545"/>
            <ac:spMk id="9" creationId="{C9B83C28-3B84-4DEC-B622-917B61297A29}"/>
          </ac:spMkLst>
        </pc:spChg>
        <pc:spChg chg="add mod">
          <ac:chgData name="Kebba Jeng" userId="fe4cc296-ba7d-48a2-8799-89b58d218255" providerId="ADAL" clId="{388EFDEE-447E-42B4-98EF-30C01AB2E8CD}" dt="2022-03-28T19:15:29.505" v="3758"/>
          <ac:spMkLst>
            <pc:docMk/>
            <pc:sldMk cId="53059774" sldId="2134803545"/>
            <ac:spMk id="25" creationId="{80F12BE2-3BFF-4DCC-819A-3986BB9474BE}"/>
          </ac:spMkLst>
        </pc:spChg>
        <pc:spChg chg="mod">
          <ac:chgData name="Kebba Jeng" userId="fe4cc296-ba7d-48a2-8799-89b58d218255" providerId="ADAL" clId="{388EFDEE-447E-42B4-98EF-30C01AB2E8CD}" dt="2022-03-28T19:12:02.111" v="3647" actId="20577"/>
          <ac:spMkLst>
            <pc:docMk/>
            <pc:sldMk cId="53059774" sldId="2134803545"/>
            <ac:spMk id="719" creationId="{00000000-0000-0000-0000-000000000000}"/>
          </ac:spMkLst>
        </pc:spChg>
        <pc:spChg chg="del">
          <ac:chgData name="Kebba Jeng" userId="fe4cc296-ba7d-48a2-8799-89b58d218255" providerId="ADAL" clId="{388EFDEE-447E-42B4-98EF-30C01AB2E8CD}" dt="2022-03-28T19:11:54.957" v="3631" actId="478"/>
          <ac:spMkLst>
            <pc:docMk/>
            <pc:sldMk cId="53059774" sldId="2134803545"/>
            <ac:spMk id="1110" creationId="{74D20775-402D-4802-A3BA-22E3763FD413}"/>
          </ac:spMkLst>
        </pc:spChg>
        <pc:spChg chg="del">
          <ac:chgData name="Kebba Jeng" userId="fe4cc296-ba7d-48a2-8799-89b58d218255" providerId="ADAL" clId="{388EFDEE-447E-42B4-98EF-30C01AB2E8CD}" dt="2022-03-28T19:11:54.957" v="3631" actId="478"/>
          <ac:spMkLst>
            <pc:docMk/>
            <pc:sldMk cId="53059774" sldId="2134803545"/>
            <ac:spMk id="1112" creationId="{F14CFA2A-1C72-43E9-937D-93FCE1820995}"/>
          </ac:spMkLst>
        </pc:spChg>
        <pc:spChg chg="del">
          <ac:chgData name="Kebba Jeng" userId="fe4cc296-ba7d-48a2-8799-89b58d218255" providerId="ADAL" clId="{388EFDEE-447E-42B4-98EF-30C01AB2E8CD}" dt="2022-03-28T19:11:54.957" v="3631" actId="478"/>
          <ac:spMkLst>
            <pc:docMk/>
            <pc:sldMk cId="53059774" sldId="2134803545"/>
            <ac:spMk id="1113" creationId="{892717BF-3EE1-48E7-AF9C-D1059AD041E0}"/>
          </ac:spMkLst>
        </pc:spChg>
        <pc:spChg chg="del">
          <ac:chgData name="Kebba Jeng" userId="fe4cc296-ba7d-48a2-8799-89b58d218255" providerId="ADAL" clId="{388EFDEE-447E-42B4-98EF-30C01AB2E8CD}" dt="2022-03-28T19:11:54.957" v="3631" actId="478"/>
          <ac:spMkLst>
            <pc:docMk/>
            <pc:sldMk cId="53059774" sldId="2134803545"/>
            <ac:spMk id="1891" creationId="{9F2A9366-C2B7-4701-9311-32D822031E99}"/>
          </ac:spMkLst>
        </pc:spChg>
        <pc:spChg chg="del">
          <ac:chgData name="Kebba Jeng" userId="fe4cc296-ba7d-48a2-8799-89b58d218255" providerId="ADAL" clId="{388EFDEE-447E-42B4-98EF-30C01AB2E8CD}" dt="2022-03-28T19:11:54.957" v="3631" actId="478"/>
          <ac:spMkLst>
            <pc:docMk/>
            <pc:sldMk cId="53059774" sldId="2134803545"/>
            <ac:spMk id="1892" creationId="{B4DAC36F-1CBB-40E5-9DBF-9C98975C2DA7}"/>
          </ac:spMkLst>
        </pc:spChg>
        <pc:spChg chg="del">
          <ac:chgData name="Kebba Jeng" userId="fe4cc296-ba7d-48a2-8799-89b58d218255" providerId="ADAL" clId="{388EFDEE-447E-42B4-98EF-30C01AB2E8CD}" dt="2022-03-28T19:11:54.957" v="3631" actId="478"/>
          <ac:spMkLst>
            <pc:docMk/>
            <pc:sldMk cId="53059774" sldId="2134803545"/>
            <ac:spMk id="1893" creationId="{759EE0F5-4E97-4309-9E36-F8398C06B3A8}"/>
          </ac:spMkLst>
        </pc:spChg>
        <pc:spChg chg="del">
          <ac:chgData name="Kebba Jeng" userId="fe4cc296-ba7d-48a2-8799-89b58d218255" providerId="ADAL" clId="{388EFDEE-447E-42B4-98EF-30C01AB2E8CD}" dt="2022-03-28T19:11:54.957" v="3631" actId="478"/>
          <ac:spMkLst>
            <pc:docMk/>
            <pc:sldMk cId="53059774" sldId="2134803545"/>
            <ac:spMk id="1894" creationId="{E466B3DC-888E-4679-9A1B-E18944BA62AD}"/>
          </ac:spMkLst>
        </pc:spChg>
        <pc:spChg chg="del">
          <ac:chgData name="Kebba Jeng" userId="fe4cc296-ba7d-48a2-8799-89b58d218255" providerId="ADAL" clId="{388EFDEE-447E-42B4-98EF-30C01AB2E8CD}" dt="2022-03-28T19:11:54.957" v="3631" actId="478"/>
          <ac:spMkLst>
            <pc:docMk/>
            <pc:sldMk cId="53059774" sldId="2134803545"/>
            <ac:spMk id="1895" creationId="{4416A948-B53D-4E74-AA0D-813A57E5BF0C}"/>
          </ac:spMkLst>
        </pc:spChg>
        <pc:spChg chg="del">
          <ac:chgData name="Kebba Jeng" userId="fe4cc296-ba7d-48a2-8799-89b58d218255" providerId="ADAL" clId="{388EFDEE-447E-42B4-98EF-30C01AB2E8CD}" dt="2022-03-28T19:11:54.957" v="3631" actId="478"/>
          <ac:spMkLst>
            <pc:docMk/>
            <pc:sldMk cId="53059774" sldId="2134803545"/>
            <ac:spMk id="1896" creationId="{4A5937D3-B3B5-486F-AAE3-578961016B35}"/>
          </ac:spMkLst>
        </pc:spChg>
        <pc:spChg chg="del">
          <ac:chgData name="Kebba Jeng" userId="fe4cc296-ba7d-48a2-8799-89b58d218255" providerId="ADAL" clId="{388EFDEE-447E-42B4-98EF-30C01AB2E8CD}" dt="2022-03-28T19:11:54.957" v="3631" actId="478"/>
          <ac:spMkLst>
            <pc:docMk/>
            <pc:sldMk cId="53059774" sldId="2134803545"/>
            <ac:spMk id="1897" creationId="{671D742B-2FFD-4344-9250-71A059C11927}"/>
          </ac:spMkLst>
        </pc:spChg>
        <pc:spChg chg="del">
          <ac:chgData name="Kebba Jeng" userId="fe4cc296-ba7d-48a2-8799-89b58d218255" providerId="ADAL" clId="{388EFDEE-447E-42B4-98EF-30C01AB2E8CD}" dt="2022-03-28T19:11:54.957" v="3631" actId="478"/>
          <ac:spMkLst>
            <pc:docMk/>
            <pc:sldMk cId="53059774" sldId="2134803545"/>
            <ac:spMk id="1898" creationId="{9965CFE3-F405-4532-A9AD-DBF78C38C08F}"/>
          </ac:spMkLst>
        </pc:spChg>
        <pc:picChg chg="add mod">
          <ac:chgData name="Kebba Jeng" userId="fe4cc296-ba7d-48a2-8799-89b58d218255" providerId="ADAL" clId="{388EFDEE-447E-42B4-98EF-30C01AB2E8CD}" dt="2022-03-28T19:15:41.318" v="3761" actId="14100"/>
          <ac:picMkLst>
            <pc:docMk/>
            <pc:sldMk cId="53059774" sldId="2134803545"/>
            <ac:picMk id="5" creationId="{F3945828-700E-48C9-9C63-831D03A7A538}"/>
          </ac:picMkLst>
        </pc:picChg>
        <pc:picChg chg="add mod">
          <ac:chgData name="Kebba Jeng" userId="fe4cc296-ba7d-48a2-8799-89b58d218255" providerId="ADAL" clId="{388EFDEE-447E-42B4-98EF-30C01AB2E8CD}" dt="2022-03-28T19:15:36.837" v="3759" actId="1076"/>
          <ac:picMkLst>
            <pc:docMk/>
            <pc:sldMk cId="53059774" sldId="2134803545"/>
            <ac:picMk id="7" creationId="{E5A6FE3B-5600-475E-A2FC-8902290AAD20}"/>
          </ac:picMkLst>
        </pc:picChg>
        <pc:picChg chg="del">
          <ac:chgData name="Kebba Jeng" userId="fe4cc296-ba7d-48a2-8799-89b58d218255" providerId="ADAL" clId="{388EFDEE-447E-42B4-98EF-30C01AB2E8CD}" dt="2022-03-28T19:11:54.957" v="3631" actId="478"/>
          <ac:picMkLst>
            <pc:docMk/>
            <pc:sldMk cId="53059774" sldId="2134803545"/>
            <ac:picMk id="21" creationId="{1D220B4F-8EC2-459E-AF14-248361159576}"/>
          </ac:picMkLst>
        </pc:picChg>
        <pc:picChg chg="del">
          <ac:chgData name="Kebba Jeng" userId="fe4cc296-ba7d-48a2-8799-89b58d218255" providerId="ADAL" clId="{388EFDEE-447E-42B4-98EF-30C01AB2E8CD}" dt="2022-03-28T19:11:54.957" v="3631" actId="478"/>
          <ac:picMkLst>
            <pc:docMk/>
            <pc:sldMk cId="53059774" sldId="2134803545"/>
            <ac:picMk id="22" creationId="{8CDD4699-D694-4F2A-AFA1-4D307DB16417}"/>
          </ac:picMkLst>
        </pc:picChg>
        <pc:picChg chg="del">
          <ac:chgData name="Kebba Jeng" userId="fe4cc296-ba7d-48a2-8799-89b58d218255" providerId="ADAL" clId="{388EFDEE-447E-42B4-98EF-30C01AB2E8CD}" dt="2022-03-28T19:11:54.957" v="3631" actId="478"/>
          <ac:picMkLst>
            <pc:docMk/>
            <pc:sldMk cId="53059774" sldId="2134803545"/>
            <ac:picMk id="23" creationId="{BBBBEC26-2FCB-4E07-BFE0-237E29E87FE7}"/>
          </ac:picMkLst>
        </pc:picChg>
      </pc:sldChg>
      <pc:sldChg chg="add mod ord modShow">
        <pc:chgData name="Kebba Jeng" userId="fe4cc296-ba7d-48a2-8799-89b58d218255" providerId="ADAL" clId="{388EFDEE-447E-42B4-98EF-30C01AB2E8CD}" dt="2022-03-28T19:23:24.847" v="3962" actId="729"/>
        <pc:sldMkLst>
          <pc:docMk/>
          <pc:sldMk cId="897045579" sldId="2134803546"/>
        </pc:sldMkLst>
      </pc:sldChg>
      <pc:sldChg chg="addSp delSp modSp add mod modNotesTx">
        <pc:chgData name="Kebba Jeng" userId="fe4cc296-ba7d-48a2-8799-89b58d218255" providerId="ADAL" clId="{388EFDEE-447E-42B4-98EF-30C01AB2E8CD}" dt="2022-03-30T09:43:33.421" v="6231" actId="27636"/>
        <pc:sldMkLst>
          <pc:docMk/>
          <pc:sldMk cId="355669928" sldId="2134803547"/>
        </pc:sldMkLst>
        <pc:spChg chg="del">
          <ac:chgData name="Kebba Jeng" userId="fe4cc296-ba7d-48a2-8799-89b58d218255" providerId="ADAL" clId="{388EFDEE-447E-42B4-98EF-30C01AB2E8CD}" dt="2022-03-28T19:57:04.623" v="4024" actId="478"/>
          <ac:spMkLst>
            <pc:docMk/>
            <pc:sldMk cId="355669928" sldId="2134803547"/>
            <ac:spMk id="2" creationId="{B7CC54E8-03D1-419E-BF76-C9EFE23FB88D}"/>
          </ac:spMkLst>
        </pc:spChg>
        <pc:spChg chg="mod">
          <ac:chgData name="Kebba Jeng" userId="fe4cc296-ba7d-48a2-8799-89b58d218255" providerId="ADAL" clId="{388EFDEE-447E-42B4-98EF-30C01AB2E8CD}" dt="2022-03-28T19:57:33.046" v="4033"/>
          <ac:spMkLst>
            <pc:docMk/>
            <pc:sldMk cId="355669928" sldId="2134803547"/>
            <ac:spMk id="16" creationId="{D7D0262C-C411-4DF7-B539-C3DAB13D592D}"/>
          </ac:spMkLst>
        </pc:spChg>
        <pc:spChg chg="mod">
          <ac:chgData name="Kebba Jeng" userId="fe4cc296-ba7d-48a2-8799-89b58d218255" providerId="ADAL" clId="{388EFDEE-447E-42B4-98EF-30C01AB2E8CD}" dt="2022-03-28T19:57:33.046" v="4033"/>
          <ac:spMkLst>
            <pc:docMk/>
            <pc:sldMk cId="355669928" sldId="2134803547"/>
            <ac:spMk id="17" creationId="{AF81D624-3698-41C8-89EE-DEB2F632F7FF}"/>
          </ac:spMkLst>
        </pc:spChg>
        <pc:spChg chg="mod">
          <ac:chgData name="Kebba Jeng" userId="fe4cc296-ba7d-48a2-8799-89b58d218255" providerId="ADAL" clId="{388EFDEE-447E-42B4-98EF-30C01AB2E8CD}" dt="2022-03-28T19:57:33.046" v="4033"/>
          <ac:spMkLst>
            <pc:docMk/>
            <pc:sldMk cId="355669928" sldId="2134803547"/>
            <ac:spMk id="18" creationId="{742C9A06-A4C4-46A4-A599-9810C0C490AC}"/>
          </ac:spMkLst>
        </pc:spChg>
        <pc:spChg chg="mod">
          <ac:chgData name="Kebba Jeng" userId="fe4cc296-ba7d-48a2-8799-89b58d218255" providerId="ADAL" clId="{388EFDEE-447E-42B4-98EF-30C01AB2E8CD}" dt="2022-03-28T19:57:33.046" v="4033"/>
          <ac:spMkLst>
            <pc:docMk/>
            <pc:sldMk cId="355669928" sldId="2134803547"/>
            <ac:spMk id="19" creationId="{984BA218-CFB0-4CA6-9BC6-7B49594EC919}"/>
          </ac:spMkLst>
        </pc:spChg>
        <pc:spChg chg="mod">
          <ac:chgData name="Kebba Jeng" userId="fe4cc296-ba7d-48a2-8799-89b58d218255" providerId="ADAL" clId="{388EFDEE-447E-42B4-98EF-30C01AB2E8CD}" dt="2022-03-28T19:57:33.046" v="4033"/>
          <ac:spMkLst>
            <pc:docMk/>
            <pc:sldMk cId="355669928" sldId="2134803547"/>
            <ac:spMk id="20" creationId="{B98F4B01-D9E5-48EA-84D9-179A0B66F749}"/>
          </ac:spMkLst>
        </pc:spChg>
        <pc:spChg chg="mod">
          <ac:chgData name="Kebba Jeng" userId="fe4cc296-ba7d-48a2-8799-89b58d218255" providerId="ADAL" clId="{388EFDEE-447E-42B4-98EF-30C01AB2E8CD}" dt="2022-03-28T19:57:33.046" v="4033"/>
          <ac:spMkLst>
            <pc:docMk/>
            <pc:sldMk cId="355669928" sldId="2134803547"/>
            <ac:spMk id="21" creationId="{25FED675-4BD2-4DD1-BA59-158F092A7D96}"/>
          </ac:spMkLst>
        </pc:spChg>
        <pc:spChg chg="mod">
          <ac:chgData name="Kebba Jeng" userId="fe4cc296-ba7d-48a2-8799-89b58d218255" providerId="ADAL" clId="{388EFDEE-447E-42B4-98EF-30C01AB2E8CD}" dt="2022-03-28T19:57:33.046" v="4033"/>
          <ac:spMkLst>
            <pc:docMk/>
            <pc:sldMk cId="355669928" sldId="2134803547"/>
            <ac:spMk id="22" creationId="{F123410B-4993-46C6-BF15-1144663956E5}"/>
          </ac:spMkLst>
        </pc:spChg>
        <pc:spChg chg="mod">
          <ac:chgData name="Kebba Jeng" userId="fe4cc296-ba7d-48a2-8799-89b58d218255" providerId="ADAL" clId="{388EFDEE-447E-42B4-98EF-30C01AB2E8CD}" dt="2022-03-28T19:57:33.046" v="4033"/>
          <ac:spMkLst>
            <pc:docMk/>
            <pc:sldMk cId="355669928" sldId="2134803547"/>
            <ac:spMk id="23" creationId="{3E4F838F-CC1A-4046-BB8D-1652C091E51C}"/>
          </ac:spMkLst>
        </pc:spChg>
        <pc:spChg chg="mod">
          <ac:chgData name="Kebba Jeng" userId="fe4cc296-ba7d-48a2-8799-89b58d218255" providerId="ADAL" clId="{388EFDEE-447E-42B4-98EF-30C01AB2E8CD}" dt="2022-03-28T19:57:33.046" v="4033"/>
          <ac:spMkLst>
            <pc:docMk/>
            <pc:sldMk cId="355669928" sldId="2134803547"/>
            <ac:spMk id="24" creationId="{8A9B8163-B5D5-407F-B11B-59CEDE986102}"/>
          </ac:spMkLst>
        </pc:spChg>
        <pc:spChg chg="mod">
          <ac:chgData name="Kebba Jeng" userId="fe4cc296-ba7d-48a2-8799-89b58d218255" providerId="ADAL" clId="{388EFDEE-447E-42B4-98EF-30C01AB2E8CD}" dt="2022-03-28T19:57:33.046" v="4033"/>
          <ac:spMkLst>
            <pc:docMk/>
            <pc:sldMk cId="355669928" sldId="2134803547"/>
            <ac:spMk id="25" creationId="{6776F26C-9E69-4904-B9CA-28D3ADBFC7C0}"/>
          </ac:spMkLst>
        </pc:spChg>
        <pc:spChg chg="mod">
          <ac:chgData name="Kebba Jeng" userId="fe4cc296-ba7d-48a2-8799-89b58d218255" providerId="ADAL" clId="{388EFDEE-447E-42B4-98EF-30C01AB2E8CD}" dt="2022-03-28T19:57:33.046" v="4033"/>
          <ac:spMkLst>
            <pc:docMk/>
            <pc:sldMk cId="355669928" sldId="2134803547"/>
            <ac:spMk id="26" creationId="{5DA68298-5693-4FEF-885F-5080F436470B}"/>
          </ac:spMkLst>
        </pc:spChg>
        <pc:spChg chg="mod">
          <ac:chgData name="Kebba Jeng" userId="fe4cc296-ba7d-48a2-8799-89b58d218255" providerId="ADAL" clId="{388EFDEE-447E-42B4-98EF-30C01AB2E8CD}" dt="2022-03-28T19:57:33.046" v="4033"/>
          <ac:spMkLst>
            <pc:docMk/>
            <pc:sldMk cId="355669928" sldId="2134803547"/>
            <ac:spMk id="27" creationId="{824FD57E-20EB-4606-800A-0722BBE5FEF7}"/>
          </ac:spMkLst>
        </pc:spChg>
        <pc:spChg chg="mod">
          <ac:chgData name="Kebba Jeng" userId="fe4cc296-ba7d-48a2-8799-89b58d218255" providerId="ADAL" clId="{388EFDEE-447E-42B4-98EF-30C01AB2E8CD}" dt="2022-03-28T19:57:33.046" v="4033"/>
          <ac:spMkLst>
            <pc:docMk/>
            <pc:sldMk cId="355669928" sldId="2134803547"/>
            <ac:spMk id="28" creationId="{8DA8B5C4-8A90-4F3E-88A3-592B614A70C9}"/>
          </ac:spMkLst>
        </pc:spChg>
        <pc:spChg chg="mod">
          <ac:chgData name="Kebba Jeng" userId="fe4cc296-ba7d-48a2-8799-89b58d218255" providerId="ADAL" clId="{388EFDEE-447E-42B4-98EF-30C01AB2E8CD}" dt="2022-03-28T19:57:33.046" v="4033"/>
          <ac:spMkLst>
            <pc:docMk/>
            <pc:sldMk cId="355669928" sldId="2134803547"/>
            <ac:spMk id="29" creationId="{FE4A5705-4151-4973-AD8A-04D447488713}"/>
          </ac:spMkLst>
        </pc:spChg>
        <pc:spChg chg="mod">
          <ac:chgData name="Kebba Jeng" userId="fe4cc296-ba7d-48a2-8799-89b58d218255" providerId="ADAL" clId="{388EFDEE-447E-42B4-98EF-30C01AB2E8CD}" dt="2022-03-28T19:57:33.046" v="4033"/>
          <ac:spMkLst>
            <pc:docMk/>
            <pc:sldMk cId="355669928" sldId="2134803547"/>
            <ac:spMk id="30" creationId="{7A0B8704-56A3-4474-8C3D-3D38DA989D48}"/>
          </ac:spMkLst>
        </pc:spChg>
        <pc:spChg chg="mod">
          <ac:chgData name="Kebba Jeng" userId="fe4cc296-ba7d-48a2-8799-89b58d218255" providerId="ADAL" clId="{388EFDEE-447E-42B4-98EF-30C01AB2E8CD}" dt="2022-03-28T19:57:33.046" v="4033"/>
          <ac:spMkLst>
            <pc:docMk/>
            <pc:sldMk cId="355669928" sldId="2134803547"/>
            <ac:spMk id="31" creationId="{83C190CF-EA39-423F-BA0E-1887B8D56FFA}"/>
          </ac:spMkLst>
        </pc:spChg>
        <pc:spChg chg="mod">
          <ac:chgData name="Kebba Jeng" userId="fe4cc296-ba7d-48a2-8799-89b58d218255" providerId="ADAL" clId="{388EFDEE-447E-42B4-98EF-30C01AB2E8CD}" dt="2022-03-28T19:57:33.046" v="4033"/>
          <ac:spMkLst>
            <pc:docMk/>
            <pc:sldMk cId="355669928" sldId="2134803547"/>
            <ac:spMk id="32" creationId="{F0FB6E78-211D-4214-95D9-F9DAB1881CFB}"/>
          </ac:spMkLst>
        </pc:spChg>
        <pc:spChg chg="mod">
          <ac:chgData name="Kebba Jeng" userId="fe4cc296-ba7d-48a2-8799-89b58d218255" providerId="ADAL" clId="{388EFDEE-447E-42B4-98EF-30C01AB2E8CD}" dt="2022-03-28T19:57:33.046" v="4033"/>
          <ac:spMkLst>
            <pc:docMk/>
            <pc:sldMk cId="355669928" sldId="2134803547"/>
            <ac:spMk id="33" creationId="{216B66CD-2FD9-48DE-981A-F414AF0CC041}"/>
          </ac:spMkLst>
        </pc:spChg>
        <pc:spChg chg="mod">
          <ac:chgData name="Kebba Jeng" userId="fe4cc296-ba7d-48a2-8799-89b58d218255" providerId="ADAL" clId="{388EFDEE-447E-42B4-98EF-30C01AB2E8CD}" dt="2022-03-28T19:57:33.046" v="4033"/>
          <ac:spMkLst>
            <pc:docMk/>
            <pc:sldMk cId="355669928" sldId="2134803547"/>
            <ac:spMk id="34" creationId="{191C604D-E7E7-4FCC-BF0A-9531F2A25FE7}"/>
          </ac:spMkLst>
        </pc:spChg>
        <pc:spChg chg="mod">
          <ac:chgData name="Kebba Jeng" userId="fe4cc296-ba7d-48a2-8799-89b58d218255" providerId="ADAL" clId="{388EFDEE-447E-42B4-98EF-30C01AB2E8CD}" dt="2022-03-28T19:57:33.046" v="4033"/>
          <ac:spMkLst>
            <pc:docMk/>
            <pc:sldMk cId="355669928" sldId="2134803547"/>
            <ac:spMk id="35" creationId="{7817EBFE-91E3-488C-BDF9-296E376892CE}"/>
          </ac:spMkLst>
        </pc:spChg>
        <pc:spChg chg="mod">
          <ac:chgData name="Kebba Jeng" userId="fe4cc296-ba7d-48a2-8799-89b58d218255" providerId="ADAL" clId="{388EFDEE-447E-42B4-98EF-30C01AB2E8CD}" dt="2022-03-28T19:57:33.046" v="4033"/>
          <ac:spMkLst>
            <pc:docMk/>
            <pc:sldMk cId="355669928" sldId="2134803547"/>
            <ac:spMk id="36" creationId="{D99FF0DF-40E3-4B4F-8289-FAA43E3CDEA2}"/>
          </ac:spMkLst>
        </pc:spChg>
        <pc:spChg chg="mod">
          <ac:chgData name="Kebba Jeng" userId="fe4cc296-ba7d-48a2-8799-89b58d218255" providerId="ADAL" clId="{388EFDEE-447E-42B4-98EF-30C01AB2E8CD}" dt="2022-03-28T19:57:33.046" v="4033"/>
          <ac:spMkLst>
            <pc:docMk/>
            <pc:sldMk cId="355669928" sldId="2134803547"/>
            <ac:spMk id="37" creationId="{D670D6D9-AEC9-44E1-93DA-D69ECAA8A176}"/>
          </ac:spMkLst>
        </pc:spChg>
        <pc:spChg chg="mod">
          <ac:chgData name="Kebba Jeng" userId="fe4cc296-ba7d-48a2-8799-89b58d218255" providerId="ADAL" clId="{388EFDEE-447E-42B4-98EF-30C01AB2E8CD}" dt="2022-03-28T19:57:33.046" v="4033"/>
          <ac:spMkLst>
            <pc:docMk/>
            <pc:sldMk cId="355669928" sldId="2134803547"/>
            <ac:spMk id="38" creationId="{81F68928-42EC-4C97-BE77-C8041EBF21CC}"/>
          </ac:spMkLst>
        </pc:spChg>
        <pc:spChg chg="mod">
          <ac:chgData name="Kebba Jeng" userId="fe4cc296-ba7d-48a2-8799-89b58d218255" providerId="ADAL" clId="{388EFDEE-447E-42B4-98EF-30C01AB2E8CD}" dt="2022-03-28T19:57:33.046" v="4033"/>
          <ac:spMkLst>
            <pc:docMk/>
            <pc:sldMk cId="355669928" sldId="2134803547"/>
            <ac:spMk id="39" creationId="{1D072F8F-1776-40C2-9190-FF8FC0AD7B8C}"/>
          </ac:spMkLst>
        </pc:spChg>
        <pc:spChg chg="mod">
          <ac:chgData name="Kebba Jeng" userId="fe4cc296-ba7d-48a2-8799-89b58d218255" providerId="ADAL" clId="{388EFDEE-447E-42B4-98EF-30C01AB2E8CD}" dt="2022-03-28T19:57:33.046" v="4033"/>
          <ac:spMkLst>
            <pc:docMk/>
            <pc:sldMk cId="355669928" sldId="2134803547"/>
            <ac:spMk id="40" creationId="{704BC450-DE9A-4724-BD3F-9D5667362D61}"/>
          </ac:spMkLst>
        </pc:spChg>
        <pc:spChg chg="mod">
          <ac:chgData name="Kebba Jeng" userId="fe4cc296-ba7d-48a2-8799-89b58d218255" providerId="ADAL" clId="{388EFDEE-447E-42B4-98EF-30C01AB2E8CD}" dt="2022-03-28T19:57:33.046" v="4033"/>
          <ac:spMkLst>
            <pc:docMk/>
            <pc:sldMk cId="355669928" sldId="2134803547"/>
            <ac:spMk id="41" creationId="{F2AD8065-17B3-4E9A-B98E-4E369C2859F9}"/>
          </ac:spMkLst>
        </pc:spChg>
        <pc:spChg chg="mod">
          <ac:chgData name="Kebba Jeng" userId="fe4cc296-ba7d-48a2-8799-89b58d218255" providerId="ADAL" clId="{388EFDEE-447E-42B4-98EF-30C01AB2E8CD}" dt="2022-03-28T19:57:33.046" v="4033"/>
          <ac:spMkLst>
            <pc:docMk/>
            <pc:sldMk cId="355669928" sldId="2134803547"/>
            <ac:spMk id="42" creationId="{C048F5E8-0357-4043-8DC3-02226A5237CB}"/>
          </ac:spMkLst>
        </pc:spChg>
        <pc:spChg chg="mod">
          <ac:chgData name="Kebba Jeng" userId="fe4cc296-ba7d-48a2-8799-89b58d218255" providerId="ADAL" clId="{388EFDEE-447E-42B4-98EF-30C01AB2E8CD}" dt="2022-03-28T19:57:33.046" v="4033"/>
          <ac:spMkLst>
            <pc:docMk/>
            <pc:sldMk cId="355669928" sldId="2134803547"/>
            <ac:spMk id="43" creationId="{895BB779-6155-44BB-8F29-0779564F8B27}"/>
          </ac:spMkLst>
        </pc:spChg>
        <pc:spChg chg="mod">
          <ac:chgData name="Kebba Jeng" userId="fe4cc296-ba7d-48a2-8799-89b58d218255" providerId="ADAL" clId="{388EFDEE-447E-42B4-98EF-30C01AB2E8CD}" dt="2022-03-28T19:57:33.046" v="4033"/>
          <ac:spMkLst>
            <pc:docMk/>
            <pc:sldMk cId="355669928" sldId="2134803547"/>
            <ac:spMk id="44" creationId="{06504D37-E54F-4397-9D32-B4F908616D0B}"/>
          </ac:spMkLst>
        </pc:spChg>
        <pc:spChg chg="mod">
          <ac:chgData name="Kebba Jeng" userId="fe4cc296-ba7d-48a2-8799-89b58d218255" providerId="ADAL" clId="{388EFDEE-447E-42B4-98EF-30C01AB2E8CD}" dt="2022-03-28T19:57:33.046" v="4033"/>
          <ac:spMkLst>
            <pc:docMk/>
            <pc:sldMk cId="355669928" sldId="2134803547"/>
            <ac:spMk id="45" creationId="{E770D44D-D09D-4E1E-BA19-3C6719C18EFC}"/>
          </ac:spMkLst>
        </pc:spChg>
        <pc:spChg chg="mod">
          <ac:chgData name="Kebba Jeng" userId="fe4cc296-ba7d-48a2-8799-89b58d218255" providerId="ADAL" clId="{388EFDEE-447E-42B4-98EF-30C01AB2E8CD}" dt="2022-03-28T19:57:33.046" v="4033"/>
          <ac:spMkLst>
            <pc:docMk/>
            <pc:sldMk cId="355669928" sldId="2134803547"/>
            <ac:spMk id="46" creationId="{AC4D1C5B-A9B4-420A-A9C0-EEABC5FD6A69}"/>
          </ac:spMkLst>
        </pc:spChg>
        <pc:spChg chg="mod">
          <ac:chgData name="Kebba Jeng" userId="fe4cc296-ba7d-48a2-8799-89b58d218255" providerId="ADAL" clId="{388EFDEE-447E-42B4-98EF-30C01AB2E8CD}" dt="2022-03-28T19:57:33.046" v="4033"/>
          <ac:spMkLst>
            <pc:docMk/>
            <pc:sldMk cId="355669928" sldId="2134803547"/>
            <ac:spMk id="47" creationId="{8732AFE0-5DB3-4E6A-944F-20370970CEC9}"/>
          </ac:spMkLst>
        </pc:spChg>
        <pc:spChg chg="mod">
          <ac:chgData name="Kebba Jeng" userId="fe4cc296-ba7d-48a2-8799-89b58d218255" providerId="ADAL" clId="{388EFDEE-447E-42B4-98EF-30C01AB2E8CD}" dt="2022-03-28T19:57:33.046" v="4033"/>
          <ac:spMkLst>
            <pc:docMk/>
            <pc:sldMk cId="355669928" sldId="2134803547"/>
            <ac:spMk id="48" creationId="{0CD33ED4-B419-4E01-AC43-7B10DAE34E0F}"/>
          </ac:spMkLst>
        </pc:spChg>
        <pc:spChg chg="mod">
          <ac:chgData name="Kebba Jeng" userId="fe4cc296-ba7d-48a2-8799-89b58d218255" providerId="ADAL" clId="{388EFDEE-447E-42B4-98EF-30C01AB2E8CD}" dt="2022-03-28T19:57:33.046" v="4033"/>
          <ac:spMkLst>
            <pc:docMk/>
            <pc:sldMk cId="355669928" sldId="2134803547"/>
            <ac:spMk id="49" creationId="{1344D2D6-EC49-4D62-9F72-A87AB13903EB}"/>
          </ac:spMkLst>
        </pc:spChg>
        <pc:spChg chg="mod">
          <ac:chgData name="Kebba Jeng" userId="fe4cc296-ba7d-48a2-8799-89b58d218255" providerId="ADAL" clId="{388EFDEE-447E-42B4-98EF-30C01AB2E8CD}" dt="2022-03-28T19:57:33.046" v="4033"/>
          <ac:spMkLst>
            <pc:docMk/>
            <pc:sldMk cId="355669928" sldId="2134803547"/>
            <ac:spMk id="50" creationId="{EC89C37A-46D6-4C6C-96F0-75F10A13151D}"/>
          </ac:spMkLst>
        </pc:spChg>
        <pc:spChg chg="mod">
          <ac:chgData name="Kebba Jeng" userId="fe4cc296-ba7d-48a2-8799-89b58d218255" providerId="ADAL" clId="{388EFDEE-447E-42B4-98EF-30C01AB2E8CD}" dt="2022-03-28T19:57:33.046" v="4033"/>
          <ac:spMkLst>
            <pc:docMk/>
            <pc:sldMk cId="355669928" sldId="2134803547"/>
            <ac:spMk id="51" creationId="{365316CE-7DE2-4877-8D60-4993FCCA9AC8}"/>
          </ac:spMkLst>
        </pc:spChg>
        <pc:spChg chg="mod">
          <ac:chgData name="Kebba Jeng" userId="fe4cc296-ba7d-48a2-8799-89b58d218255" providerId="ADAL" clId="{388EFDEE-447E-42B4-98EF-30C01AB2E8CD}" dt="2022-03-28T19:57:33.046" v="4033"/>
          <ac:spMkLst>
            <pc:docMk/>
            <pc:sldMk cId="355669928" sldId="2134803547"/>
            <ac:spMk id="52" creationId="{5365165C-0176-4F2A-92CC-6F61D56447C6}"/>
          </ac:spMkLst>
        </pc:spChg>
        <pc:spChg chg="mod">
          <ac:chgData name="Kebba Jeng" userId="fe4cc296-ba7d-48a2-8799-89b58d218255" providerId="ADAL" clId="{388EFDEE-447E-42B4-98EF-30C01AB2E8CD}" dt="2022-03-28T19:57:33.046" v="4033"/>
          <ac:spMkLst>
            <pc:docMk/>
            <pc:sldMk cId="355669928" sldId="2134803547"/>
            <ac:spMk id="53" creationId="{80E2D206-E255-41F0-8DDB-DA0C38B8B399}"/>
          </ac:spMkLst>
        </pc:spChg>
        <pc:spChg chg="mod">
          <ac:chgData name="Kebba Jeng" userId="fe4cc296-ba7d-48a2-8799-89b58d218255" providerId="ADAL" clId="{388EFDEE-447E-42B4-98EF-30C01AB2E8CD}" dt="2022-03-28T19:57:33.046" v="4033"/>
          <ac:spMkLst>
            <pc:docMk/>
            <pc:sldMk cId="355669928" sldId="2134803547"/>
            <ac:spMk id="54" creationId="{B17B63B7-7561-4BF4-8E46-C7C78FE097F5}"/>
          </ac:spMkLst>
        </pc:spChg>
        <pc:spChg chg="mod">
          <ac:chgData name="Kebba Jeng" userId="fe4cc296-ba7d-48a2-8799-89b58d218255" providerId="ADAL" clId="{388EFDEE-447E-42B4-98EF-30C01AB2E8CD}" dt="2022-03-28T19:57:33.046" v="4033"/>
          <ac:spMkLst>
            <pc:docMk/>
            <pc:sldMk cId="355669928" sldId="2134803547"/>
            <ac:spMk id="55" creationId="{5BD691D2-432D-4794-A5E0-7A71E67E319A}"/>
          </ac:spMkLst>
        </pc:spChg>
        <pc:spChg chg="mod">
          <ac:chgData name="Kebba Jeng" userId="fe4cc296-ba7d-48a2-8799-89b58d218255" providerId="ADAL" clId="{388EFDEE-447E-42B4-98EF-30C01AB2E8CD}" dt="2022-03-28T19:57:33.046" v="4033"/>
          <ac:spMkLst>
            <pc:docMk/>
            <pc:sldMk cId="355669928" sldId="2134803547"/>
            <ac:spMk id="56" creationId="{FF1D570D-0946-4EFF-9E52-C63D13FA636F}"/>
          </ac:spMkLst>
        </pc:spChg>
        <pc:spChg chg="mod">
          <ac:chgData name="Kebba Jeng" userId="fe4cc296-ba7d-48a2-8799-89b58d218255" providerId="ADAL" clId="{388EFDEE-447E-42B4-98EF-30C01AB2E8CD}" dt="2022-03-28T19:57:33.046" v="4033"/>
          <ac:spMkLst>
            <pc:docMk/>
            <pc:sldMk cId="355669928" sldId="2134803547"/>
            <ac:spMk id="57" creationId="{280AA84C-5982-4B11-BD44-AA48FFB85860}"/>
          </ac:spMkLst>
        </pc:spChg>
        <pc:spChg chg="mod">
          <ac:chgData name="Kebba Jeng" userId="fe4cc296-ba7d-48a2-8799-89b58d218255" providerId="ADAL" clId="{388EFDEE-447E-42B4-98EF-30C01AB2E8CD}" dt="2022-03-28T19:57:33.046" v="4033"/>
          <ac:spMkLst>
            <pc:docMk/>
            <pc:sldMk cId="355669928" sldId="2134803547"/>
            <ac:spMk id="58" creationId="{8E2BF414-A6A3-4452-B3E1-F89B5FB88E07}"/>
          </ac:spMkLst>
        </pc:spChg>
        <pc:spChg chg="mod">
          <ac:chgData name="Kebba Jeng" userId="fe4cc296-ba7d-48a2-8799-89b58d218255" providerId="ADAL" clId="{388EFDEE-447E-42B4-98EF-30C01AB2E8CD}" dt="2022-03-28T19:57:33.046" v="4033"/>
          <ac:spMkLst>
            <pc:docMk/>
            <pc:sldMk cId="355669928" sldId="2134803547"/>
            <ac:spMk id="59" creationId="{875CDD71-0DE0-414F-8742-810D8A9E19FB}"/>
          </ac:spMkLst>
        </pc:spChg>
        <pc:spChg chg="mod">
          <ac:chgData name="Kebba Jeng" userId="fe4cc296-ba7d-48a2-8799-89b58d218255" providerId="ADAL" clId="{388EFDEE-447E-42B4-98EF-30C01AB2E8CD}" dt="2022-03-28T19:57:33.046" v="4033"/>
          <ac:spMkLst>
            <pc:docMk/>
            <pc:sldMk cId="355669928" sldId="2134803547"/>
            <ac:spMk id="60" creationId="{11EC4156-DDDD-4B26-A61B-C3744CD6A682}"/>
          </ac:spMkLst>
        </pc:spChg>
        <pc:spChg chg="mod">
          <ac:chgData name="Kebba Jeng" userId="fe4cc296-ba7d-48a2-8799-89b58d218255" providerId="ADAL" clId="{388EFDEE-447E-42B4-98EF-30C01AB2E8CD}" dt="2022-03-28T19:57:33.046" v="4033"/>
          <ac:spMkLst>
            <pc:docMk/>
            <pc:sldMk cId="355669928" sldId="2134803547"/>
            <ac:spMk id="61" creationId="{FB548665-E081-4BAB-AA46-B760C5B7913F}"/>
          </ac:spMkLst>
        </pc:spChg>
        <pc:spChg chg="mod">
          <ac:chgData name="Kebba Jeng" userId="fe4cc296-ba7d-48a2-8799-89b58d218255" providerId="ADAL" clId="{388EFDEE-447E-42B4-98EF-30C01AB2E8CD}" dt="2022-03-28T19:57:33.046" v="4033"/>
          <ac:spMkLst>
            <pc:docMk/>
            <pc:sldMk cId="355669928" sldId="2134803547"/>
            <ac:spMk id="62" creationId="{3669FE2C-3CF3-4C66-86FD-62EEF9BCEB4F}"/>
          </ac:spMkLst>
        </pc:spChg>
        <pc:spChg chg="mod">
          <ac:chgData name="Kebba Jeng" userId="fe4cc296-ba7d-48a2-8799-89b58d218255" providerId="ADAL" clId="{388EFDEE-447E-42B4-98EF-30C01AB2E8CD}" dt="2022-03-28T19:57:33.046" v="4033"/>
          <ac:spMkLst>
            <pc:docMk/>
            <pc:sldMk cId="355669928" sldId="2134803547"/>
            <ac:spMk id="63" creationId="{840EDDBA-B242-4FCC-8EA3-1E5ABCC33F77}"/>
          </ac:spMkLst>
        </pc:spChg>
        <pc:spChg chg="mod">
          <ac:chgData name="Kebba Jeng" userId="fe4cc296-ba7d-48a2-8799-89b58d218255" providerId="ADAL" clId="{388EFDEE-447E-42B4-98EF-30C01AB2E8CD}" dt="2022-03-28T19:57:33.046" v="4033"/>
          <ac:spMkLst>
            <pc:docMk/>
            <pc:sldMk cId="355669928" sldId="2134803547"/>
            <ac:spMk id="64" creationId="{835DE94F-0494-4CA4-8392-483F8DEFDAD1}"/>
          </ac:spMkLst>
        </pc:spChg>
        <pc:spChg chg="mod">
          <ac:chgData name="Kebba Jeng" userId="fe4cc296-ba7d-48a2-8799-89b58d218255" providerId="ADAL" clId="{388EFDEE-447E-42B4-98EF-30C01AB2E8CD}" dt="2022-03-28T19:57:33.046" v="4033"/>
          <ac:spMkLst>
            <pc:docMk/>
            <pc:sldMk cId="355669928" sldId="2134803547"/>
            <ac:spMk id="65" creationId="{F41593F9-1236-4AAF-BC43-024952947910}"/>
          </ac:spMkLst>
        </pc:spChg>
        <pc:spChg chg="mod">
          <ac:chgData name="Kebba Jeng" userId="fe4cc296-ba7d-48a2-8799-89b58d218255" providerId="ADAL" clId="{388EFDEE-447E-42B4-98EF-30C01AB2E8CD}" dt="2022-03-28T19:57:33.046" v="4033"/>
          <ac:spMkLst>
            <pc:docMk/>
            <pc:sldMk cId="355669928" sldId="2134803547"/>
            <ac:spMk id="66" creationId="{65D67CFB-8586-44CD-A5DD-A882DD5ACAA0}"/>
          </ac:spMkLst>
        </pc:spChg>
        <pc:spChg chg="mod">
          <ac:chgData name="Kebba Jeng" userId="fe4cc296-ba7d-48a2-8799-89b58d218255" providerId="ADAL" clId="{388EFDEE-447E-42B4-98EF-30C01AB2E8CD}" dt="2022-03-28T19:57:33.046" v="4033"/>
          <ac:spMkLst>
            <pc:docMk/>
            <pc:sldMk cId="355669928" sldId="2134803547"/>
            <ac:spMk id="67" creationId="{B1BF00EA-CEAF-4103-A0DE-C195DB50805C}"/>
          </ac:spMkLst>
        </pc:spChg>
        <pc:spChg chg="mod">
          <ac:chgData name="Kebba Jeng" userId="fe4cc296-ba7d-48a2-8799-89b58d218255" providerId="ADAL" clId="{388EFDEE-447E-42B4-98EF-30C01AB2E8CD}" dt="2022-03-28T19:57:33.046" v="4033"/>
          <ac:spMkLst>
            <pc:docMk/>
            <pc:sldMk cId="355669928" sldId="2134803547"/>
            <ac:spMk id="68" creationId="{FEB9FA58-6713-4F74-A3A9-4F8A004CBAE8}"/>
          </ac:spMkLst>
        </pc:spChg>
        <pc:spChg chg="mod">
          <ac:chgData name="Kebba Jeng" userId="fe4cc296-ba7d-48a2-8799-89b58d218255" providerId="ADAL" clId="{388EFDEE-447E-42B4-98EF-30C01AB2E8CD}" dt="2022-03-28T19:57:33.046" v="4033"/>
          <ac:spMkLst>
            <pc:docMk/>
            <pc:sldMk cId="355669928" sldId="2134803547"/>
            <ac:spMk id="69" creationId="{0215CD04-7568-4769-A01D-0FA8C7E4749C}"/>
          </ac:spMkLst>
        </pc:spChg>
        <pc:spChg chg="mod">
          <ac:chgData name="Kebba Jeng" userId="fe4cc296-ba7d-48a2-8799-89b58d218255" providerId="ADAL" clId="{388EFDEE-447E-42B4-98EF-30C01AB2E8CD}" dt="2022-03-28T19:57:33.046" v="4033"/>
          <ac:spMkLst>
            <pc:docMk/>
            <pc:sldMk cId="355669928" sldId="2134803547"/>
            <ac:spMk id="70" creationId="{CA08C368-147E-4132-B804-B226333EA076}"/>
          </ac:spMkLst>
        </pc:spChg>
        <pc:spChg chg="mod">
          <ac:chgData name="Kebba Jeng" userId="fe4cc296-ba7d-48a2-8799-89b58d218255" providerId="ADAL" clId="{388EFDEE-447E-42B4-98EF-30C01AB2E8CD}" dt="2022-03-28T19:57:33.046" v="4033"/>
          <ac:spMkLst>
            <pc:docMk/>
            <pc:sldMk cId="355669928" sldId="2134803547"/>
            <ac:spMk id="71" creationId="{A712C5A6-AA29-4384-A6F0-9813E2852266}"/>
          </ac:spMkLst>
        </pc:spChg>
        <pc:spChg chg="mod">
          <ac:chgData name="Kebba Jeng" userId="fe4cc296-ba7d-48a2-8799-89b58d218255" providerId="ADAL" clId="{388EFDEE-447E-42B4-98EF-30C01AB2E8CD}" dt="2022-03-28T19:57:33.046" v="4033"/>
          <ac:spMkLst>
            <pc:docMk/>
            <pc:sldMk cId="355669928" sldId="2134803547"/>
            <ac:spMk id="72" creationId="{2807A2EC-16D1-4D18-BE80-7A1263CDA5FB}"/>
          </ac:spMkLst>
        </pc:spChg>
        <pc:spChg chg="mod">
          <ac:chgData name="Kebba Jeng" userId="fe4cc296-ba7d-48a2-8799-89b58d218255" providerId="ADAL" clId="{388EFDEE-447E-42B4-98EF-30C01AB2E8CD}" dt="2022-03-28T19:57:33.046" v="4033"/>
          <ac:spMkLst>
            <pc:docMk/>
            <pc:sldMk cId="355669928" sldId="2134803547"/>
            <ac:spMk id="73" creationId="{ECF570A2-96E6-4715-9D1B-440654CA57A6}"/>
          </ac:spMkLst>
        </pc:spChg>
        <pc:spChg chg="mod">
          <ac:chgData name="Kebba Jeng" userId="fe4cc296-ba7d-48a2-8799-89b58d218255" providerId="ADAL" clId="{388EFDEE-447E-42B4-98EF-30C01AB2E8CD}" dt="2022-03-28T19:57:33.046" v="4033"/>
          <ac:spMkLst>
            <pc:docMk/>
            <pc:sldMk cId="355669928" sldId="2134803547"/>
            <ac:spMk id="74" creationId="{72FCEBFB-86C0-481F-A9B0-E67A151FA569}"/>
          </ac:spMkLst>
        </pc:spChg>
        <pc:spChg chg="mod">
          <ac:chgData name="Kebba Jeng" userId="fe4cc296-ba7d-48a2-8799-89b58d218255" providerId="ADAL" clId="{388EFDEE-447E-42B4-98EF-30C01AB2E8CD}" dt="2022-03-28T19:57:33.046" v="4033"/>
          <ac:spMkLst>
            <pc:docMk/>
            <pc:sldMk cId="355669928" sldId="2134803547"/>
            <ac:spMk id="75" creationId="{B23CBE18-19AF-40C4-A38F-2C03E44C5C98}"/>
          </ac:spMkLst>
        </pc:spChg>
        <pc:spChg chg="mod">
          <ac:chgData name="Kebba Jeng" userId="fe4cc296-ba7d-48a2-8799-89b58d218255" providerId="ADAL" clId="{388EFDEE-447E-42B4-98EF-30C01AB2E8CD}" dt="2022-03-28T19:57:33.046" v="4033"/>
          <ac:spMkLst>
            <pc:docMk/>
            <pc:sldMk cId="355669928" sldId="2134803547"/>
            <ac:spMk id="76" creationId="{45FAFCDE-8DA0-424E-BDE6-F6DB50AF79A5}"/>
          </ac:spMkLst>
        </pc:spChg>
        <pc:spChg chg="mod">
          <ac:chgData name="Kebba Jeng" userId="fe4cc296-ba7d-48a2-8799-89b58d218255" providerId="ADAL" clId="{388EFDEE-447E-42B4-98EF-30C01AB2E8CD}" dt="2022-03-28T19:57:33.046" v="4033"/>
          <ac:spMkLst>
            <pc:docMk/>
            <pc:sldMk cId="355669928" sldId="2134803547"/>
            <ac:spMk id="77" creationId="{4E4A0C35-3FE0-4239-9822-1E503D9F8283}"/>
          </ac:spMkLst>
        </pc:spChg>
        <pc:spChg chg="mod">
          <ac:chgData name="Kebba Jeng" userId="fe4cc296-ba7d-48a2-8799-89b58d218255" providerId="ADAL" clId="{388EFDEE-447E-42B4-98EF-30C01AB2E8CD}" dt="2022-03-28T19:57:33.046" v="4033"/>
          <ac:spMkLst>
            <pc:docMk/>
            <pc:sldMk cId="355669928" sldId="2134803547"/>
            <ac:spMk id="78" creationId="{6D4D5873-5CEA-4B64-9E72-67834BB8895C}"/>
          </ac:spMkLst>
        </pc:spChg>
        <pc:spChg chg="mod">
          <ac:chgData name="Kebba Jeng" userId="fe4cc296-ba7d-48a2-8799-89b58d218255" providerId="ADAL" clId="{388EFDEE-447E-42B4-98EF-30C01AB2E8CD}" dt="2022-03-28T19:57:33.046" v="4033"/>
          <ac:spMkLst>
            <pc:docMk/>
            <pc:sldMk cId="355669928" sldId="2134803547"/>
            <ac:spMk id="79" creationId="{DD1BB5AD-8D84-48B6-9993-079A2052925C}"/>
          </ac:spMkLst>
        </pc:spChg>
        <pc:spChg chg="mod">
          <ac:chgData name="Kebba Jeng" userId="fe4cc296-ba7d-48a2-8799-89b58d218255" providerId="ADAL" clId="{388EFDEE-447E-42B4-98EF-30C01AB2E8CD}" dt="2022-03-28T19:57:33.046" v="4033"/>
          <ac:spMkLst>
            <pc:docMk/>
            <pc:sldMk cId="355669928" sldId="2134803547"/>
            <ac:spMk id="80" creationId="{A276D449-8A94-4A15-B340-3516FB335DB7}"/>
          </ac:spMkLst>
        </pc:spChg>
        <pc:spChg chg="mod">
          <ac:chgData name="Kebba Jeng" userId="fe4cc296-ba7d-48a2-8799-89b58d218255" providerId="ADAL" clId="{388EFDEE-447E-42B4-98EF-30C01AB2E8CD}" dt="2022-03-28T19:57:33.046" v="4033"/>
          <ac:spMkLst>
            <pc:docMk/>
            <pc:sldMk cId="355669928" sldId="2134803547"/>
            <ac:spMk id="81" creationId="{DAFA6F46-5A77-46AC-912A-ACE5AE1F7660}"/>
          </ac:spMkLst>
        </pc:spChg>
        <pc:spChg chg="mod">
          <ac:chgData name="Kebba Jeng" userId="fe4cc296-ba7d-48a2-8799-89b58d218255" providerId="ADAL" clId="{388EFDEE-447E-42B4-98EF-30C01AB2E8CD}" dt="2022-03-28T19:57:33.046" v="4033"/>
          <ac:spMkLst>
            <pc:docMk/>
            <pc:sldMk cId="355669928" sldId="2134803547"/>
            <ac:spMk id="82" creationId="{0674B6E3-92A9-4259-B336-56B32083AB1E}"/>
          </ac:spMkLst>
        </pc:spChg>
        <pc:spChg chg="mod">
          <ac:chgData name="Kebba Jeng" userId="fe4cc296-ba7d-48a2-8799-89b58d218255" providerId="ADAL" clId="{388EFDEE-447E-42B4-98EF-30C01AB2E8CD}" dt="2022-03-28T19:57:33.046" v="4033"/>
          <ac:spMkLst>
            <pc:docMk/>
            <pc:sldMk cId="355669928" sldId="2134803547"/>
            <ac:spMk id="83" creationId="{892E83FF-0402-4F4F-A08C-DCEA4223A092}"/>
          </ac:spMkLst>
        </pc:spChg>
        <pc:spChg chg="mod">
          <ac:chgData name="Kebba Jeng" userId="fe4cc296-ba7d-48a2-8799-89b58d218255" providerId="ADAL" clId="{388EFDEE-447E-42B4-98EF-30C01AB2E8CD}" dt="2022-03-28T19:57:33.046" v="4033"/>
          <ac:spMkLst>
            <pc:docMk/>
            <pc:sldMk cId="355669928" sldId="2134803547"/>
            <ac:spMk id="84" creationId="{06260332-F3E3-44C4-BBD7-5FEC121CF383}"/>
          </ac:spMkLst>
        </pc:spChg>
        <pc:spChg chg="mod">
          <ac:chgData name="Kebba Jeng" userId="fe4cc296-ba7d-48a2-8799-89b58d218255" providerId="ADAL" clId="{388EFDEE-447E-42B4-98EF-30C01AB2E8CD}" dt="2022-03-28T19:57:33.046" v="4033"/>
          <ac:spMkLst>
            <pc:docMk/>
            <pc:sldMk cId="355669928" sldId="2134803547"/>
            <ac:spMk id="85" creationId="{DDEE7275-0029-4956-83B7-5A0EB15F1F87}"/>
          </ac:spMkLst>
        </pc:spChg>
        <pc:spChg chg="mod">
          <ac:chgData name="Kebba Jeng" userId="fe4cc296-ba7d-48a2-8799-89b58d218255" providerId="ADAL" clId="{388EFDEE-447E-42B4-98EF-30C01AB2E8CD}" dt="2022-03-28T19:57:33.046" v="4033"/>
          <ac:spMkLst>
            <pc:docMk/>
            <pc:sldMk cId="355669928" sldId="2134803547"/>
            <ac:spMk id="86" creationId="{21FCFF0D-38E7-4CBD-A207-F3961B7FD48C}"/>
          </ac:spMkLst>
        </pc:spChg>
        <pc:spChg chg="mod">
          <ac:chgData name="Kebba Jeng" userId="fe4cc296-ba7d-48a2-8799-89b58d218255" providerId="ADAL" clId="{388EFDEE-447E-42B4-98EF-30C01AB2E8CD}" dt="2022-03-28T19:57:33.046" v="4033"/>
          <ac:spMkLst>
            <pc:docMk/>
            <pc:sldMk cId="355669928" sldId="2134803547"/>
            <ac:spMk id="87" creationId="{B271777D-07D2-4E1F-92D5-899AC93E9CED}"/>
          </ac:spMkLst>
        </pc:spChg>
        <pc:spChg chg="mod">
          <ac:chgData name="Kebba Jeng" userId="fe4cc296-ba7d-48a2-8799-89b58d218255" providerId="ADAL" clId="{388EFDEE-447E-42B4-98EF-30C01AB2E8CD}" dt="2022-03-28T19:57:33.046" v="4033"/>
          <ac:spMkLst>
            <pc:docMk/>
            <pc:sldMk cId="355669928" sldId="2134803547"/>
            <ac:spMk id="88" creationId="{D339361B-7B6F-4917-9B3F-0774F61D12A9}"/>
          </ac:spMkLst>
        </pc:spChg>
        <pc:spChg chg="mod">
          <ac:chgData name="Kebba Jeng" userId="fe4cc296-ba7d-48a2-8799-89b58d218255" providerId="ADAL" clId="{388EFDEE-447E-42B4-98EF-30C01AB2E8CD}" dt="2022-03-28T19:57:33.046" v="4033"/>
          <ac:spMkLst>
            <pc:docMk/>
            <pc:sldMk cId="355669928" sldId="2134803547"/>
            <ac:spMk id="89" creationId="{396B9AB1-0447-4B5B-B633-A5A2F6D88DFA}"/>
          </ac:spMkLst>
        </pc:spChg>
        <pc:spChg chg="mod">
          <ac:chgData name="Kebba Jeng" userId="fe4cc296-ba7d-48a2-8799-89b58d218255" providerId="ADAL" clId="{388EFDEE-447E-42B4-98EF-30C01AB2E8CD}" dt="2022-03-28T19:57:33.046" v="4033"/>
          <ac:spMkLst>
            <pc:docMk/>
            <pc:sldMk cId="355669928" sldId="2134803547"/>
            <ac:spMk id="90" creationId="{B859AC60-BF8B-40E6-9BB4-0BD02308D15A}"/>
          </ac:spMkLst>
        </pc:spChg>
        <pc:spChg chg="mod">
          <ac:chgData name="Kebba Jeng" userId="fe4cc296-ba7d-48a2-8799-89b58d218255" providerId="ADAL" clId="{388EFDEE-447E-42B4-98EF-30C01AB2E8CD}" dt="2022-03-28T19:57:33.046" v="4033"/>
          <ac:spMkLst>
            <pc:docMk/>
            <pc:sldMk cId="355669928" sldId="2134803547"/>
            <ac:spMk id="91" creationId="{71E4F9EE-438F-4A6B-8350-50DA1D3471F8}"/>
          </ac:spMkLst>
        </pc:spChg>
        <pc:spChg chg="mod">
          <ac:chgData name="Kebba Jeng" userId="fe4cc296-ba7d-48a2-8799-89b58d218255" providerId="ADAL" clId="{388EFDEE-447E-42B4-98EF-30C01AB2E8CD}" dt="2022-03-28T19:57:33.046" v="4033"/>
          <ac:spMkLst>
            <pc:docMk/>
            <pc:sldMk cId="355669928" sldId="2134803547"/>
            <ac:spMk id="92" creationId="{A7E72A58-7936-4F07-B370-CDB0BA97E8DD}"/>
          </ac:spMkLst>
        </pc:spChg>
        <pc:spChg chg="mod">
          <ac:chgData name="Kebba Jeng" userId="fe4cc296-ba7d-48a2-8799-89b58d218255" providerId="ADAL" clId="{388EFDEE-447E-42B4-98EF-30C01AB2E8CD}" dt="2022-03-28T19:57:33.046" v="4033"/>
          <ac:spMkLst>
            <pc:docMk/>
            <pc:sldMk cId="355669928" sldId="2134803547"/>
            <ac:spMk id="93" creationId="{3BF6234A-55D2-4FA2-8480-6BB264ED4D4D}"/>
          </ac:spMkLst>
        </pc:spChg>
        <pc:spChg chg="mod">
          <ac:chgData name="Kebba Jeng" userId="fe4cc296-ba7d-48a2-8799-89b58d218255" providerId="ADAL" clId="{388EFDEE-447E-42B4-98EF-30C01AB2E8CD}" dt="2022-03-28T19:57:33.046" v="4033"/>
          <ac:spMkLst>
            <pc:docMk/>
            <pc:sldMk cId="355669928" sldId="2134803547"/>
            <ac:spMk id="94" creationId="{F835BCD7-DAC5-4A9D-A536-AB956F6B311C}"/>
          </ac:spMkLst>
        </pc:spChg>
        <pc:spChg chg="mod">
          <ac:chgData name="Kebba Jeng" userId="fe4cc296-ba7d-48a2-8799-89b58d218255" providerId="ADAL" clId="{388EFDEE-447E-42B4-98EF-30C01AB2E8CD}" dt="2022-03-28T19:57:33.046" v="4033"/>
          <ac:spMkLst>
            <pc:docMk/>
            <pc:sldMk cId="355669928" sldId="2134803547"/>
            <ac:spMk id="95" creationId="{732FBA32-8D30-494F-9357-439FF665B8C4}"/>
          </ac:spMkLst>
        </pc:spChg>
        <pc:spChg chg="mod">
          <ac:chgData name="Kebba Jeng" userId="fe4cc296-ba7d-48a2-8799-89b58d218255" providerId="ADAL" clId="{388EFDEE-447E-42B4-98EF-30C01AB2E8CD}" dt="2022-03-28T19:57:33.046" v="4033"/>
          <ac:spMkLst>
            <pc:docMk/>
            <pc:sldMk cId="355669928" sldId="2134803547"/>
            <ac:spMk id="96" creationId="{3F147647-0AB7-44C0-98A2-966DD9FFD38B}"/>
          </ac:spMkLst>
        </pc:spChg>
        <pc:spChg chg="mod">
          <ac:chgData name="Kebba Jeng" userId="fe4cc296-ba7d-48a2-8799-89b58d218255" providerId="ADAL" clId="{388EFDEE-447E-42B4-98EF-30C01AB2E8CD}" dt="2022-03-28T19:57:33.046" v="4033"/>
          <ac:spMkLst>
            <pc:docMk/>
            <pc:sldMk cId="355669928" sldId="2134803547"/>
            <ac:spMk id="97" creationId="{6D8FD087-D7EA-4DF3-8695-85A1ECB86B53}"/>
          </ac:spMkLst>
        </pc:spChg>
        <pc:spChg chg="mod">
          <ac:chgData name="Kebba Jeng" userId="fe4cc296-ba7d-48a2-8799-89b58d218255" providerId="ADAL" clId="{388EFDEE-447E-42B4-98EF-30C01AB2E8CD}" dt="2022-03-28T19:57:33.046" v="4033"/>
          <ac:spMkLst>
            <pc:docMk/>
            <pc:sldMk cId="355669928" sldId="2134803547"/>
            <ac:spMk id="98" creationId="{0F16189B-BD03-4B11-BE7F-D92D47EB7A6F}"/>
          </ac:spMkLst>
        </pc:spChg>
        <pc:spChg chg="mod">
          <ac:chgData name="Kebba Jeng" userId="fe4cc296-ba7d-48a2-8799-89b58d218255" providerId="ADAL" clId="{388EFDEE-447E-42B4-98EF-30C01AB2E8CD}" dt="2022-03-28T19:57:33.046" v="4033"/>
          <ac:spMkLst>
            <pc:docMk/>
            <pc:sldMk cId="355669928" sldId="2134803547"/>
            <ac:spMk id="99" creationId="{4E6952BF-6EC1-4A1E-911E-C7AB7E6A9235}"/>
          </ac:spMkLst>
        </pc:spChg>
        <pc:spChg chg="mod">
          <ac:chgData name="Kebba Jeng" userId="fe4cc296-ba7d-48a2-8799-89b58d218255" providerId="ADAL" clId="{388EFDEE-447E-42B4-98EF-30C01AB2E8CD}" dt="2022-03-28T19:57:33.046" v="4033"/>
          <ac:spMkLst>
            <pc:docMk/>
            <pc:sldMk cId="355669928" sldId="2134803547"/>
            <ac:spMk id="100" creationId="{56601D03-5128-4BD4-BF8A-486632F8EF4E}"/>
          </ac:spMkLst>
        </pc:spChg>
        <pc:spChg chg="mod">
          <ac:chgData name="Kebba Jeng" userId="fe4cc296-ba7d-48a2-8799-89b58d218255" providerId="ADAL" clId="{388EFDEE-447E-42B4-98EF-30C01AB2E8CD}" dt="2022-03-28T19:57:33.046" v="4033"/>
          <ac:spMkLst>
            <pc:docMk/>
            <pc:sldMk cId="355669928" sldId="2134803547"/>
            <ac:spMk id="101" creationId="{D25004B0-7AEE-47A3-81CA-2F051F427F9A}"/>
          </ac:spMkLst>
        </pc:spChg>
        <pc:spChg chg="mod">
          <ac:chgData name="Kebba Jeng" userId="fe4cc296-ba7d-48a2-8799-89b58d218255" providerId="ADAL" clId="{388EFDEE-447E-42B4-98EF-30C01AB2E8CD}" dt="2022-03-28T19:57:33.046" v="4033"/>
          <ac:spMkLst>
            <pc:docMk/>
            <pc:sldMk cId="355669928" sldId="2134803547"/>
            <ac:spMk id="102" creationId="{C1A8D1B5-C831-4C68-A176-FE61DB048DB0}"/>
          </ac:spMkLst>
        </pc:spChg>
        <pc:spChg chg="mod">
          <ac:chgData name="Kebba Jeng" userId="fe4cc296-ba7d-48a2-8799-89b58d218255" providerId="ADAL" clId="{388EFDEE-447E-42B4-98EF-30C01AB2E8CD}" dt="2022-03-28T19:57:33.046" v="4033"/>
          <ac:spMkLst>
            <pc:docMk/>
            <pc:sldMk cId="355669928" sldId="2134803547"/>
            <ac:spMk id="103" creationId="{9D0DFB4A-4465-4C1F-96F2-BB01044B4F71}"/>
          </ac:spMkLst>
        </pc:spChg>
        <pc:spChg chg="mod">
          <ac:chgData name="Kebba Jeng" userId="fe4cc296-ba7d-48a2-8799-89b58d218255" providerId="ADAL" clId="{388EFDEE-447E-42B4-98EF-30C01AB2E8CD}" dt="2022-03-28T19:57:33.046" v="4033"/>
          <ac:spMkLst>
            <pc:docMk/>
            <pc:sldMk cId="355669928" sldId="2134803547"/>
            <ac:spMk id="104" creationId="{8C93ABF7-7AAE-411D-A158-6920137A51A9}"/>
          </ac:spMkLst>
        </pc:spChg>
        <pc:spChg chg="mod">
          <ac:chgData name="Kebba Jeng" userId="fe4cc296-ba7d-48a2-8799-89b58d218255" providerId="ADAL" clId="{388EFDEE-447E-42B4-98EF-30C01AB2E8CD}" dt="2022-03-28T19:57:33.046" v="4033"/>
          <ac:spMkLst>
            <pc:docMk/>
            <pc:sldMk cId="355669928" sldId="2134803547"/>
            <ac:spMk id="105" creationId="{FB68F41E-9156-43DA-AE8C-432E5930D1C2}"/>
          </ac:spMkLst>
        </pc:spChg>
        <pc:spChg chg="mod">
          <ac:chgData name="Kebba Jeng" userId="fe4cc296-ba7d-48a2-8799-89b58d218255" providerId="ADAL" clId="{388EFDEE-447E-42B4-98EF-30C01AB2E8CD}" dt="2022-03-28T19:57:33.046" v="4033"/>
          <ac:spMkLst>
            <pc:docMk/>
            <pc:sldMk cId="355669928" sldId="2134803547"/>
            <ac:spMk id="106" creationId="{3606B9A1-FCCE-4F65-890F-06824EB7744C}"/>
          </ac:spMkLst>
        </pc:spChg>
        <pc:spChg chg="mod">
          <ac:chgData name="Kebba Jeng" userId="fe4cc296-ba7d-48a2-8799-89b58d218255" providerId="ADAL" clId="{388EFDEE-447E-42B4-98EF-30C01AB2E8CD}" dt="2022-03-28T19:57:33.046" v="4033"/>
          <ac:spMkLst>
            <pc:docMk/>
            <pc:sldMk cId="355669928" sldId="2134803547"/>
            <ac:spMk id="107" creationId="{7B3E1F70-91DA-4E49-ADFA-2B5C4671EFA3}"/>
          </ac:spMkLst>
        </pc:spChg>
        <pc:spChg chg="mod">
          <ac:chgData name="Kebba Jeng" userId="fe4cc296-ba7d-48a2-8799-89b58d218255" providerId="ADAL" clId="{388EFDEE-447E-42B4-98EF-30C01AB2E8CD}" dt="2022-03-28T19:57:33.046" v="4033"/>
          <ac:spMkLst>
            <pc:docMk/>
            <pc:sldMk cId="355669928" sldId="2134803547"/>
            <ac:spMk id="108" creationId="{65137F22-928C-4981-9DB2-AC553E8F70BA}"/>
          </ac:spMkLst>
        </pc:spChg>
        <pc:spChg chg="mod">
          <ac:chgData name="Kebba Jeng" userId="fe4cc296-ba7d-48a2-8799-89b58d218255" providerId="ADAL" clId="{388EFDEE-447E-42B4-98EF-30C01AB2E8CD}" dt="2022-03-28T19:57:33.046" v="4033"/>
          <ac:spMkLst>
            <pc:docMk/>
            <pc:sldMk cId="355669928" sldId="2134803547"/>
            <ac:spMk id="109" creationId="{4F7A57C5-2ADD-421C-9C45-EEDAAFBD1F4C}"/>
          </ac:spMkLst>
        </pc:spChg>
        <pc:spChg chg="mod">
          <ac:chgData name="Kebba Jeng" userId="fe4cc296-ba7d-48a2-8799-89b58d218255" providerId="ADAL" clId="{388EFDEE-447E-42B4-98EF-30C01AB2E8CD}" dt="2022-03-28T19:57:33.046" v="4033"/>
          <ac:spMkLst>
            <pc:docMk/>
            <pc:sldMk cId="355669928" sldId="2134803547"/>
            <ac:spMk id="110" creationId="{7D818C4E-402E-4CD3-93D1-701F751F414A}"/>
          </ac:spMkLst>
        </pc:spChg>
        <pc:spChg chg="mod">
          <ac:chgData name="Kebba Jeng" userId="fe4cc296-ba7d-48a2-8799-89b58d218255" providerId="ADAL" clId="{388EFDEE-447E-42B4-98EF-30C01AB2E8CD}" dt="2022-03-28T19:57:33.046" v="4033"/>
          <ac:spMkLst>
            <pc:docMk/>
            <pc:sldMk cId="355669928" sldId="2134803547"/>
            <ac:spMk id="111" creationId="{3F1B6EFF-124D-4A17-B0BE-D5B44371D83A}"/>
          </ac:spMkLst>
        </pc:spChg>
        <pc:spChg chg="mod">
          <ac:chgData name="Kebba Jeng" userId="fe4cc296-ba7d-48a2-8799-89b58d218255" providerId="ADAL" clId="{388EFDEE-447E-42B4-98EF-30C01AB2E8CD}" dt="2022-03-28T19:57:33.046" v="4033"/>
          <ac:spMkLst>
            <pc:docMk/>
            <pc:sldMk cId="355669928" sldId="2134803547"/>
            <ac:spMk id="112" creationId="{E83F4428-C0B3-46D1-B71F-9C3B25D3F55D}"/>
          </ac:spMkLst>
        </pc:spChg>
        <pc:spChg chg="mod">
          <ac:chgData name="Kebba Jeng" userId="fe4cc296-ba7d-48a2-8799-89b58d218255" providerId="ADAL" clId="{388EFDEE-447E-42B4-98EF-30C01AB2E8CD}" dt="2022-03-28T19:57:33.046" v="4033"/>
          <ac:spMkLst>
            <pc:docMk/>
            <pc:sldMk cId="355669928" sldId="2134803547"/>
            <ac:spMk id="113" creationId="{D94BA503-CBCB-454D-8758-14C22CB3A220}"/>
          </ac:spMkLst>
        </pc:spChg>
        <pc:spChg chg="mod">
          <ac:chgData name="Kebba Jeng" userId="fe4cc296-ba7d-48a2-8799-89b58d218255" providerId="ADAL" clId="{388EFDEE-447E-42B4-98EF-30C01AB2E8CD}" dt="2022-03-28T19:57:33.046" v="4033"/>
          <ac:spMkLst>
            <pc:docMk/>
            <pc:sldMk cId="355669928" sldId="2134803547"/>
            <ac:spMk id="114" creationId="{186470A2-12AD-441B-82D7-8F35447440A8}"/>
          </ac:spMkLst>
        </pc:spChg>
        <pc:spChg chg="mod">
          <ac:chgData name="Kebba Jeng" userId="fe4cc296-ba7d-48a2-8799-89b58d218255" providerId="ADAL" clId="{388EFDEE-447E-42B4-98EF-30C01AB2E8CD}" dt="2022-03-28T19:57:33.046" v="4033"/>
          <ac:spMkLst>
            <pc:docMk/>
            <pc:sldMk cId="355669928" sldId="2134803547"/>
            <ac:spMk id="115" creationId="{24E0FBC5-181B-42F2-BF2F-6C25B8CCCB90}"/>
          </ac:spMkLst>
        </pc:spChg>
        <pc:spChg chg="mod">
          <ac:chgData name="Kebba Jeng" userId="fe4cc296-ba7d-48a2-8799-89b58d218255" providerId="ADAL" clId="{388EFDEE-447E-42B4-98EF-30C01AB2E8CD}" dt="2022-03-28T19:57:33.046" v="4033"/>
          <ac:spMkLst>
            <pc:docMk/>
            <pc:sldMk cId="355669928" sldId="2134803547"/>
            <ac:spMk id="116" creationId="{17DD07FD-0D4D-4084-83C6-392015A86292}"/>
          </ac:spMkLst>
        </pc:spChg>
        <pc:spChg chg="mod">
          <ac:chgData name="Kebba Jeng" userId="fe4cc296-ba7d-48a2-8799-89b58d218255" providerId="ADAL" clId="{388EFDEE-447E-42B4-98EF-30C01AB2E8CD}" dt="2022-03-28T19:57:33.046" v="4033"/>
          <ac:spMkLst>
            <pc:docMk/>
            <pc:sldMk cId="355669928" sldId="2134803547"/>
            <ac:spMk id="117" creationId="{157B3A75-A382-4B40-88E9-F612A86A92F0}"/>
          </ac:spMkLst>
        </pc:spChg>
        <pc:spChg chg="mod">
          <ac:chgData name="Kebba Jeng" userId="fe4cc296-ba7d-48a2-8799-89b58d218255" providerId="ADAL" clId="{388EFDEE-447E-42B4-98EF-30C01AB2E8CD}" dt="2022-03-28T19:57:33.046" v="4033"/>
          <ac:spMkLst>
            <pc:docMk/>
            <pc:sldMk cId="355669928" sldId="2134803547"/>
            <ac:spMk id="118" creationId="{C4AD55F5-5C43-46CB-AD07-B6748B967FA9}"/>
          </ac:spMkLst>
        </pc:spChg>
        <pc:spChg chg="mod">
          <ac:chgData name="Kebba Jeng" userId="fe4cc296-ba7d-48a2-8799-89b58d218255" providerId="ADAL" clId="{388EFDEE-447E-42B4-98EF-30C01AB2E8CD}" dt="2022-03-28T19:57:33.046" v="4033"/>
          <ac:spMkLst>
            <pc:docMk/>
            <pc:sldMk cId="355669928" sldId="2134803547"/>
            <ac:spMk id="119" creationId="{9E832DA9-C039-4006-BCAD-4437EE6F7382}"/>
          </ac:spMkLst>
        </pc:spChg>
        <pc:spChg chg="mod">
          <ac:chgData name="Kebba Jeng" userId="fe4cc296-ba7d-48a2-8799-89b58d218255" providerId="ADAL" clId="{388EFDEE-447E-42B4-98EF-30C01AB2E8CD}" dt="2022-03-28T19:57:33.046" v="4033"/>
          <ac:spMkLst>
            <pc:docMk/>
            <pc:sldMk cId="355669928" sldId="2134803547"/>
            <ac:spMk id="120" creationId="{4737681A-B3C5-459C-A8AA-6D1F8390937C}"/>
          </ac:spMkLst>
        </pc:spChg>
        <pc:spChg chg="mod">
          <ac:chgData name="Kebba Jeng" userId="fe4cc296-ba7d-48a2-8799-89b58d218255" providerId="ADAL" clId="{388EFDEE-447E-42B4-98EF-30C01AB2E8CD}" dt="2022-03-28T19:57:33.046" v="4033"/>
          <ac:spMkLst>
            <pc:docMk/>
            <pc:sldMk cId="355669928" sldId="2134803547"/>
            <ac:spMk id="121" creationId="{8A149674-4817-4F7F-9BF5-974445D0ADA1}"/>
          </ac:spMkLst>
        </pc:spChg>
        <pc:spChg chg="mod">
          <ac:chgData name="Kebba Jeng" userId="fe4cc296-ba7d-48a2-8799-89b58d218255" providerId="ADAL" clId="{388EFDEE-447E-42B4-98EF-30C01AB2E8CD}" dt="2022-03-28T19:57:33.046" v="4033"/>
          <ac:spMkLst>
            <pc:docMk/>
            <pc:sldMk cId="355669928" sldId="2134803547"/>
            <ac:spMk id="122" creationId="{97A27EF9-ADB1-48D3-AAA8-1354174C79A2}"/>
          </ac:spMkLst>
        </pc:spChg>
        <pc:spChg chg="mod">
          <ac:chgData name="Kebba Jeng" userId="fe4cc296-ba7d-48a2-8799-89b58d218255" providerId="ADAL" clId="{388EFDEE-447E-42B4-98EF-30C01AB2E8CD}" dt="2022-03-28T19:57:33.046" v="4033"/>
          <ac:spMkLst>
            <pc:docMk/>
            <pc:sldMk cId="355669928" sldId="2134803547"/>
            <ac:spMk id="123" creationId="{4D1884D7-95E5-4F1E-85CD-22222FE23E4F}"/>
          </ac:spMkLst>
        </pc:spChg>
        <pc:spChg chg="mod">
          <ac:chgData name="Kebba Jeng" userId="fe4cc296-ba7d-48a2-8799-89b58d218255" providerId="ADAL" clId="{388EFDEE-447E-42B4-98EF-30C01AB2E8CD}" dt="2022-03-28T19:57:33.046" v="4033"/>
          <ac:spMkLst>
            <pc:docMk/>
            <pc:sldMk cId="355669928" sldId="2134803547"/>
            <ac:spMk id="124" creationId="{058AC960-7703-4198-9DA9-DF1611AC1E93}"/>
          </ac:spMkLst>
        </pc:spChg>
        <pc:spChg chg="mod">
          <ac:chgData name="Kebba Jeng" userId="fe4cc296-ba7d-48a2-8799-89b58d218255" providerId="ADAL" clId="{388EFDEE-447E-42B4-98EF-30C01AB2E8CD}" dt="2022-03-28T19:57:33.046" v="4033"/>
          <ac:spMkLst>
            <pc:docMk/>
            <pc:sldMk cId="355669928" sldId="2134803547"/>
            <ac:spMk id="125" creationId="{EB2FF6FC-2633-4233-ABE5-74D5213AD045}"/>
          </ac:spMkLst>
        </pc:spChg>
        <pc:spChg chg="mod">
          <ac:chgData name="Kebba Jeng" userId="fe4cc296-ba7d-48a2-8799-89b58d218255" providerId="ADAL" clId="{388EFDEE-447E-42B4-98EF-30C01AB2E8CD}" dt="2022-03-28T19:57:33.046" v="4033"/>
          <ac:spMkLst>
            <pc:docMk/>
            <pc:sldMk cId="355669928" sldId="2134803547"/>
            <ac:spMk id="126" creationId="{DE85F13C-9954-41D7-A8D6-6F77BA1433DB}"/>
          </ac:spMkLst>
        </pc:spChg>
        <pc:spChg chg="mod">
          <ac:chgData name="Kebba Jeng" userId="fe4cc296-ba7d-48a2-8799-89b58d218255" providerId="ADAL" clId="{388EFDEE-447E-42B4-98EF-30C01AB2E8CD}" dt="2022-03-28T19:57:33.046" v="4033"/>
          <ac:spMkLst>
            <pc:docMk/>
            <pc:sldMk cId="355669928" sldId="2134803547"/>
            <ac:spMk id="127" creationId="{ABCB7117-D2A2-41B6-86EF-286F579A8FB9}"/>
          </ac:spMkLst>
        </pc:spChg>
        <pc:spChg chg="mod">
          <ac:chgData name="Kebba Jeng" userId="fe4cc296-ba7d-48a2-8799-89b58d218255" providerId="ADAL" clId="{388EFDEE-447E-42B4-98EF-30C01AB2E8CD}" dt="2022-03-28T19:57:33.046" v="4033"/>
          <ac:spMkLst>
            <pc:docMk/>
            <pc:sldMk cId="355669928" sldId="2134803547"/>
            <ac:spMk id="128" creationId="{78F2EFD6-37C9-4355-8A53-9DFCA515550E}"/>
          </ac:spMkLst>
        </pc:spChg>
        <pc:spChg chg="mod">
          <ac:chgData name="Kebba Jeng" userId="fe4cc296-ba7d-48a2-8799-89b58d218255" providerId="ADAL" clId="{388EFDEE-447E-42B4-98EF-30C01AB2E8CD}" dt="2022-03-28T19:57:33.046" v="4033"/>
          <ac:spMkLst>
            <pc:docMk/>
            <pc:sldMk cId="355669928" sldId="2134803547"/>
            <ac:spMk id="129" creationId="{FC1171F3-73C2-43A1-BB76-DA8D78447002}"/>
          </ac:spMkLst>
        </pc:spChg>
        <pc:spChg chg="mod">
          <ac:chgData name="Kebba Jeng" userId="fe4cc296-ba7d-48a2-8799-89b58d218255" providerId="ADAL" clId="{388EFDEE-447E-42B4-98EF-30C01AB2E8CD}" dt="2022-03-28T19:57:33.046" v="4033"/>
          <ac:spMkLst>
            <pc:docMk/>
            <pc:sldMk cId="355669928" sldId="2134803547"/>
            <ac:spMk id="130" creationId="{F1366CEB-AC2F-49AB-A093-C680CE85AA3C}"/>
          </ac:spMkLst>
        </pc:spChg>
        <pc:spChg chg="mod">
          <ac:chgData name="Kebba Jeng" userId="fe4cc296-ba7d-48a2-8799-89b58d218255" providerId="ADAL" clId="{388EFDEE-447E-42B4-98EF-30C01AB2E8CD}" dt="2022-03-28T19:57:33.046" v="4033"/>
          <ac:spMkLst>
            <pc:docMk/>
            <pc:sldMk cId="355669928" sldId="2134803547"/>
            <ac:spMk id="131" creationId="{C8D86342-979D-483C-AF6A-0BE8EB545107}"/>
          </ac:spMkLst>
        </pc:spChg>
        <pc:spChg chg="mod">
          <ac:chgData name="Kebba Jeng" userId="fe4cc296-ba7d-48a2-8799-89b58d218255" providerId="ADAL" clId="{388EFDEE-447E-42B4-98EF-30C01AB2E8CD}" dt="2022-03-28T19:57:33.046" v="4033"/>
          <ac:spMkLst>
            <pc:docMk/>
            <pc:sldMk cId="355669928" sldId="2134803547"/>
            <ac:spMk id="132" creationId="{E2A72AAF-DC1A-4019-915A-665185A62C4E}"/>
          </ac:spMkLst>
        </pc:spChg>
        <pc:spChg chg="mod">
          <ac:chgData name="Kebba Jeng" userId="fe4cc296-ba7d-48a2-8799-89b58d218255" providerId="ADAL" clId="{388EFDEE-447E-42B4-98EF-30C01AB2E8CD}" dt="2022-03-28T19:57:33.046" v="4033"/>
          <ac:spMkLst>
            <pc:docMk/>
            <pc:sldMk cId="355669928" sldId="2134803547"/>
            <ac:spMk id="133" creationId="{2C86471B-42CC-49FA-8084-E72FC2B83DF3}"/>
          </ac:spMkLst>
        </pc:spChg>
        <pc:spChg chg="mod">
          <ac:chgData name="Kebba Jeng" userId="fe4cc296-ba7d-48a2-8799-89b58d218255" providerId="ADAL" clId="{388EFDEE-447E-42B4-98EF-30C01AB2E8CD}" dt="2022-03-28T19:57:33.046" v="4033"/>
          <ac:spMkLst>
            <pc:docMk/>
            <pc:sldMk cId="355669928" sldId="2134803547"/>
            <ac:spMk id="134" creationId="{B6A30DC8-AE73-4214-8644-9B44288E5AC9}"/>
          </ac:spMkLst>
        </pc:spChg>
        <pc:spChg chg="mod">
          <ac:chgData name="Kebba Jeng" userId="fe4cc296-ba7d-48a2-8799-89b58d218255" providerId="ADAL" clId="{388EFDEE-447E-42B4-98EF-30C01AB2E8CD}" dt="2022-03-28T19:57:33.046" v="4033"/>
          <ac:spMkLst>
            <pc:docMk/>
            <pc:sldMk cId="355669928" sldId="2134803547"/>
            <ac:spMk id="135" creationId="{2663BAAE-BFEB-4CC3-A0A8-F09ACDF18CA4}"/>
          </ac:spMkLst>
        </pc:spChg>
        <pc:spChg chg="mod">
          <ac:chgData name="Kebba Jeng" userId="fe4cc296-ba7d-48a2-8799-89b58d218255" providerId="ADAL" clId="{388EFDEE-447E-42B4-98EF-30C01AB2E8CD}" dt="2022-03-28T19:57:33.046" v="4033"/>
          <ac:spMkLst>
            <pc:docMk/>
            <pc:sldMk cId="355669928" sldId="2134803547"/>
            <ac:spMk id="136" creationId="{C1D8CAA1-62B2-4BA6-88AA-26F0A4C1950F}"/>
          </ac:spMkLst>
        </pc:spChg>
        <pc:spChg chg="mod">
          <ac:chgData name="Kebba Jeng" userId="fe4cc296-ba7d-48a2-8799-89b58d218255" providerId="ADAL" clId="{388EFDEE-447E-42B4-98EF-30C01AB2E8CD}" dt="2022-03-28T19:57:33.046" v="4033"/>
          <ac:spMkLst>
            <pc:docMk/>
            <pc:sldMk cId="355669928" sldId="2134803547"/>
            <ac:spMk id="137" creationId="{AE6F72B4-BBDD-4549-ABDC-65F17DB63331}"/>
          </ac:spMkLst>
        </pc:spChg>
        <pc:spChg chg="mod">
          <ac:chgData name="Kebba Jeng" userId="fe4cc296-ba7d-48a2-8799-89b58d218255" providerId="ADAL" clId="{388EFDEE-447E-42B4-98EF-30C01AB2E8CD}" dt="2022-03-28T19:57:33.046" v="4033"/>
          <ac:spMkLst>
            <pc:docMk/>
            <pc:sldMk cId="355669928" sldId="2134803547"/>
            <ac:spMk id="138" creationId="{EBCECEFF-FF03-4D94-B938-13A41A5FA2B6}"/>
          </ac:spMkLst>
        </pc:spChg>
        <pc:spChg chg="mod">
          <ac:chgData name="Kebba Jeng" userId="fe4cc296-ba7d-48a2-8799-89b58d218255" providerId="ADAL" clId="{388EFDEE-447E-42B4-98EF-30C01AB2E8CD}" dt="2022-03-28T19:57:33.046" v="4033"/>
          <ac:spMkLst>
            <pc:docMk/>
            <pc:sldMk cId="355669928" sldId="2134803547"/>
            <ac:spMk id="139" creationId="{FFC47EDF-9613-4037-9C8F-9CFC372A1A19}"/>
          </ac:spMkLst>
        </pc:spChg>
        <pc:spChg chg="mod">
          <ac:chgData name="Kebba Jeng" userId="fe4cc296-ba7d-48a2-8799-89b58d218255" providerId="ADAL" clId="{388EFDEE-447E-42B4-98EF-30C01AB2E8CD}" dt="2022-03-28T19:57:33.046" v="4033"/>
          <ac:spMkLst>
            <pc:docMk/>
            <pc:sldMk cId="355669928" sldId="2134803547"/>
            <ac:spMk id="140" creationId="{339E35D0-A8FB-4182-BC5C-EF5012D9C08C}"/>
          </ac:spMkLst>
        </pc:spChg>
        <pc:spChg chg="mod">
          <ac:chgData name="Kebba Jeng" userId="fe4cc296-ba7d-48a2-8799-89b58d218255" providerId="ADAL" clId="{388EFDEE-447E-42B4-98EF-30C01AB2E8CD}" dt="2022-03-28T19:57:33.046" v="4033"/>
          <ac:spMkLst>
            <pc:docMk/>
            <pc:sldMk cId="355669928" sldId="2134803547"/>
            <ac:spMk id="141" creationId="{2CF799DF-8DE5-42C9-82F9-D24C3B9E5CE4}"/>
          </ac:spMkLst>
        </pc:spChg>
        <pc:spChg chg="mod">
          <ac:chgData name="Kebba Jeng" userId="fe4cc296-ba7d-48a2-8799-89b58d218255" providerId="ADAL" clId="{388EFDEE-447E-42B4-98EF-30C01AB2E8CD}" dt="2022-03-28T19:57:33.046" v="4033"/>
          <ac:spMkLst>
            <pc:docMk/>
            <pc:sldMk cId="355669928" sldId="2134803547"/>
            <ac:spMk id="142" creationId="{9BA4DBD8-8B88-4F83-AE73-C42C1D4132C8}"/>
          </ac:spMkLst>
        </pc:spChg>
        <pc:spChg chg="mod">
          <ac:chgData name="Kebba Jeng" userId="fe4cc296-ba7d-48a2-8799-89b58d218255" providerId="ADAL" clId="{388EFDEE-447E-42B4-98EF-30C01AB2E8CD}" dt="2022-03-28T19:57:33.046" v="4033"/>
          <ac:spMkLst>
            <pc:docMk/>
            <pc:sldMk cId="355669928" sldId="2134803547"/>
            <ac:spMk id="143" creationId="{57D6B239-F218-4449-8FC2-AFDDAB9250BB}"/>
          </ac:spMkLst>
        </pc:spChg>
        <pc:spChg chg="mod">
          <ac:chgData name="Kebba Jeng" userId="fe4cc296-ba7d-48a2-8799-89b58d218255" providerId="ADAL" clId="{388EFDEE-447E-42B4-98EF-30C01AB2E8CD}" dt="2022-03-28T19:57:33.046" v="4033"/>
          <ac:spMkLst>
            <pc:docMk/>
            <pc:sldMk cId="355669928" sldId="2134803547"/>
            <ac:spMk id="144" creationId="{55465009-1522-4AB4-A7EF-3DCEE67197E6}"/>
          </ac:spMkLst>
        </pc:spChg>
        <pc:spChg chg="mod">
          <ac:chgData name="Kebba Jeng" userId="fe4cc296-ba7d-48a2-8799-89b58d218255" providerId="ADAL" clId="{388EFDEE-447E-42B4-98EF-30C01AB2E8CD}" dt="2022-03-28T19:57:33.046" v="4033"/>
          <ac:spMkLst>
            <pc:docMk/>
            <pc:sldMk cId="355669928" sldId="2134803547"/>
            <ac:spMk id="145" creationId="{148D3078-68B3-4BE6-A8C7-1C685533CFF0}"/>
          </ac:spMkLst>
        </pc:spChg>
        <pc:spChg chg="mod">
          <ac:chgData name="Kebba Jeng" userId="fe4cc296-ba7d-48a2-8799-89b58d218255" providerId="ADAL" clId="{388EFDEE-447E-42B4-98EF-30C01AB2E8CD}" dt="2022-03-28T19:57:33.046" v="4033"/>
          <ac:spMkLst>
            <pc:docMk/>
            <pc:sldMk cId="355669928" sldId="2134803547"/>
            <ac:spMk id="146" creationId="{642C5713-BFE0-483C-8FE4-E939B8240599}"/>
          </ac:spMkLst>
        </pc:spChg>
        <pc:spChg chg="mod">
          <ac:chgData name="Kebba Jeng" userId="fe4cc296-ba7d-48a2-8799-89b58d218255" providerId="ADAL" clId="{388EFDEE-447E-42B4-98EF-30C01AB2E8CD}" dt="2022-03-28T19:57:33.046" v="4033"/>
          <ac:spMkLst>
            <pc:docMk/>
            <pc:sldMk cId="355669928" sldId="2134803547"/>
            <ac:spMk id="147" creationId="{158A4565-41E1-4B15-9D2A-808557FF5855}"/>
          </ac:spMkLst>
        </pc:spChg>
        <pc:spChg chg="mod">
          <ac:chgData name="Kebba Jeng" userId="fe4cc296-ba7d-48a2-8799-89b58d218255" providerId="ADAL" clId="{388EFDEE-447E-42B4-98EF-30C01AB2E8CD}" dt="2022-03-28T19:57:33.046" v="4033"/>
          <ac:spMkLst>
            <pc:docMk/>
            <pc:sldMk cId="355669928" sldId="2134803547"/>
            <ac:spMk id="148" creationId="{EB6D860E-A596-4742-B4D3-582A7465B5A6}"/>
          </ac:spMkLst>
        </pc:spChg>
        <pc:spChg chg="mod">
          <ac:chgData name="Kebba Jeng" userId="fe4cc296-ba7d-48a2-8799-89b58d218255" providerId="ADAL" clId="{388EFDEE-447E-42B4-98EF-30C01AB2E8CD}" dt="2022-03-28T19:57:33.046" v="4033"/>
          <ac:spMkLst>
            <pc:docMk/>
            <pc:sldMk cId="355669928" sldId="2134803547"/>
            <ac:spMk id="149" creationId="{D07259E1-5853-41A1-BDB6-4C22085B9699}"/>
          </ac:spMkLst>
        </pc:spChg>
        <pc:spChg chg="mod">
          <ac:chgData name="Kebba Jeng" userId="fe4cc296-ba7d-48a2-8799-89b58d218255" providerId="ADAL" clId="{388EFDEE-447E-42B4-98EF-30C01AB2E8CD}" dt="2022-03-28T19:57:33.046" v="4033"/>
          <ac:spMkLst>
            <pc:docMk/>
            <pc:sldMk cId="355669928" sldId="2134803547"/>
            <ac:spMk id="150" creationId="{BC7D4B28-271F-4314-ABD3-CE57D3778BD8}"/>
          </ac:spMkLst>
        </pc:spChg>
        <pc:spChg chg="mod">
          <ac:chgData name="Kebba Jeng" userId="fe4cc296-ba7d-48a2-8799-89b58d218255" providerId="ADAL" clId="{388EFDEE-447E-42B4-98EF-30C01AB2E8CD}" dt="2022-03-28T19:57:33.046" v="4033"/>
          <ac:spMkLst>
            <pc:docMk/>
            <pc:sldMk cId="355669928" sldId="2134803547"/>
            <ac:spMk id="151" creationId="{3FFB89AE-C27A-45FB-9739-7BA83A6371F7}"/>
          </ac:spMkLst>
        </pc:spChg>
        <pc:spChg chg="mod">
          <ac:chgData name="Kebba Jeng" userId="fe4cc296-ba7d-48a2-8799-89b58d218255" providerId="ADAL" clId="{388EFDEE-447E-42B4-98EF-30C01AB2E8CD}" dt="2022-03-28T19:57:33.046" v="4033"/>
          <ac:spMkLst>
            <pc:docMk/>
            <pc:sldMk cId="355669928" sldId="2134803547"/>
            <ac:spMk id="152" creationId="{7A97B819-BCF7-487E-8E3C-4A6D43DD4990}"/>
          </ac:spMkLst>
        </pc:spChg>
        <pc:spChg chg="mod">
          <ac:chgData name="Kebba Jeng" userId="fe4cc296-ba7d-48a2-8799-89b58d218255" providerId="ADAL" clId="{388EFDEE-447E-42B4-98EF-30C01AB2E8CD}" dt="2022-03-28T19:57:33.046" v="4033"/>
          <ac:spMkLst>
            <pc:docMk/>
            <pc:sldMk cId="355669928" sldId="2134803547"/>
            <ac:spMk id="153" creationId="{B0CD4D81-F043-49D3-B290-560C3AD3653D}"/>
          </ac:spMkLst>
        </pc:spChg>
        <pc:spChg chg="mod">
          <ac:chgData name="Kebba Jeng" userId="fe4cc296-ba7d-48a2-8799-89b58d218255" providerId="ADAL" clId="{388EFDEE-447E-42B4-98EF-30C01AB2E8CD}" dt="2022-03-28T19:57:33.046" v="4033"/>
          <ac:spMkLst>
            <pc:docMk/>
            <pc:sldMk cId="355669928" sldId="2134803547"/>
            <ac:spMk id="154" creationId="{BF0199C3-5C79-419B-B19E-31CCDBC27CF1}"/>
          </ac:spMkLst>
        </pc:spChg>
        <pc:spChg chg="mod">
          <ac:chgData name="Kebba Jeng" userId="fe4cc296-ba7d-48a2-8799-89b58d218255" providerId="ADAL" clId="{388EFDEE-447E-42B4-98EF-30C01AB2E8CD}" dt="2022-03-28T19:57:33.046" v="4033"/>
          <ac:spMkLst>
            <pc:docMk/>
            <pc:sldMk cId="355669928" sldId="2134803547"/>
            <ac:spMk id="155" creationId="{CFE328E6-476C-400F-8114-8866FE714388}"/>
          </ac:spMkLst>
        </pc:spChg>
        <pc:spChg chg="mod">
          <ac:chgData name="Kebba Jeng" userId="fe4cc296-ba7d-48a2-8799-89b58d218255" providerId="ADAL" clId="{388EFDEE-447E-42B4-98EF-30C01AB2E8CD}" dt="2022-03-28T19:57:33.046" v="4033"/>
          <ac:spMkLst>
            <pc:docMk/>
            <pc:sldMk cId="355669928" sldId="2134803547"/>
            <ac:spMk id="156" creationId="{E8E02028-6B62-46C0-A8B9-B05210690342}"/>
          </ac:spMkLst>
        </pc:spChg>
        <pc:spChg chg="mod">
          <ac:chgData name="Kebba Jeng" userId="fe4cc296-ba7d-48a2-8799-89b58d218255" providerId="ADAL" clId="{388EFDEE-447E-42B4-98EF-30C01AB2E8CD}" dt="2022-03-28T19:57:33.046" v="4033"/>
          <ac:spMkLst>
            <pc:docMk/>
            <pc:sldMk cId="355669928" sldId="2134803547"/>
            <ac:spMk id="157" creationId="{06215816-0E7B-447B-812C-752647AB6A3A}"/>
          </ac:spMkLst>
        </pc:spChg>
        <pc:spChg chg="mod">
          <ac:chgData name="Kebba Jeng" userId="fe4cc296-ba7d-48a2-8799-89b58d218255" providerId="ADAL" clId="{388EFDEE-447E-42B4-98EF-30C01AB2E8CD}" dt="2022-03-28T19:57:33.046" v="4033"/>
          <ac:spMkLst>
            <pc:docMk/>
            <pc:sldMk cId="355669928" sldId="2134803547"/>
            <ac:spMk id="158" creationId="{89DC4CB0-292F-4313-81B7-049A125CCFB7}"/>
          </ac:spMkLst>
        </pc:spChg>
        <pc:spChg chg="mod">
          <ac:chgData name="Kebba Jeng" userId="fe4cc296-ba7d-48a2-8799-89b58d218255" providerId="ADAL" clId="{388EFDEE-447E-42B4-98EF-30C01AB2E8CD}" dt="2022-03-28T19:57:33.046" v="4033"/>
          <ac:spMkLst>
            <pc:docMk/>
            <pc:sldMk cId="355669928" sldId="2134803547"/>
            <ac:spMk id="159" creationId="{231AEAE5-6D87-42E1-BACB-D51BE6AFE809}"/>
          </ac:spMkLst>
        </pc:spChg>
        <pc:spChg chg="mod">
          <ac:chgData name="Kebba Jeng" userId="fe4cc296-ba7d-48a2-8799-89b58d218255" providerId="ADAL" clId="{388EFDEE-447E-42B4-98EF-30C01AB2E8CD}" dt="2022-03-28T19:57:33.046" v="4033"/>
          <ac:spMkLst>
            <pc:docMk/>
            <pc:sldMk cId="355669928" sldId="2134803547"/>
            <ac:spMk id="160" creationId="{C59BE633-3C3D-4B3D-9884-EF8A7D60A229}"/>
          </ac:spMkLst>
        </pc:spChg>
        <pc:spChg chg="mod">
          <ac:chgData name="Kebba Jeng" userId="fe4cc296-ba7d-48a2-8799-89b58d218255" providerId="ADAL" clId="{388EFDEE-447E-42B4-98EF-30C01AB2E8CD}" dt="2022-03-28T19:57:33.046" v="4033"/>
          <ac:spMkLst>
            <pc:docMk/>
            <pc:sldMk cId="355669928" sldId="2134803547"/>
            <ac:spMk id="161" creationId="{E8E8FCDE-76A6-41D6-887B-106F2015E968}"/>
          </ac:spMkLst>
        </pc:spChg>
        <pc:spChg chg="mod">
          <ac:chgData name="Kebba Jeng" userId="fe4cc296-ba7d-48a2-8799-89b58d218255" providerId="ADAL" clId="{388EFDEE-447E-42B4-98EF-30C01AB2E8CD}" dt="2022-03-28T19:57:33.046" v="4033"/>
          <ac:spMkLst>
            <pc:docMk/>
            <pc:sldMk cId="355669928" sldId="2134803547"/>
            <ac:spMk id="162" creationId="{159547A8-4066-4CD6-85F6-2BB3DC5E53D8}"/>
          </ac:spMkLst>
        </pc:spChg>
        <pc:spChg chg="mod">
          <ac:chgData name="Kebba Jeng" userId="fe4cc296-ba7d-48a2-8799-89b58d218255" providerId="ADAL" clId="{388EFDEE-447E-42B4-98EF-30C01AB2E8CD}" dt="2022-03-28T19:57:33.046" v="4033"/>
          <ac:spMkLst>
            <pc:docMk/>
            <pc:sldMk cId="355669928" sldId="2134803547"/>
            <ac:spMk id="163" creationId="{81981844-ED58-4DAA-AC4C-F775C557B9D7}"/>
          </ac:spMkLst>
        </pc:spChg>
        <pc:spChg chg="mod">
          <ac:chgData name="Kebba Jeng" userId="fe4cc296-ba7d-48a2-8799-89b58d218255" providerId="ADAL" clId="{388EFDEE-447E-42B4-98EF-30C01AB2E8CD}" dt="2022-03-28T19:57:33.046" v="4033"/>
          <ac:spMkLst>
            <pc:docMk/>
            <pc:sldMk cId="355669928" sldId="2134803547"/>
            <ac:spMk id="164" creationId="{BFDE7C3C-DE4E-404A-90CD-4ABD73A2C59C}"/>
          </ac:spMkLst>
        </pc:spChg>
        <pc:spChg chg="mod">
          <ac:chgData name="Kebba Jeng" userId="fe4cc296-ba7d-48a2-8799-89b58d218255" providerId="ADAL" clId="{388EFDEE-447E-42B4-98EF-30C01AB2E8CD}" dt="2022-03-28T19:57:33.046" v="4033"/>
          <ac:spMkLst>
            <pc:docMk/>
            <pc:sldMk cId="355669928" sldId="2134803547"/>
            <ac:spMk id="165" creationId="{AEC22485-7075-42D3-B719-59FBD71D3FDB}"/>
          </ac:spMkLst>
        </pc:spChg>
        <pc:spChg chg="mod">
          <ac:chgData name="Kebba Jeng" userId="fe4cc296-ba7d-48a2-8799-89b58d218255" providerId="ADAL" clId="{388EFDEE-447E-42B4-98EF-30C01AB2E8CD}" dt="2022-03-28T19:57:33.046" v="4033"/>
          <ac:spMkLst>
            <pc:docMk/>
            <pc:sldMk cId="355669928" sldId="2134803547"/>
            <ac:spMk id="166" creationId="{59BC490B-1527-4105-8E2B-BC7E8DC71C07}"/>
          </ac:spMkLst>
        </pc:spChg>
        <pc:spChg chg="mod">
          <ac:chgData name="Kebba Jeng" userId="fe4cc296-ba7d-48a2-8799-89b58d218255" providerId="ADAL" clId="{388EFDEE-447E-42B4-98EF-30C01AB2E8CD}" dt="2022-03-28T19:57:33.046" v="4033"/>
          <ac:spMkLst>
            <pc:docMk/>
            <pc:sldMk cId="355669928" sldId="2134803547"/>
            <ac:spMk id="167" creationId="{8E14F297-C4ED-4BD3-8EAE-77C52F524A89}"/>
          </ac:spMkLst>
        </pc:spChg>
        <pc:spChg chg="mod">
          <ac:chgData name="Kebba Jeng" userId="fe4cc296-ba7d-48a2-8799-89b58d218255" providerId="ADAL" clId="{388EFDEE-447E-42B4-98EF-30C01AB2E8CD}" dt="2022-03-28T19:57:33.046" v="4033"/>
          <ac:spMkLst>
            <pc:docMk/>
            <pc:sldMk cId="355669928" sldId="2134803547"/>
            <ac:spMk id="168" creationId="{D7FA99A8-C402-4BDF-97E1-DC55ECB739DA}"/>
          </ac:spMkLst>
        </pc:spChg>
        <pc:spChg chg="mod">
          <ac:chgData name="Kebba Jeng" userId="fe4cc296-ba7d-48a2-8799-89b58d218255" providerId="ADAL" clId="{388EFDEE-447E-42B4-98EF-30C01AB2E8CD}" dt="2022-03-28T19:57:33.046" v="4033"/>
          <ac:spMkLst>
            <pc:docMk/>
            <pc:sldMk cId="355669928" sldId="2134803547"/>
            <ac:spMk id="169" creationId="{34AB4447-9CEB-43A0-A41E-DCE0CD5A4451}"/>
          </ac:spMkLst>
        </pc:spChg>
        <pc:spChg chg="mod">
          <ac:chgData name="Kebba Jeng" userId="fe4cc296-ba7d-48a2-8799-89b58d218255" providerId="ADAL" clId="{388EFDEE-447E-42B4-98EF-30C01AB2E8CD}" dt="2022-03-28T19:57:33.046" v="4033"/>
          <ac:spMkLst>
            <pc:docMk/>
            <pc:sldMk cId="355669928" sldId="2134803547"/>
            <ac:spMk id="170" creationId="{210C6F8D-F738-40C7-AFFA-E90F3FDD8CD6}"/>
          </ac:spMkLst>
        </pc:spChg>
        <pc:spChg chg="mod">
          <ac:chgData name="Kebba Jeng" userId="fe4cc296-ba7d-48a2-8799-89b58d218255" providerId="ADAL" clId="{388EFDEE-447E-42B4-98EF-30C01AB2E8CD}" dt="2022-03-28T19:57:33.046" v="4033"/>
          <ac:spMkLst>
            <pc:docMk/>
            <pc:sldMk cId="355669928" sldId="2134803547"/>
            <ac:spMk id="171" creationId="{DCD0235B-1E2C-4B67-BAF6-6D4B0B91B53C}"/>
          </ac:spMkLst>
        </pc:spChg>
        <pc:spChg chg="mod">
          <ac:chgData name="Kebba Jeng" userId="fe4cc296-ba7d-48a2-8799-89b58d218255" providerId="ADAL" clId="{388EFDEE-447E-42B4-98EF-30C01AB2E8CD}" dt="2022-03-28T19:57:33.046" v="4033"/>
          <ac:spMkLst>
            <pc:docMk/>
            <pc:sldMk cId="355669928" sldId="2134803547"/>
            <ac:spMk id="172" creationId="{AD1B4E23-7555-4CDB-BF13-75CF1FFE3C48}"/>
          </ac:spMkLst>
        </pc:spChg>
        <pc:spChg chg="mod">
          <ac:chgData name="Kebba Jeng" userId="fe4cc296-ba7d-48a2-8799-89b58d218255" providerId="ADAL" clId="{388EFDEE-447E-42B4-98EF-30C01AB2E8CD}" dt="2022-03-28T19:57:33.046" v="4033"/>
          <ac:spMkLst>
            <pc:docMk/>
            <pc:sldMk cId="355669928" sldId="2134803547"/>
            <ac:spMk id="173" creationId="{08D1E210-C681-4CF7-9339-96468FD005D3}"/>
          </ac:spMkLst>
        </pc:spChg>
        <pc:spChg chg="mod">
          <ac:chgData name="Kebba Jeng" userId="fe4cc296-ba7d-48a2-8799-89b58d218255" providerId="ADAL" clId="{388EFDEE-447E-42B4-98EF-30C01AB2E8CD}" dt="2022-03-28T19:57:33.046" v="4033"/>
          <ac:spMkLst>
            <pc:docMk/>
            <pc:sldMk cId="355669928" sldId="2134803547"/>
            <ac:spMk id="174" creationId="{DC7FE6D6-3CAD-44A0-8D16-3533F2F9C776}"/>
          </ac:spMkLst>
        </pc:spChg>
        <pc:spChg chg="mod">
          <ac:chgData name="Kebba Jeng" userId="fe4cc296-ba7d-48a2-8799-89b58d218255" providerId="ADAL" clId="{388EFDEE-447E-42B4-98EF-30C01AB2E8CD}" dt="2022-03-28T19:57:33.046" v="4033"/>
          <ac:spMkLst>
            <pc:docMk/>
            <pc:sldMk cId="355669928" sldId="2134803547"/>
            <ac:spMk id="175" creationId="{04F53625-FBC4-43C9-9A46-A396B426E9C1}"/>
          </ac:spMkLst>
        </pc:spChg>
        <pc:spChg chg="mod">
          <ac:chgData name="Kebba Jeng" userId="fe4cc296-ba7d-48a2-8799-89b58d218255" providerId="ADAL" clId="{388EFDEE-447E-42B4-98EF-30C01AB2E8CD}" dt="2022-03-28T19:57:33.046" v="4033"/>
          <ac:spMkLst>
            <pc:docMk/>
            <pc:sldMk cId="355669928" sldId="2134803547"/>
            <ac:spMk id="176" creationId="{5AFDF8DF-1E54-414B-AFDF-FBC1E5D27EE4}"/>
          </ac:spMkLst>
        </pc:spChg>
        <pc:spChg chg="mod">
          <ac:chgData name="Kebba Jeng" userId="fe4cc296-ba7d-48a2-8799-89b58d218255" providerId="ADAL" clId="{388EFDEE-447E-42B4-98EF-30C01AB2E8CD}" dt="2022-03-28T19:57:33.046" v="4033"/>
          <ac:spMkLst>
            <pc:docMk/>
            <pc:sldMk cId="355669928" sldId="2134803547"/>
            <ac:spMk id="177" creationId="{5BB5A423-828D-478D-8D83-33FD7BDD401C}"/>
          </ac:spMkLst>
        </pc:spChg>
        <pc:spChg chg="mod">
          <ac:chgData name="Kebba Jeng" userId="fe4cc296-ba7d-48a2-8799-89b58d218255" providerId="ADAL" clId="{388EFDEE-447E-42B4-98EF-30C01AB2E8CD}" dt="2022-03-28T19:57:33.046" v="4033"/>
          <ac:spMkLst>
            <pc:docMk/>
            <pc:sldMk cId="355669928" sldId="2134803547"/>
            <ac:spMk id="178" creationId="{ACC2C4A4-A749-44B6-A635-C01B6BE752A2}"/>
          </ac:spMkLst>
        </pc:spChg>
        <pc:spChg chg="mod">
          <ac:chgData name="Kebba Jeng" userId="fe4cc296-ba7d-48a2-8799-89b58d218255" providerId="ADAL" clId="{388EFDEE-447E-42B4-98EF-30C01AB2E8CD}" dt="2022-03-28T19:57:33.046" v="4033"/>
          <ac:spMkLst>
            <pc:docMk/>
            <pc:sldMk cId="355669928" sldId="2134803547"/>
            <ac:spMk id="179" creationId="{397A3498-6C66-46D8-9E5B-D20F91DD34F9}"/>
          </ac:spMkLst>
        </pc:spChg>
        <pc:spChg chg="mod">
          <ac:chgData name="Kebba Jeng" userId="fe4cc296-ba7d-48a2-8799-89b58d218255" providerId="ADAL" clId="{388EFDEE-447E-42B4-98EF-30C01AB2E8CD}" dt="2022-03-28T19:57:33.046" v="4033"/>
          <ac:spMkLst>
            <pc:docMk/>
            <pc:sldMk cId="355669928" sldId="2134803547"/>
            <ac:spMk id="180" creationId="{1E498690-8F93-43F5-A6AC-81AA54C5CAA6}"/>
          </ac:spMkLst>
        </pc:spChg>
        <pc:spChg chg="mod">
          <ac:chgData name="Kebba Jeng" userId="fe4cc296-ba7d-48a2-8799-89b58d218255" providerId="ADAL" clId="{388EFDEE-447E-42B4-98EF-30C01AB2E8CD}" dt="2022-03-28T19:57:33.046" v="4033"/>
          <ac:spMkLst>
            <pc:docMk/>
            <pc:sldMk cId="355669928" sldId="2134803547"/>
            <ac:spMk id="181" creationId="{4673B585-FBB1-4DA8-8792-E54D4EDCBE10}"/>
          </ac:spMkLst>
        </pc:spChg>
        <pc:spChg chg="mod">
          <ac:chgData name="Kebba Jeng" userId="fe4cc296-ba7d-48a2-8799-89b58d218255" providerId="ADAL" clId="{388EFDEE-447E-42B4-98EF-30C01AB2E8CD}" dt="2022-03-28T19:57:33.046" v="4033"/>
          <ac:spMkLst>
            <pc:docMk/>
            <pc:sldMk cId="355669928" sldId="2134803547"/>
            <ac:spMk id="182" creationId="{48774FA0-BBFC-42E0-8312-697A9E27CD91}"/>
          </ac:spMkLst>
        </pc:spChg>
        <pc:spChg chg="mod">
          <ac:chgData name="Kebba Jeng" userId="fe4cc296-ba7d-48a2-8799-89b58d218255" providerId="ADAL" clId="{388EFDEE-447E-42B4-98EF-30C01AB2E8CD}" dt="2022-03-28T19:57:33.046" v="4033"/>
          <ac:spMkLst>
            <pc:docMk/>
            <pc:sldMk cId="355669928" sldId="2134803547"/>
            <ac:spMk id="183" creationId="{04AAB7EF-ADC0-4C8D-809C-D9B95188883B}"/>
          </ac:spMkLst>
        </pc:spChg>
        <pc:spChg chg="mod">
          <ac:chgData name="Kebba Jeng" userId="fe4cc296-ba7d-48a2-8799-89b58d218255" providerId="ADAL" clId="{388EFDEE-447E-42B4-98EF-30C01AB2E8CD}" dt="2022-03-28T19:57:33.046" v="4033"/>
          <ac:spMkLst>
            <pc:docMk/>
            <pc:sldMk cId="355669928" sldId="2134803547"/>
            <ac:spMk id="184" creationId="{B8F48B83-5B75-49F4-A979-132330FE5DEE}"/>
          </ac:spMkLst>
        </pc:spChg>
        <pc:spChg chg="mod">
          <ac:chgData name="Kebba Jeng" userId="fe4cc296-ba7d-48a2-8799-89b58d218255" providerId="ADAL" clId="{388EFDEE-447E-42B4-98EF-30C01AB2E8CD}" dt="2022-03-28T19:57:33.046" v="4033"/>
          <ac:spMkLst>
            <pc:docMk/>
            <pc:sldMk cId="355669928" sldId="2134803547"/>
            <ac:spMk id="185" creationId="{DEEAD5B4-1CD3-4C91-AA95-25ACBC9866A3}"/>
          </ac:spMkLst>
        </pc:spChg>
        <pc:spChg chg="mod">
          <ac:chgData name="Kebba Jeng" userId="fe4cc296-ba7d-48a2-8799-89b58d218255" providerId="ADAL" clId="{388EFDEE-447E-42B4-98EF-30C01AB2E8CD}" dt="2022-03-28T19:57:33.046" v="4033"/>
          <ac:spMkLst>
            <pc:docMk/>
            <pc:sldMk cId="355669928" sldId="2134803547"/>
            <ac:spMk id="186" creationId="{0F2E964F-BD6A-4A79-9AF7-57E84ED65EEF}"/>
          </ac:spMkLst>
        </pc:spChg>
        <pc:spChg chg="mod">
          <ac:chgData name="Kebba Jeng" userId="fe4cc296-ba7d-48a2-8799-89b58d218255" providerId="ADAL" clId="{388EFDEE-447E-42B4-98EF-30C01AB2E8CD}" dt="2022-03-28T19:57:33.046" v="4033"/>
          <ac:spMkLst>
            <pc:docMk/>
            <pc:sldMk cId="355669928" sldId="2134803547"/>
            <ac:spMk id="187" creationId="{4EB6E06A-C945-4507-B82A-40E5BB5D832C}"/>
          </ac:spMkLst>
        </pc:spChg>
        <pc:spChg chg="mod">
          <ac:chgData name="Kebba Jeng" userId="fe4cc296-ba7d-48a2-8799-89b58d218255" providerId="ADAL" clId="{388EFDEE-447E-42B4-98EF-30C01AB2E8CD}" dt="2022-03-28T19:57:33.046" v="4033"/>
          <ac:spMkLst>
            <pc:docMk/>
            <pc:sldMk cId="355669928" sldId="2134803547"/>
            <ac:spMk id="188" creationId="{AF5CD12B-3D2A-4C5F-95E9-D398CCBB4C04}"/>
          </ac:spMkLst>
        </pc:spChg>
        <pc:spChg chg="mod">
          <ac:chgData name="Kebba Jeng" userId="fe4cc296-ba7d-48a2-8799-89b58d218255" providerId="ADAL" clId="{388EFDEE-447E-42B4-98EF-30C01AB2E8CD}" dt="2022-03-28T19:57:33.046" v="4033"/>
          <ac:spMkLst>
            <pc:docMk/>
            <pc:sldMk cId="355669928" sldId="2134803547"/>
            <ac:spMk id="189" creationId="{394EE80A-93A9-42AA-A817-DEED8A0B016D}"/>
          </ac:spMkLst>
        </pc:spChg>
        <pc:spChg chg="mod">
          <ac:chgData name="Kebba Jeng" userId="fe4cc296-ba7d-48a2-8799-89b58d218255" providerId="ADAL" clId="{388EFDEE-447E-42B4-98EF-30C01AB2E8CD}" dt="2022-03-28T19:57:33.046" v="4033"/>
          <ac:spMkLst>
            <pc:docMk/>
            <pc:sldMk cId="355669928" sldId="2134803547"/>
            <ac:spMk id="190" creationId="{3F908F67-6660-4EB5-9B9C-0A104EB6D42A}"/>
          </ac:spMkLst>
        </pc:spChg>
        <pc:spChg chg="mod">
          <ac:chgData name="Kebba Jeng" userId="fe4cc296-ba7d-48a2-8799-89b58d218255" providerId="ADAL" clId="{388EFDEE-447E-42B4-98EF-30C01AB2E8CD}" dt="2022-03-28T19:57:33.046" v="4033"/>
          <ac:spMkLst>
            <pc:docMk/>
            <pc:sldMk cId="355669928" sldId="2134803547"/>
            <ac:spMk id="191" creationId="{EBD7DF63-3648-4651-9ACC-2BFD9DADD6CD}"/>
          </ac:spMkLst>
        </pc:spChg>
        <pc:spChg chg="mod">
          <ac:chgData name="Kebba Jeng" userId="fe4cc296-ba7d-48a2-8799-89b58d218255" providerId="ADAL" clId="{388EFDEE-447E-42B4-98EF-30C01AB2E8CD}" dt="2022-03-28T19:57:33.046" v="4033"/>
          <ac:spMkLst>
            <pc:docMk/>
            <pc:sldMk cId="355669928" sldId="2134803547"/>
            <ac:spMk id="192" creationId="{C57F8ABE-EBFC-4ED4-AB63-597A082AAECF}"/>
          </ac:spMkLst>
        </pc:spChg>
        <pc:spChg chg="mod">
          <ac:chgData name="Kebba Jeng" userId="fe4cc296-ba7d-48a2-8799-89b58d218255" providerId="ADAL" clId="{388EFDEE-447E-42B4-98EF-30C01AB2E8CD}" dt="2022-03-28T19:57:33.046" v="4033"/>
          <ac:spMkLst>
            <pc:docMk/>
            <pc:sldMk cId="355669928" sldId="2134803547"/>
            <ac:spMk id="193" creationId="{130527C5-59A6-4BCF-B80F-CC4438613413}"/>
          </ac:spMkLst>
        </pc:spChg>
        <pc:spChg chg="mod">
          <ac:chgData name="Kebba Jeng" userId="fe4cc296-ba7d-48a2-8799-89b58d218255" providerId="ADAL" clId="{388EFDEE-447E-42B4-98EF-30C01AB2E8CD}" dt="2022-03-28T19:57:33.046" v="4033"/>
          <ac:spMkLst>
            <pc:docMk/>
            <pc:sldMk cId="355669928" sldId="2134803547"/>
            <ac:spMk id="194" creationId="{C3E62427-941D-4577-A092-26907B64D9AB}"/>
          </ac:spMkLst>
        </pc:spChg>
        <pc:spChg chg="mod">
          <ac:chgData name="Kebba Jeng" userId="fe4cc296-ba7d-48a2-8799-89b58d218255" providerId="ADAL" clId="{388EFDEE-447E-42B4-98EF-30C01AB2E8CD}" dt="2022-03-28T19:57:33.046" v="4033"/>
          <ac:spMkLst>
            <pc:docMk/>
            <pc:sldMk cId="355669928" sldId="2134803547"/>
            <ac:spMk id="195" creationId="{13B09602-7264-4D7B-9D4F-ED6062557CDF}"/>
          </ac:spMkLst>
        </pc:spChg>
        <pc:spChg chg="mod">
          <ac:chgData name="Kebba Jeng" userId="fe4cc296-ba7d-48a2-8799-89b58d218255" providerId="ADAL" clId="{388EFDEE-447E-42B4-98EF-30C01AB2E8CD}" dt="2022-03-28T19:57:33.046" v="4033"/>
          <ac:spMkLst>
            <pc:docMk/>
            <pc:sldMk cId="355669928" sldId="2134803547"/>
            <ac:spMk id="196" creationId="{598E793E-C00E-4108-8B5C-BCC007620E1A}"/>
          </ac:spMkLst>
        </pc:spChg>
        <pc:spChg chg="mod">
          <ac:chgData name="Kebba Jeng" userId="fe4cc296-ba7d-48a2-8799-89b58d218255" providerId="ADAL" clId="{388EFDEE-447E-42B4-98EF-30C01AB2E8CD}" dt="2022-03-28T19:57:33.046" v="4033"/>
          <ac:spMkLst>
            <pc:docMk/>
            <pc:sldMk cId="355669928" sldId="2134803547"/>
            <ac:spMk id="197" creationId="{6299B393-2E6D-4D8E-909B-1428D9E55108}"/>
          </ac:spMkLst>
        </pc:spChg>
        <pc:spChg chg="mod">
          <ac:chgData name="Kebba Jeng" userId="fe4cc296-ba7d-48a2-8799-89b58d218255" providerId="ADAL" clId="{388EFDEE-447E-42B4-98EF-30C01AB2E8CD}" dt="2022-03-28T19:57:33.046" v="4033"/>
          <ac:spMkLst>
            <pc:docMk/>
            <pc:sldMk cId="355669928" sldId="2134803547"/>
            <ac:spMk id="198" creationId="{B76CDF18-6BFA-49CD-8A8D-31A67E2579ED}"/>
          </ac:spMkLst>
        </pc:spChg>
        <pc:spChg chg="mod">
          <ac:chgData name="Kebba Jeng" userId="fe4cc296-ba7d-48a2-8799-89b58d218255" providerId="ADAL" clId="{388EFDEE-447E-42B4-98EF-30C01AB2E8CD}" dt="2022-03-28T19:57:33.046" v="4033"/>
          <ac:spMkLst>
            <pc:docMk/>
            <pc:sldMk cId="355669928" sldId="2134803547"/>
            <ac:spMk id="199" creationId="{24EDE8DE-1461-4304-AD31-C05D10121083}"/>
          </ac:spMkLst>
        </pc:spChg>
        <pc:spChg chg="mod">
          <ac:chgData name="Kebba Jeng" userId="fe4cc296-ba7d-48a2-8799-89b58d218255" providerId="ADAL" clId="{388EFDEE-447E-42B4-98EF-30C01AB2E8CD}" dt="2022-03-28T19:57:33.046" v="4033"/>
          <ac:spMkLst>
            <pc:docMk/>
            <pc:sldMk cId="355669928" sldId="2134803547"/>
            <ac:spMk id="200" creationId="{56581032-9BFA-4637-851C-A9257F1ADAA3}"/>
          </ac:spMkLst>
        </pc:spChg>
        <pc:spChg chg="mod">
          <ac:chgData name="Kebba Jeng" userId="fe4cc296-ba7d-48a2-8799-89b58d218255" providerId="ADAL" clId="{388EFDEE-447E-42B4-98EF-30C01AB2E8CD}" dt="2022-03-28T19:57:33.046" v="4033"/>
          <ac:spMkLst>
            <pc:docMk/>
            <pc:sldMk cId="355669928" sldId="2134803547"/>
            <ac:spMk id="202" creationId="{BDC61818-77F3-42B0-B077-82EFFF6B2C08}"/>
          </ac:spMkLst>
        </pc:spChg>
        <pc:spChg chg="del">
          <ac:chgData name="Kebba Jeng" userId="fe4cc296-ba7d-48a2-8799-89b58d218255" providerId="ADAL" clId="{388EFDEE-447E-42B4-98EF-30C01AB2E8CD}" dt="2022-03-28T19:57:04.623" v="4024" actId="478"/>
          <ac:spMkLst>
            <pc:docMk/>
            <pc:sldMk cId="355669928" sldId="2134803547"/>
            <ac:spMk id="203" creationId="{3403F74A-AA04-4A00-9FE3-275E36116698}"/>
          </ac:spMkLst>
        </pc:spChg>
        <pc:spChg chg="del">
          <ac:chgData name="Kebba Jeng" userId="fe4cc296-ba7d-48a2-8799-89b58d218255" providerId="ADAL" clId="{388EFDEE-447E-42B4-98EF-30C01AB2E8CD}" dt="2022-03-28T19:57:04.623" v="4024" actId="478"/>
          <ac:spMkLst>
            <pc:docMk/>
            <pc:sldMk cId="355669928" sldId="2134803547"/>
            <ac:spMk id="204" creationId="{930CA7BC-FD2C-4FDF-B61D-38FED8FC2B63}"/>
          </ac:spMkLst>
        </pc:spChg>
        <pc:spChg chg="mod">
          <ac:chgData name="Kebba Jeng" userId="fe4cc296-ba7d-48a2-8799-89b58d218255" providerId="ADAL" clId="{388EFDEE-447E-42B4-98EF-30C01AB2E8CD}" dt="2022-03-29T06:27:53.202" v="5171" actId="20577"/>
          <ac:spMkLst>
            <pc:docMk/>
            <pc:sldMk cId="355669928" sldId="2134803547"/>
            <ac:spMk id="205" creationId="{94241CA3-2DBF-4167-8697-4666BB0545F0}"/>
          </ac:spMkLst>
        </pc:spChg>
        <pc:spChg chg="mod">
          <ac:chgData name="Kebba Jeng" userId="fe4cc296-ba7d-48a2-8799-89b58d218255" providerId="ADAL" clId="{388EFDEE-447E-42B4-98EF-30C01AB2E8CD}" dt="2022-03-28T19:57:33.046" v="4033"/>
          <ac:spMkLst>
            <pc:docMk/>
            <pc:sldMk cId="355669928" sldId="2134803547"/>
            <ac:spMk id="206" creationId="{BAA6AB9A-F161-4BD9-A446-00872196BEB2}"/>
          </ac:spMkLst>
        </pc:spChg>
        <pc:spChg chg="mod">
          <ac:chgData name="Kebba Jeng" userId="fe4cc296-ba7d-48a2-8799-89b58d218255" providerId="ADAL" clId="{388EFDEE-447E-42B4-98EF-30C01AB2E8CD}" dt="2022-03-28T19:57:33.046" v="4033"/>
          <ac:spMkLst>
            <pc:docMk/>
            <pc:sldMk cId="355669928" sldId="2134803547"/>
            <ac:spMk id="207" creationId="{50D1A000-E19A-49D8-A54D-F95FBB98F53F}"/>
          </ac:spMkLst>
        </pc:spChg>
        <pc:spChg chg="mod">
          <ac:chgData name="Kebba Jeng" userId="fe4cc296-ba7d-48a2-8799-89b58d218255" providerId="ADAL" clId="{388EFDEE-447E-42B4-98EF-30C01AB2E8CD}" dt="2022-03-28T19:57:33.046" v="4033"/>
          <ac:spMkLst>
            <pc:docMk/>
            <pc:sldMk cId="355669928" sldId="2134803547"/>
            <ac:spMk id="208" creationId="{C4934C21-7078-4F09-9325-AC6E55394605}"/>
          </ac:spMkLst>
        </pc:spChg>
        <pc:spChg chg="mod">
          <ac:chgData name="Kebba Jeng" userId="fe4cc296-ba7d-48a2-8799-89b58d218255" providerId="ADAL" clId="{388EFDEE-447E-42B4-98EF-30C01AB2E8CD}" dt="2022-03-28T19:57:33.046" v="4033"/>
          <ac:spMkLst>
            <pc:docMk/>
            <pc:sldMk cId="355669928" sldId="2134803547"/>
            <ac:spMk id="209" creationId="{2204AE0D-3925-4AEB-9895-E8CD633A69AB}"/>
          </ac:spMkLst>
        </pc:spChg>
        <pc:spChg chg="mod">
          <ac:chgData name="Kebba Jeng" userId="fe4cc296-ba7d-48a2-8799-89b58d218255" providerId="ADAL" clId="{388EFDEE-447E-42B4-98EF-30C01AB2E8CD}" dt="2022-03-28T19:57:33.046" v="4033"/>
          <ac:spMkLst>
            <pc:docMk/>
            <pc:sldMk cId="355669928" sldId="2134803547"/>
            <ac:spMk id="210" creationId="{4588ECDD-AE38-4471-903F-8325E4D84A64}"/>
          </ac:spMkLst>
        </pc:spChg>
        <pc:spChg chg="mod">
          <ac:chgData name="Kebba Jeng" userId="fe4cc296-ba7d-48a2-8799-89b58d218255" providerId="ADAL" clId="{388EFDEE-447E-42B4-98EF-30C01AB2E8CD}" dt="2022-03-28T19:57:33.046" v="4033"/>
          <ac:spMkLst>
            <pc:docMk/>
            <pc:sldMk cId="355669928" sldId="2134803547"/>
            <ac:spMk id="211" creationId="{49E4CBC1-E953-4822-863E-926D7E2F1C2C}"/>
          </ac:spMkLst>
        </pc:spChg>
        <pc:spChg chg="mod">
          <ac:chgData name="Kebba Jeng" userId="fe4cc296-ba7d-48a2-8799-89b58d218255" providerId="ADAL" clId="{388EFDEE-447E-42B4-98EF-30C01AB2E8CD}" dt="2022-03-28T19:57:33.046" v="4033"/>
          <ac:spMkLst>
            <pc:docMk/>
            <pc:sldMk cId="355669928" sldId="2134803547"/>
            <ac:spMk id="212" creationId="{DD951DD0-2DE5-48B0-970C-58CE327CAE25}"/>
          </ac:spMkLst>
        </pc:spChg>
        <pc:spChg chg="mod">
          <ac:chgData name="Kebba Jeng" userId="fe4cc296-ba7d-48a2-8799-89b58d218255" providerId="ADAL" clId="{388EFDEE-447E-42B4-98EF-30C01AB2E8CD}" dt="2022-03-28T19:57:33.046" v="4033"/>
          <ac:spMkLst>
            <pc:docMk/>
            <pc:sldMk cId="355669928" sldId="2134803547"/>
            <ac:spMk id="213" creationId="{62B01363-4BD0-44A4-B79E-742D9B1D4DFC}"/>
          </ac:spMkLst>
        </pc:spChg>
        <pc:spChg chg="mod">
          <ac:chgData name="Kebba Jeng" userId="fe4cc296-ba7d-48a2-8799-89b58d218255" providerId="ADAL" clId="{388EFDEE-447E-42B4-98EF-30C01AB2E8CD}" dt="2022-03-28T19:57:33.046" v="4033"/>
          <ac:spMkLst>
            <pc:docMk/>
            <pc:sldMk cId="355669928" sldId="2134803547"/>
            <ac:spMk id="214" creationId="{658D47F2-50B8-40C4-9837-8463AAFCE709}"/>
          </ac:spMkLst>
        </pc:spChg>
        <pc:spChg chg="mod">
          <ac:chgData name="Kebba Jeng" userId="fe4cc296-ba7d-48a2-8799-89b58d218255" providerId="ADAL" clId="{388EFDEE-447E-42B4-98EF-30C01AB2E8CD}" dt="2022-03-30T09:43:33.421" v="6231" actId="27636"/>
          <ac:spMkLst>
            <pc:docMk/>
            <pc:sldMk cId="355669928" sldId="2134803547"/>
            <ac:spMk id="1720" creationId="{00000000-0000-0000-0000-000000000000}"/>
          </ac:spMkLst>
        </pc:spChg>
        <pc:spChg chg="del">
          <ac:chgData name="Kebba Jeng" userId="fe4cc296-ba7d-48a2-8799-89b58d218255" providerId="ADAL" clId="{388EFDEE-447E-42B4-98EF-30C01AB2E8CD}" dt="2022-03-28T19:57:04.623" v="4024" actId="478"/>
          <ac:spMkLst>
            <pc:docMk/>
            <pc:sldMk cId="355669928" sldId="2134803547"/>
            <ac:spMk id="1721" creationId="{00000000-0000-0000-0000-000000000000}"/>
          </ac:spMkLst>
        </pc:spChg>
        <pc:grpChg chg="add mod">
          <ac:chgData name="Kebba Jeng" userId="fe4cc296-ba7d-48a2-8799-89b58d218255" providerId="ADAL" clId="{388EFDEE-447E-42B4-98EF-30C01AB2E8CD}" dt="2022-03-28T20:03:48.786" v="4099" actId="1076"/>
          <ac:grpSpMkLst>
            <pc:docMk/>
            <pc:sldMk cId="355669928" sldId="2134803547"/>
            <ac:grpSpMk id="15" creationId="{DA9A4902-F8B9-426B-ADCF-5A7F13F20441}"/>
          </ac:grpSpMkLst>
        </pc:grpChg>
        <pc:picChg chg="add del mod">
          <ac:chgData name="Kebba Jeng" userId="fe4cc296-ba7d-48a2-8799-89b58d218255" providerId="ADAL" clId="{388EFDEE-447E-42B4-98EF-30C01AB2E8CD}" dt="2022-03-28T20:03:23.433" v="4088" actId="478"/>
          <ac:picMkLst>
            <pc:docMk/>
            <pc:sldMk cId="355669928" sldId="2134803547"/>
            <ac:picMk id="5" creationId="{EA645212-A529-4763-BE90-3FFFC4CB843D}"/>
          </ac:picMkLst>
        </pc:picChg>
        <pc:picChg chg="add mod">
          <ac:chgData name="Kebba Jeng" userId="fe4cc296-ba7d-48a2-8799-89b58d218255" providerId="ADAL" clId="{388EFDEE-447E-42B4-98EF-30C01AB2E8CD}" dt="2022-03-28T20:03:56.130" v="4100" actId="1076"/>
          <ac:picMkLst>
            <pc:docMk/>
            <pc:sldMk cId="355669928" sldId="2134803547"/>
            <ac:picMk id="13" creationId="{49994EA2-AA67-44F8-8193-A7A9F25F4CBC}"/>
          </ac:picMkLst>
        </pc:picChg>
        <pc:picChg chg="del">
          <ac:chgData name="Kebba Jeng" userId="fe4cc296-ba7d-48a2-8799-89b58d218255" providerId="ADAL" clId="{388EFDEE-447E-42B4-98EF-30C01AB2E8CD}" dt="2022-03-28T19:57:04.623" v="4024" actId="478"/>
          <ac:picMkLst>
            <pc:docMk/>
            <pc:sldMk cId="355669928" sldId="2134803547"/>
            <ac:picMk id="1718" creationId="{00000000-0000-0000-0000-000000000000}"/>
          </ac:picMkLst>
        </pc:picChg>
        <pc:cxnChg chg="del mod">
          <ac:chgData name="Kebba Jeng" userId="fe4cc296-ba7d-48a2-8799-89b58d218255" providerId="ADAL" clId="{388EFDEE-447E-42B4-98EF-30C01AB2E8CD}" dt="2022-03-28T19:57:04.623" v="4024" actId="478"/>
          <ac:cxnSpMkLst>
            <pc:docMk/>
            <pc:sldMk cId="355669928" sldId="2134803547"/>
            <ac:cxnSpMk id="4" creationId="{E1D26B6B-69FB-4B4C-ADB7-59E3AEC4F1BA}"/>
          </ac:cxnSpMkLst>
        </pc:cxnChg>
        <pc:cxnChg chg="del mod">
          <ac:chgData name="Kebba Jeng" userId="fe4cc296-ba7d-48a2-8799-89b58d218255" providerId="ADAL" clId="{388EFDEE-447E-42B4-98EF-30C01AB2E8CD}" dt="2022-03-28T19:57:04.623" v="4024" actId="478"/>
          <ac:cxnSpMkLst>
            <pc:docMk/>
            <pc:sldMk cId="355669928" sldId="2134803547"/>
            <ac:cxnSpMk id="6" creationId="{5B600736-93AD-4B67-99BC-072EA1E131D0}"/>
          </ac:cxnSpMkLst>
        </pc:cxnChg>
        <pc:cxnChg chg="del mod">
          <ac:chgData name="Kebba Jeng" userId="fe4cc296-ba7d-48a2-8799-89b58d218255" providerId="ADAL" clId="{388EFDEE-447E-42B4-98EF-30C01AB2E8CD}" dt="2022-03-28T19:57:04.623" v="4024" actId="478"/>
          <ac:cxnSpMkLst>
            <pc:docMk/>
            <pc:sldMk cId="355669928" sldId="2134803547"/>
            <ac:cxnSpMk id="8" creationId="{641B81EF-0E42-46BC-92C9-79B175E269E4}"/>
          </ac:cxnSpMkLst>
        </pc:cxnChg>
        <pc:cxnChg chg="add del mod">
          <ac:chgData name="Kebba Jeng" userId="fe4cc296-ba7d-48a2-8799-89b58d218255" providerId="ADAL" clId="{388EFDEE-447E-42B4-98EF-30C01AB2E8CD}" dt="2022-03-28T19:58:01.922" v="4038" actId="478"/>
          <ac:cxnSpMkLst>
            <pc:docMk/>
            <pc:sldMk cId="355669928" sldId="2134803547"/>
            <ac:cxnSpMk id="9" creationId="{10AE3361-3507-44A9-B5BF-283E466285F9}"/>
          </ac:cxnSpMkLst>
        </pc:cxnChg>
        <pc:cxnChg chg="add mod">
          <ac:chgData name="Kebba Jeng" userId="fe4cc296-ba7d-48a2-8799-89b58d218255" providerId="ADAL" clId="{388EFDEE-447E-42B4-98EF-30C01AB2E8CD}" dt="2022-03-28T20:03:56.130" v="4100" actId="1076"/>
          <ac:cxnSpMkLst>
            <pc:docMk/>
            <pc:sldMk cId="355669928" sldId="2134803547"/>
            <ac:cxnSpMk id="11" creationId="{2526D20B-3937-40F2-AA05-CB8E07E2B854}"/>
          </ac:cxnSpMkLst>
        </pc:cxnChg>
      </pc:sldChg>
      <pc:sldChg chg="addSp delSp modSp add mod ord modNotesTx">
        <pc:chgData name="Kebba Jeng" userId="fe4cc296-ba7d-48a2-8799-89b58d218255" providerId="ADAL" clId="{388EFDEE-447E-42B4-98EF-30C01AB2E8CD}" dt="2022-03-29T19:21:14.447" v="6207" actId="20577"/>
        <pc:sldMkLst>
          <pc:docMk/>
          <pc:sldMk cId="1867343795" sldId="2134803548"/>
        </pc:sldMkLst>
        <pc:spChg chg="add del">
          <ac:chgData name="Kebba Jeng" userId="fe4cc296-ba7d-48a2-8799-89b58d218255" providerId="ADAL" clId="{388EFDEE-447E-42B4-98EF-30C01AB2E8CD}" dt="2022-03-28T20:08:03.074" v="4408" actId="478"/>
          <ac:spMkLst>
            <pc:docMk/>
            <pc:sldMk cId="1867343795" sldId="2134803548"/>
            <ac:spMk id="2" creationId="{99F8680F-45A2-407F-9E59-DE43C73E15E7}"/>
          </ac:spMkLst>
        </pc:spChg>
        <pc:spChg chg="del">
          <ac:chgData name="Kebba Jeng" userId="fe4cc296-ba7d-48a2-8799-89b58d218255" providerId="ADAL" clId="{388EFDEE-447E-42B4-98EF-30C01AB2E8CD}" dt="2022-03-28T20:07:43.150" v="4406" actId="478"/>
          <ac:spMkLst>
            <pc:docMk/>
            <pc:sldMk cId="1867343795" sldId="2134803548"/>
            <ac:spMk id="5" creationId="{2549C9D4-2731-49F7-B59D-A504666E86DE}"/>
          </ac:spMkLst>
        </pc:spChg>
        <pc:spChg chg="add mod">
          <ac:chgData name="Kebba Jeng" userId="fe4cc296-ba7d-48a2-8799-89b58d218255" providerId="ADAL" clId="{388EFDEE-447E-42B4-98EF-30C01AB2E8CD}" dt="2022-03-29T06:35:16.583" v="5329" actId="14100"/>
          <ac:spMkLst>
            <pc:docMk/>
            <pc:sldMk cId="1867343795" sldId="2134803548"/>
            <ac:spMk id="210" creationId="{32EC6535-9D65-49DD-B010-30EE504BDFE7}"/>
          </ac:spMkLst>
        </pc:spChg>
        <pc:spChg chg="mod">
          <ac:chgData name="Kebba Jeng" userId="fe4cc296-ba7d-48a2-8799-89b58d218255" providerId="ADAL" clId="{388EFDEE-447E-42B4-98EF-30C01AB2E8CD}" dt="2022-03-29T19:21:14.447" v="6207" actId="20577"/>
          <ac:spMkLst>
            <pc:docMk/>
            <pc:sldMk cId="1867343795" sldId="2134803548"/>
            <ac:spMk id="398" creationId="{0B2DA253-2B6E-4C8A-9F57-C5AFC7D3A056}"/>
          </ac:spMkLst>
        </pc:spChg>
        <pc:spChg chg="del">
          <ac:chgData name="Kebba Jeng" userId="fe4cc296-ba7d-48a2-8799-89b58d218255" providerId="ADAL" clId="{388EFDEE-447E-42B4-98EF-30C01AB2E8CD}" dt="2022-03-28T20:07:43.150" v="4406" actId="478"/>
          <ac:spMkLst>
            <pc:docMk/>
            <pc:sldMk cId="1867343795" sldId="2134803548"/>
            <ac:spMk id="605" creationId="{EF7E7C7E-B7F6-47AE-A35E-3AEFB768C1C9}"/>
          </ac:spMkLst>
        </pc:spChg>
        <pc:spChg chg="mod">
          <ac:chgData name="Kebba Jeng" userId="fe4cc296-ba7d-48a2-8799-89b58d218255" providerId="ADAL" clId="{388EFDEE-447E-42B4-98EF-30C01AB2E8CD}" dt="2022-03-29T06:31:50.707" v="5185" actId="20577"/>
          <ac:spMkLst>
            <pc:docMk/>
            <pc:sldMk cId="1867343795" sldId="2134803548"/>
            <ac:spMk id="1720" creationId="{00000000-0000-0000-0000-000000000000}"/>
          </ac:spMkLst>
        </pc:spChg>
        <pc:grpChg chg="del">
          <ac:chgData name="Kebba Jeng" userId="fe4cc296-ba7d-48a2-8799-89b58d218255" providerId="ADAL" clId="{388EFDEE-447E-42B4-98EF-30C01AB2E8CD}" dt="2022-03-28T20:07:43.150" v="4406" actId="478"/>
          <ac:grpSpMkLst>
            <pc:docMk/>
            <pc:sldMk cId="1867343795" sldId="2134803548"/>
            <ac:grpSpMk id="4" creationId="{C8ACB63B-07E7-47BA-8423-424E87B323BF}"/>
          </ac:grpSpMkLst>
        </pc:grpChg>
        <pc:grpChg chg="del">
          <ac:chgData name="Kebba Jeng" userId="fe4cc296-ba7d-48a2-8799-89b58d218255" providerId="ADAL" clId="{388EFDEE-447E-42B4-98EF-30C01AB2E8CD}" dt="2022-03-28T20:07:43.150" v="4406" actId="478"/>
          <ac:grpSpMkLst>
            <pc:docMk/>
            <pc:sldMk cId="1867343795" sldId="2134803548"/>
            <ac:grpSpMk id="10" creationId="{A3FE7D58-806F-4463-8845-F1165A5EDA36}"/>
          </ac:grpSpMkLst>
        </pc:grpChg>
        <pc:picChg chg="add mod">
          <ac:chgData name="Kebba Jeng" userId="fe4cc296-ba7d-48a2-8799-89b58d218255" providerId="ADAL" clId="{388EFDEE-447E-42B4-98EF-30C01AB2E8CD}" dt="2022-03-28T20:08:11.199" v="4409"/>
          <ac:picMkLst>
            <pc:docMk/>
            <pc:sldMk cId="1867343795" sldId="2134803548"/>
            <ac:picMk id="209" creationId="{1DD945BE-B317-45F6-B257-8876F2A024AF}"/>
          </ac:picMkLst>
        </pc:picChg>
        <pc:cxnChg chg="del mod">
          <ac:chgData name="Kebba Jeng" userId="fe4cc296-ba7d-48a2-8799-89b58d218255" providerId="ADAL" clId="{388EFDEE-447E-42B4-98EF-30C01AB2E8CD}" dt="2022-03-28T20:07:43.150" v="4406" actId="478"/>
          <ac:cxnSpMkLst>
            <pc:docMk/>
            <pc:sldMk cId="1867343795" sldId="2134803548"/>
            <ac:cxnSpMk id="13" creationId="{E6027CB2-523A-4BFC-8F82-D374900C9717}"/>
          </ac:cxnSpMkLst>
        </pc:cxnChg>
        <pc:cxnChg chg="del mod">
          <ac:chgData name="Kebba Jeng" userId="fe4cc296-ba7d-48a2-8799-89b58d218255" providerId="ADAL" clId="{388EFDEE-447E-42B4-98EF-30C01AB2E8CD}" dt="2022-03-28T20:07:43.150" v="4406" actId="478"/>
          <ac:cxnSpMkLst>
            <pc:docMk/>
            <pc:sldMk cId="1867343795" sldId="2134803548"/>
            <ac:cxnSpMk id="612" creationId="{75C0D5B9-81A9-4418-9992-948D02974F10}"/>
          </ac:cxnSpMkLst>
        </pc:cxnChg>
      </pc:sldChg>
      <pc:sldChg chg="addSp delSp modSp add del mod">
        <pc:chgData name="Kebba Jeng" userId="fe4cc296-ba7d-48a2-8799-89b58d218255" providerId="ADAL" clId="{388EFDEE-447E-42B4-98EF-30C01AB2E8CD}" dt="2022-03-29T06:41:34.822" v="5464" actId="47"/>
        <pc:sldMkLst>
          <pc:docMk/>
          <pc:sldMk cId="2793713520" sldId="2134803549"/>
        </pc:sldMkLst>
        <pc:spChg chg="add del mod">
          <ac:chgData name="Kebba Jeng" userId="fe4cc296-ba7d-48a2-8799-89b58d218255" providerId="ADAL" clId="{388EFDEE-447E-42B4-98EF-30C01AB2E8CD}" dt="2022-03-29T06:35:52.655" v="5332" actId="478"/>
          <ac:spMkLst>
            <pc:docMk/>
            <pc:sldMk cId="2793713520" sldId="2134803549"/>
            <ac:spMk id="6" creationId="{9A2D4F81-8E07-49D0-B915-5FB515ECA262}"/>
          </ac:spMkLst>
        </pc:spChg>
        <pc:spChg chg="add mod">
          <ac:chgData name="Kebba Jeng" userId="fe4cc296-ba7d-48a2-8799-89b58d218255" providerId="ADAL" clId="{388EFDEE-447E-42B4-98EF-30C01AB2E8CD}" dt="2022-03-29T06:35:59.228" v="5338" actId="20577"/>
          <ac:spMkLst>
            <pc:docMk/>
            <pc:sldMk cId="2793713520" sldId="2134803549"/>
            <ac:spMk id="7" creationId="{CA664945-5B49-4901-96BF-7972FBE002FF}"/>
          </ac:spMkLst>
        </pc:spChg>
        <pc:spChg chg="mod">
          <ac:chgData name="Kebba Jeng" userId="fe4cc296-ba7d-48a2-8799-89b58d218255" providerId="ADAL" clId="{388EFDEE-447E-42B4-98EF-30C01AB2E8CD}" dt="2022-03-29T06:38:26.208" v="5361" actId="20577"/>
          <ac:spMkLst>
            <pc:docMk/>
            <pc:sldMk cId="2793713520" sldId="2134803549"/>
            <ac:spMk id="398" creationId="{0B2DA253-2B6E-4C8A-9F57-C5AFC7D3A056}"/>
          </ac:spMkLst>
        </pc:spChg>
        <pc:spChg chg="mod">
          <ac:chgData name="Kebba Jeng" userId="fe4cc296-ba7d-48a2-8799-89b58d218255" providerId="ADAL" clId="{388EFDEE-447E-42B4-98EF-30C01AB2E8CD}" dt="2022-03-29T06:35:47.516" v="5331" actId="20577"/>
          <ac:spMkLst>
            <pc:docMk/>
            <pc:sldMk cId="2793713520" sldId="2134803549"/>
            <ac:spMk id="1720" creationId="{00000000-0000-0000-0000-000000000000}"/>
          </ac:spMkLst>
        </pc:spChg>
        <pc:picChg chg="add mod">
          <ac:chgData name="Kebba Jeng" userId="fe4cc296-ba7d-48a2-8799-89b58d218255" providerId="ADAL" clId="{388EFDEE-447E-42B4-98EF-30C01AB2E8CD}" dt="2022-03-29T06:38:52.343" v="5363"/>
          <ac:picMkLst>
            <pc:docMk/>
            <pc:sldMk cId="2793713520" sldId="2134803549"/>
            <ac:picMk id="8" creationId="{4B113D90-5F8F-4645-947A-235A0263069F}"/>
          </ac:picMkLst>
        </pc:picChg>
        <pc:picChg chg="del">
          <ac:chgData name="Kebba Jeng" userId="fe4cc296-ba7d-48a2-8799-89b58d218255" providerId="ADAL" clId="{388EFDEE-447E-42B4-98EF-30C01AB2E8CD}" dt="2022-03-29T06:38:51.832" v="5362" actId="478"/>
          <ac:picMkLst>
            <pc:docMk/>
            <pc:sldMk cId="2793713520" sldId="2134803549"/>
            <ac:picMk id="209" creationId="{1DD945BE-B317-45F6-B257-8876F2A024AF}"/>
          </ac:picMkLst>
        </pc:picChg>
      </pc:sldChg>
      <pc:sldChg chg="addSp modSp add del mod">
        <pc:chgData name="Kebba Jeng" userId="fe4cc296-ba7d-48a2-8799-89b58d218255" providerId="ADAL" clId="{388EFDEE-447E-42B4-98EF-30C01AB2E8CD}" dt="2022-03-29T06:41:37.101" v="5465" actId="47"/>
        <pc:sldMkLst>
          <pc:docMk/>
          <pc:sldMk cId="3096213806" sldId="2134803550"/>
        </pc:sldMkLst>
        <pc:spChg chg="add mod">
          <ac:chgData name="Kebba Jeng" userId="fe4cc296-ba7d-48a2-8799-89b58d218255" providerId="ADAL" clId="{388EFDEE-447E-42B4-98EF-30C01AB2E8CD}" dt="2022-03-28T20:28:46.474" v="4938"/>
          <ac:spMkLst>
            <pc:docMk/>
            <pc:sldMk cId="3096213806" sldId="2134803550"/>
            <ac:spMk id="6" creationId="{91AA7F51-47D1-4515-9800-0397B9C6F7A6}"/>
          </ac:spMkLst>
        </pc:spChg>
        <pc:spChg chg="mod">
          <ac:chgData name="Kebba Jeng" userId="fe4cc296-ba7d-48a2-8799-89b58d218255" providerId="ADAL" clId="{388EFDEE-447E-42B4-98EF-30C01AB2E8CD}" dt="2022-03-28T20:08:40.988" v="4434" actId="20577"/>
          <ac:spMkLst>
            <pc:docMk/>
            <pc:sldMk cId="3096213806" sldId="2134803550"/>
            <ac:spMk id="1720" creationId="{00000000-0000-0000-0000-000000000000}"/>
          </ac:spMkLst>
        </pc:spChg>
      </pc:sldChg>
      <pc:sldChg chg="addSp delSp modSp add mod">
        <pc:chgData name="Kebba Jeng" userId="fe4cc296-ba7d-48a2-8799-89b58d218255" providerId="ADAL" clId="{388EFDEE-447E-42B4-98EF-30C01AB2E8CD}" dt="2022-03-29T19:52:39.381" v="6229" actId="1076"/>
        <pc:sldMkLst>
          <pc:docMk/>
          <pc:sldMk cId="531401409" sldId="2134803551"/>
        </pc:sldMkLst>
        <pc:spChg chg="add mod">
          <ac:chgData name="Kebba Jeng" userId="fe4cc296-ba7d-48a2-8799-89b58d218255" providerId="ADAL" clId="{388EFDEE-447E-42B4-98EF-30C01AB2E8CD}" dt="2022-03-29T19:24:17.316" v="6213" actId="1076"/>
          <ac:spMkLst>
            <pc:docMk/>
            <pc:sldMk cId="531401409" sldId="2134803551"/>
            <ac:spMk id="2" creationId="{CFABF3F3-83BB-4976-827E-FD05668CF7F7}"/>
          </ac:spMkLst>
        </pc:spChg>
        <pc:spChg chg="add mod">
          <ac:chgData name="Kebba Jeng" userId="fe4cc296-ba7d-48a2-8799-89b58d218255" providerId="ADAL" clId="{388EFDEE-447E-42B4-98EF-30C01AB2E8CD}" dt="2022-03-28T20:28:48.252" v="4939"/>
          <ac:spMkLst>
            <pc:docMk/>
            <pc:sldMk cId="531401409" sldId="2134803551"/>
            <ac:spMk id="6" creationId="{D601A8B1-4B6B-46D9-B71E-7BFA0E8E4A15}"/>
          </ac:spMkLst>
        </pc:spChg>
        <pc:spChg chg="mod">
          <ac:chgData name="Kebba Jeng" userId="fe4cc296-ba7d-48a2-8799-89b58d218255" providerId="ADAL" clId="{388EFDEE-447E-42B4-98EF-30C01AB2E8CD}" dt="2022-03-29T06:48:02.763" v="5770" actId="20577"/>
          <ac:spMkLst>
            <pc:docMk/>
            <pc:sldMk cId="531401409" sldId="2134803551"/>
            <ac:spMk id="1720" creationId="{00000000-0000-0000-0000-000000000000}"/>
          </ac:spMkLst>
        </pc:spChg>
        <pc:picChg chg="mod">
          <ac:chgData name="Kebba Jeng" userId="fe4cc296-ba7d-48a2-8799-89b58d218255" providerId="ADAL" clId="{388EFDEE-447E-42B4-98EF-30C01AB2E8CD}" dt="2022-03-29T19:52:39.381" v="6229" actId="1076"/>
          <ac:picMkLst>
            <pc:docMk/>
            <pc:sldMk cId="531401409" sldId="2134803551"/>
            <ac:picMk id="3" creationId="{452E017A-6864-EE3A-6481-B1EFADBAFF5D}"/>
          </ac:picMkLst>
        </pc:picChg>
        <pc:picChg chg="del mod">
          <ac:chgData name="Kebba Jeng" userId="fe4cc296-ba7d-48a2-8799-89b58d218255" providerId="ADAL" clId="{388EFDEE-447E-42B4-98EF-30C01AB2E8CD}" dt="2022-03-29T19:24:15.207" v="6212" actId="478"/>
          <ac:picMkLst>
            <pc:docMk/>
            <pc:sldMk cId="531401409" sldId="2134803551"/>
            <ac:picMk id="209" creationId="{1DD945BE-B317-45F6-B257-8876F2A024AF}"/>
          </ac:picMkLst>
        </pc:picChg>
      </pc:sldChg>
      <pc:sldChg chg="addSp delSp modSp add mod ord">
        <pc:chgData name="Kebba Jeng" userId="fe4cc296-ba7d-48a2-8799-89b58d218255" providerId="ADAL" clId="{388EFDEE-447E-42B4-98EF-30C01AB2E8CD}" dt="2022-03-30T09:45:32.477" v="6304" actId="121"/>
        <pc:sldMkLst>
          <pc:docMk/>
          <pc:sldMk cId="1706841322" sldId="2134803552"/>
        </pc:sldMkLst>
        <pc:spChg chg="add mod">
          <ac:chgData name="Kebba Jeng" userId="fe4cc296-ba7d-48a2-8799-89b58d218255" providerId="ADAL" clId="{388EFDEE-447E-42B4-98EF-30C01AB2E8CD}" dt="2022-03-30T09:45:32.477" v="6304" actId="121"/>
          <ac:spMkLst>
            <pc:docMk/>
            <pc:sldMk cId="1706841322" sldId="2134803552"/>
            <ac:spMk id="2" creationId="{061E51BE-1BCA-49D5-AC79-CEE5493E310C}"/>
          </ac:spMkLst>
        </pc:spChg>
        <pc:spChg chg="add del mod">
          <ac:chgData name="Kebba Jeng" userId="fe4cc296-ba7d-48a2-8799-89b58d218255" providerId="ADAL" clId="{388EFDEE-447E-42B4-98EF-30C01AB2E8CD}" dt="2022-03-28T20:10:35.566" v="4480"/>
          <ac:spMkLst>
            <pc:docMk/>
            <pc:sldMk cId="1706841322" sldId="2134803552"/>
            <ac:spMk id="4" creationId="{894035A1-726E-4F97-AAA9-5B07B195955C}"/>
          </ac:spMkLst>
        </pc:spChg>
        <pc:spChg chg="add del mod">
          <ac:chgData name="Kebba Jeng" userId="fe4cc296-ba7d-48a2-8799-89b58d218255" providerId="ADAL" clId="{388EFDEE-447E-42B4-98EF-30C01AB2E8CD}" dt="2022-03-28T20:10:35.566" v="4480"/>
          <ac:spMkLst>
            <pc:docMk/>
            <pc:sldMk cId="1706841322" sldId="2134803552"/>
            <ac:spMk id="5" creationId="{826A6B6E-552A-46BE-9E24-741BA3F08C6D}"/>
          </ac:spMkLst>
        </pc:spChg>
        <pc:spChg chg="add del mod">
          <ac:chgData name="Kebba Jeng" userId="fe4cc296-ba7d-48a2-8799-89b58d218255" providerId="ADAL" clId="{388EFDEE-447E-42B4-98EF-30C01AB2E8CD}" dt="2022-03-28T20:10:35.566" v="4480"/>
          <ac:spMkLst>
            <pc:docMk/>
            <pc:sldMk cId="1706841322" sldId="2134803552"/>
            <ac:spMk id="6" creationId="{CF270C46-776E-4D5E-A6C3-11F6CE91DD0E}"/>
          </ac:spMkLst>
        </pc:spChg>
        <pc:spChg chg="add mod">
          <ac:chgData name="Kebba Jeng" userId="fe4cc296-ba7d-48a2-8799-89b58d218255" providerId="ADAL" clId="{388EFDEE-447E-42B4-98EF-30C01AB2E8CD}" dt="2022-03-28T20:11:03.443" v="4486" actId="1076"/>
          <ac:spMkLst>
            <pc:docMk/>
            <pc:sldMk cId="1706841322" sldId="2134803552"/>
            <ac:spMk id="8" creationId="{D404991A-1372-4640-9ED2-E8D7C5B945B0}"/>
          </ac:spMkLst>
        </pc:spChg>
        <pc:spChg chg="add mod">
          <ac:chgData name="Kebba Jeng" userId="fe4cc296-ba7d-48a2-8799-89b58d218255" providerId="ADAL" clId="{388EFDEE-447E-42B4-98EF-30C01AB2E8CD}" dt="2022-03-28T20:13:25.150" v="4626" actId="20577"/>
          <ac:spMkLst>
            <pc:docMk/>
            <pc:sldMk cId="1706841322" sldId="2134803552"/>
            <ac:spMk id="9" creationId="{499140DB-6BC3-4EDD-92D3-1911C8E3BD65}"/>
          </ac:spMkLst>
        </pc:spChg>
        <pc:spChg chg="add mod">
          <ac:chgData name="Kebba Jeng" userId="fe4cc296-ba7d-48a2-8799-89b58d218255" providerId="ADAL" clId="{388EFDEE-447E-42B4-98EF-30C01AB2E8CD}" dt="2022-03-28T20:14:18.898" v="4677" actId="20577"/>
          <ac:spMkLst>
            <pc:docMk/>
            <pc:sldMk cId="1706841322" sldId="2134803552"/>
            <ac:spMk id="10" creationId="{A390D919-707F-41BF-A570-908716377120}"/>
          </ac:spMkLst>
        </pc:spChg>
        <pc:spChg chg="add mod">
          <ac:chgData name="Kebba Jeng" userId="fe4cc296-ba7d-48a2-8799-89b58d218255" providerId="ADAL" clId="{388EFDEE-447E-42B4-98EF-30C01AB2E8CD}" dt="2022-03-28T20:28:55.834" v="4941"/>
          <ac:spMkLst>
            <pc:docMk/>
            <pc:sldMk cId="1706841322" sldId="2134803552"/>
            <ac:spMk id="12" creationId="{41940A20-1F4B-4754-9584-F6383EBE7F0C}"/>
          </ac:spMkLst>
        </pc:spChg>
        <pc:spChg chg="del">
          <ac:chgData name="Kebba Jeng" userId="fe4cc296-ba7d-48a2-8799-89b58d218255" providerId="ADAL" clId="{388EFDEE-447E-42B4-98EF-30C01AB2E8CD}" dt="2022-03-28T20:10:37.496" v="4481" actId="478"/>
          <ac:spMkLst>
            <pc:docMk/>
            <pc:sldMk cId="1706841322" sldId="2134803552"/>
            <ac:spMk id="18" creationId="{78814215-0367-481C-9C55-4D1E578BA9A6}"/>
          </ac:spMkLst>
        </pc:spChg>
        <pc:picChg chg="add del mod">
          <ac:chgData name="Kebba Jeng" userId="fe4cc296-ba7d-48a2-8799-89b58d218255" providerId="ADAL" clId="{388EFDEE-447E-42B4-98EF-30C01AB2E8CD}" dt="2022-03-28T20:10:35.566" v="4480"/>
          <ac:picMkLst>
            <pc:docMk/>
            <pc:sldMk cId="1706841322" sldId="2134803552"/>
            <ac:picMk id="7" creationId="{5096A989-3DA4-46B6-BE3F-5F7C0B5D3994}"/>
          </ac:picMkLst>
        </pc:picChg>
        <pc:picChg chg="add mod">
          <ac:chgData name="Kebba Jeng" userId="fe4cc296-ba7d-48a2-8799-89b58d218255" providerId="ADAL" clId="{388EFDEE-447E-42B4-98EF-30C01AB2E8CD}" dt="2022-03-28T20:10:48.144" v="4484" actId="207"/>
          <ac:picMkLst>
            <pc:docMk/>
            <pc:sldMk cId="1706841322" sldId="2134803552"/>
            <ac:picMk id="11" creationId="{52BA8CCC-A424-47A5-9E4A-932C7ED4E042}"/>
          </ac:picMkLst>
        </pc:picChg>
      </pc:sldChg>
      <pc:sldChg chg="modSp add mod modNotesTx">
        <pc:chgData name="Kebba Jeng" userId="fe4cc296-ba7d-48a2-8799-89b58d218255" providerId="ADAL" clId="{388EFDEE-447E-42B4-98EF-30C01AB2E8CD}" dt="2022-03-29T19:50:58.534" v="6226" actId="1076"/>
        <pc:sldMkLst>
          <pc:docMk/>
          <pc:sldMk cId="1056661577" sldId="2134803553"/>
        </pc:sldMkLst>
        <pc:cxnChg chg="mod">
          <ac:chgData name="Kebba Jeng" userId="fe4cc296-ba7d-48a2-8799-89b58d218255" providerId="ADAL" clId="{388EFDEE-447E-42B4-98EF-30C01AB2E8CD}" dt="2022-03-29T19:50:58.534" v="6226" actId="1076"/>
          <ac:cxnSpMkLst>
            <pc:docMk/>
            <pc:sldMk cId="1056661577" sldId="2134803553"/>
            <ac:cxnSpMk id="612" creationId="{75C0D5B9-81A9-4418-9992-948D02974F10}"/>
          </ac:cxnSpMkLst>
        </pc:cxnChg>
      </pc:sldChg>
      <pc:sldChg chg="addSp delSp modSp add mod modNotesTx">
        <pc:chgData name="Kebba Jeng" userId="fe4cc296-ba7d-48a2-8799-89b58d218255" providerId="ADAL" clId="{388EFDEE-447E-42B4-98EF-30C01AB2E8CD}" dt="2022-03-29T19:07:00.203" v="6114" actId="20577"/>
        <pc:sldMkLst>
          <pc:docMk/>
          <pc:sldMk cId="1188302935" sldId="2134803554"/>
        </pc:sldMkLst>
        <pc:spChg chg="mod">
          <ac:chgData name="Kebba Jeng" userId="fe4cc296-ba7d-48a2-8799-89b58d218255" providerId="ADAL" clId="{388EFDEE-447E-42B4-98EF-30C01AB2E8CD}" dt="2022-03-28T20:25:14.273" v="4875" actId="1076"/>
          <ac:spMkLst>
            <pc:docMk/>
            <pc:sldMk cId="1188302935" sldId="2134803554"/>
            <ac:spMk id="1697" creationId="{00000000-0000-0000-0000-000000000000}"/>
          </ac:spMkLst>
        </pc:spChg>
        <pc:spChg chg="del">
          <ac:chgData name="Kebba Jeng" userId="fe4cc296-ba7d-48a2-8799-89b58d218255" providerId="ADAL" clId="{388EFDEE-447E-42B4-98EF-30C01AB2E8CD}" dt="2022-03-28T20:25:46.828" v="4882" actId="478"/>
          <ac:spMkLst>
            <pc:docMk/>
            <pc:sldMk cId="1188302935" sldId="2134803554"/>
            <ac:spMk id="1699" creationId="{00000000-0000-0000-0000-000000000000}"/>
          </ac:spMkLst>
        </pc:spChg>
        <pc:picChg chg="add del mod">
          <ac:chgData name="Kebba Jeng" userId="fe4cc296-ba7d-48a2-8799-89b58d218255" providerId="ADAL" clId="{388EFDEE-447E-42B4-98EF-30C01AB2E8CD}" dt="2022-03-28T20:25:09.998" v="4871"/>
          <ac:picMkLst>
            <pc:docMk/>
            <pc:sldMk cId="1188302935" sldId="2134803554"/>
            <ac:picMk id="1026" creationId="{08BDBA76-BCA1-442F-98C5-E3B42B9265F6}"/>
          </ac:picMkLst>
        </pc:picChg>
        <pc:picChg chg="add del mod">
          <ac:chgData name="Kebba Jeng" userId="fe4cc296-ba7d-48a2-8799-89b58d218255" providerId="ADAL" clId="{388EFDEE-447E-42B4-98EF-30C01AB2E8CD}" dt="2022-03-28T20:25:41.370" v="4881" actId="478"/>
          <ac:picMkLst>
            <pc:docMk/>
            <pc:sldMk cId="1188302935" sldId="2134803554"/>
            <ac:picMk id="1028" creationId="{E000519A-F4CF-4CD6-91D1-841DD4C0382B}"/>
          </ac:picMkLst>
        </pc:picChg>
        <pc:picChg chg="add del">
          <ac:chgData name="Kebba Jeng" userId="fe4cc296-ba7d-48a2-8799-89b58d218255" providerId="ADAL" clId="{388EFDEE-447E-42B4-98EF-30C01AB2E8CD}" dt="2022-03-28T20:25:35.603" v="4879" actId="478"/>
          <ac:picMkLst>
            <pc:docMk/>
            <pc:sldMk cId="1188302935" sldId="2134803554"/>
            <ac:picMk id="1698" creationId="{00000000-0000-0000-0000-000000000000}"/>
          </ac:picMkLst>
        </pc:picChg>
      </pc:sldChg>
      <pc:sldChg chg="addSp delSp modSp add mod modNotesTx">
        <pc:chgData name="Kebba Jeng" userId="fe4cc296-ba7d-48a2-8799-89b58d218255" providerId="ADAL" clId="{388EFDEE-447E-42B4-98EF-30C01AB2E8CD}" dt="2022-03-29T19:12:55.952" v="6182" actId="20577"/>
        <pc:sldMkLst>
          <pc:docMk/>
          <pc:sldMk cId="3661165130" sldId="2134803555"/>
        </pc:sldMkLst>
        <pc:spChg chg="mod">
          <ac:chgData name="Kebba Jeng" userId="fe4cc296-ba7d-48a2-8799-89b58d218255" providerId="ADAL" clId="{388EFDEE-447E-42B4-98EF-30C01AB2E8CD}" dt="2022-03-29T06:26:00.914" v="5115" actId="20577"/>
          <ac:spMkLst>
            <pc:docMk/>
            <pc:sldMk cId="3661165130" sldId="2134803555"/>
            <ac:spMk id="2" creationId="{00000000-0000-0000-0000-000000000000}"/>
          </ac:spMkLst>
        </pc:spChg>
        <pc:spChg chg="del">
          <ac:chgData name="Kebba Jeng" userId="fe4cc296-ba7d-48a2-8799-89b58d218255" providerId="ADAL" clId="{388EFDEE-447E-42B4-98EF-30C01AB2E8CD}" dt="2022-03-29T06:25:27.299" v="5101" actId="478"/>
          <ac:spMkLst>
            <pc:docMk/>
            <pc:sldMk cId="3661165130" sldId="2134803555"/>
            <ac:spMk id="4" creationId="{393E0928-9D76-4B29-A812-BBB113558888}"/>
          </ac:spMkLst>
        </pc:spChg>
        <pc:spChg chg="del mod">
          <ac:chgData name="Kebba Jeng" userId="fe4cc296-ba7d-48a2-8799-89b58d218255" providerId="ADAL" clId="{388EFDEE-447E-42B4-98EF-30C01AB2E8CD}" dt="2022-03-29T06:47:16.786" v="5768" actId="478"/>
          <ac:spMkLst>
            <pc:docMk/>
            <pc:sldMk cId="3661165130" sldId="2134803555"/>
            <ac:spMk id="8" creationId="{14FED611-C3EB-4A53-9B34-73E203FA8132}"/>
          </ac:spMkLst>
        </pc:spChg>
        <pc:spChg chg="del mod">
          <ac:chgData name="Kebba Jeng" userId="fe4cc296-ba7d-48a2-8799-89b58d218255" providerId="ADAL" clId="{388EFDEE-447E-42B4-98EF-30C01AB2E8CD}" dt="2022-03-29T06:27:00.330" v="5130" actId="478"/>
          <ac:spMkLst>
            <pc:docMk/>
            <pc:sldMk cId="3661165130" sldId="2134803555"/>
            <ac:spMk id="9" creationId="{A0DD7048-D869-4BB9-A6B5-8C0F92D4021C}"/>
          </ac:spMkLst>
        </pc:spChg>
        <pc:spChg chg="add mod">
          <ac:chgData name="Kebba Jeng" userId="fe4cc296-ba7d-48a2-8799-89b58d218255" providerId="ADAL" clId="{388EFDEE-447E-42B4-98EF-30C01AB2E8CD}" dt="2022-03-29T06:47:12.008" v="5767" actId="20577"/>
          <ac:spMkLst>
            <pc:docMk/>
            <pc:sldMk cId="3661165130" sldId="2134803555"/>
            <ac:spMk id="11" creationId="{8B5F5FED-5017-454A-B9EE-B34F4561AE22}"/>
          </ac:spMkLst>
        </pc:spChg>
        <pc:spChg chg="del mod">
          <ac:chgData name="Kebba Jeng" userId="fe4cc296-ba7d-48a2-8799-89b58d218255" providerId="ADAL" clId="{388EFDEE-447E-42B4-98EF-30C01AB2E8CD}" dt="2022-03-29T06:25:49.435" v="5108" actId="478"/>
          <ac:spMkLst>
            <pc:docMk/>
            <pc:sldMk cId="3661165130" sldId="2134803555"/>
            <ac:spMk id="18" creationId="{2F49B23F-9BF6-494D-8742-C355584C2B85}"/>
          </ac:spMkLst>
        </pc:spChg>
        <pc:picChg chg="del">
          <ac:chgData name="Kebba Jeng" userId="fe4cc296-ba7d-48a2-8799-89b58d218255" providerId="ADAL" clId="{388EFDEE-447E-42B4-98EF-30C01AB2E8CD}" dt="2022-03-29T06:25:27.299" v="5101" actId="478"/>
          <ac:picMkLst>
            <pc:docMk/>
            <pc:sldMk cId="3661165130" sldId="2134803555"/>
            <ac:picMk id="5" creationId="{C6130054-B5B3-45A4-950C-99A1F5D503EF}"/>
          </ac:picMkLst>
        </pc:picChg>
        <pc:picChg chg="add mod">
          <ac:chgData name="Kebba Jeng" userId="fe4cc296-ba7d-48a2-8799-89b58d218255" providerId="ADAL" clId="{388EFDEE-447E-42B4-98EF-30C01AB2E8CD}" dt="2022-03-29T06:25:39.634" v="5106" actId="1076"/>
          <ac:picMkLst>
            <pc:docMk/>
            <pc:sldMk cId="3661165130" sldId="2134803555"/>
            <ac:picMk id="6" creationId="{55D2E903-C86F-4B2B-B08B-EE1B128BE929}"/>
          </ac:picMkLst>
        </pc:picChg>
      </pc:sldChg>
      <pc:sldMasterChg chg="addSldLayout delSldLayout">
        <pc:chgData name="Kebba Jeng" userId="fe4cc296-ba7d-48a2-8799-89b58d218255" providerId="ADAL" clId="{388EFDEE-447E-42B4-98EF-30C01AB2E8CD}" dt="2022-03-28T18:34:11.101" v="2998" actId="47"/>
        <pc:sldMasterMkLst>
          <pc:docMk/>
          <pc:sldMasterMk cId="0" sldId="2147483687"/>
        </pc:sldMasterMkLst>
        <pc:sldLayoutChg chg="add del">
          <pc:chgData name="Kebba Jeng" userId="fe4cc296-ba7d-48a2-8799-89b58d218255" providerId="ADAL" clId="{388EFDEE-447E-42B4-98EF-30C01AB2E8CD}" dt="2022-03-28T17:23:54.857" v="1035" actId="47"/>
          <pc:sldLayoutMkLst>
            <pc:docMk/>
            <pc:sldMasterMk cId="0" sldId="2147483687"/>
            <pc:sldLayoutMk cId="1915232688" sldId="2147483804"/>
          </pc:sldLayoutMkLst>
        </pc:sldLayoutChg>
        <pc:sldLayoutChg chg="del">
          <pc:chgData name="Kebba Jeng" userId="fe4cc296-ba7d-48a2-8799-89b58d218255" providerId="ADAL" clId="{388EFDEE-447E-42B4-98EF-30C01AB2E8CD}" dt="2022-03-28T18:34:11.101" v="2998" actId="47"/>
          <pc:sldLayoutMkLst>
            <pc:docMk/>
            <pc:sldMasterMk cId="0" sldId="2147483687"/>
            <pc:sldLayoutMk cId="1906225318" sldId="2147483805"/>
          </pc:sldLayoutMkLst>
        </pc:sldLayoutChg>
      </pc:sldMasterChg>
      <pc:sldMasterChg chg="delSldLayout">
        <pc:chgData name="Kebba Jeng" userId="fe4cc296-ba7d-48a2-8799-89b58d218255" providerId="ADAL" clId="{388EFDEE-447E-42B4-98EF-30C01AB2E8CD}" dt="2022-03-28T20:11:06.152" v="4487" actId="47"/>
        <pc:sldMasterMkLst>
          <pc:docMk/>
          <pc:sldMasterMk cId="0" sldId="2147483700"/>
        </pc:sldMasterMkLst>
        <pc:sldLayoutChg chg="del">
          <pc:chgData name="Kebba Jeng" userId="fe4cc296-ba7d-48a2-8799-89b58d218255" providerId="ADAL" clId="{388EFDEE-447E-42B4-98EF-30C01AB2E8CD}" dt="2022-03-28T20:11:06.152" v="4487" actId="47"/>
          <pc:sldLayoutMkLst>
            <pc:docMk/>
            <pc:sldMasterMk cId="0" sldId="2147483700"/>
            <pc:sldLayoutMk cId="2248198351" sldId="2147483805"/>
          </pc:sldLayoutMkLst>
        </pc:sldLayoutChg>
      </pc:sldMasterChg>
      <pc:sldMasterChg chg="add del addSldLayout delSldLayout">
        <pc:chgData name="Kebba Jeng" userId="fe4cc296-ba7d-48a2-8799-89b58d218255" providerId="ADAL" clId="{388EFDEE-447E-42B4-98EF-30C01AB2E8CD}" dt="2022-03-28T20:10:13.537" v="4476" actId="700"/>
        <pc:sldMasterMkLst>
          <pc:docMk/>
          <pc:sldMasterMk cId="0" sldId="2147483726"/>
        </pc:sldMasterMkLst>
        <pc:sldLayoutChg chg="add del">
          <pc:chgData name="Kebba Jeng" userId="fe4cc296-ba7d-48a2-8799-89b58d218255" providerId="ADAL" clId="{388EFDEE-447E-42B4-98EF-30C01AB2E8CD}" dt="2022-03-28T20:10:13.537" v="4476" actId="700"/>
          <pc:sldLayoutMkLst>
            <pc:docMk/>
            <pc:sldMasterMk cId="0" sldId="2147483726"/>
            <pc:sldLayoutMk cId="0" sldId="2147483727"/>
          </pc:sldLayoutMkLst>
        </pc:sldLayoutChg>
        <pc:sldLayoutChg chg="add del">
          <pc:chgData name="Kebba Jeng" userId="fe4cc296-ba7d-48a2-8799-89b58d218255" providerId="ADAL" clId="{388EFDEE-447E-42B4-98EF-30C01AB2E8CD}" dt="2022-03-28T20:10:13.537" v="4476" actId="700"/>
          <pc:sldLayoutMkLst>
            <pc:docMk/>
            <pc:sldMasterMk cId="0" sldId="2147483726"/>
            <pc:sldLayoutMk cId="0" sldId="2147483728"/>
          </pc:sldLayoutMkLst>
        </pc:sldLayoutChg>
        <pc:sldLayoutChg chg="add del">
          <pc:chgData name="Kebba Jeng" userId="fe4cc296-ba7d-48a2-8799-89b58d218255" providerId="ADAL" clId="{388EFDEE-447E-42B4-98EF-30C01AB2E8CD}" dt="2022-03-28T20:10:13.537" v="4476" actId="700"/>
          <pc:sldLayoutMkLst>
            <pc:docMk/>
            <pc:sldMasterMk cId="0" sldId="2147483726"/>
            <pc:sldLayoutMk cId="0" sldId="2147483729"/>
          </pc:sldLayoutMkLst>
        </pc:sldLayoutChg>
        <pc:sldLayoutChg chg="add del">
          <pc:chgData name="Kebba Jeng" userId="fe4cc296-ba7d-48a2-8799-89b58d218255" providerId="ADAL" clId="{388EFDEE-447E-42B4-98EF-30C01AB2E8CD}" dt="2022-03-28T20:10:13.537" v="4476" actId="700"/>
          <pc:sldLayoutMkLst>
            <pc:docMk/>
            <pc:sldMasterMk cId="0" sldId="2147483726"/>
            <pc:sldLayoutMk cId="0" sldId="2147483730"/>
          </pc:sldLayoutMkLst>
        </pc:sldLayoutChg>
        <pc:sldLayoutChg chg="add del">
          <pc:chgData name="Kebba Jeng" userId="fe4cc296-ba7d-48a2-8799-89b58d218255" providerId="ADAL" clId="{388EFDEE-447E-42B4-98EF-30C01AB2E8CD}" dt="2022-03-28T20:10:13.537" v="4476" actId="700"/>
          <pc:sldLayoutMkLst>
            <pc:docMk/>
            <pc:sldMasterMk cId="0" sldId="2147483726"/>
            <pc:sldLayoutMk cId="0" sldId="2147483731"/>
          </pc:sldLayoutMkLst>
        </pc:sldLayoutChg>
        <pc:sldLayoutChg chg="add del">
          <pc:chgData name="Kebba Jeng" userId="fe4cc296-ba7d-48a2-8799-89b58d218255" providerId="ADAL" clId="{388EFDEE-447E-42B4-98EF-30C01AB2E8CD}" dt="2022-03-28T20:10:13.537" v="4476" actId="700"/>
          <pc:sldLayoutMkLst>
            <pc:docMk/>
            <pc:sldMasterMk cId="0" sldId="2147483726"/>
            <pc:sldLayoutMk cId="0" sldId="2147483732"/>
          </pc:sldLayoutMkLst>
        </pc:sldLayoutChg>
        <pc:sldLayoutChg chg="add del">
          <pc:chgData name="Kebba Jeng" userId="fe4cc296-ba7d-48a2-8799-89b58d218255" providerId="ADAL" clId="{388EFDEE-447E-42B4-98EF-30C01AB2E8CD}" dt="2022-03-28T20:10:13.537" v="4476" actId="700"/>
          <pc:sldLayoutMkLst>
            <pc:docMk/>
            <pc:sldMasterMk cId="0" sldId="2147483726"/>
            <pc:sldLayoutMk cId="0" sldId="2147483733"/>
          </pc:sldLayoutMkLst>
        </pc:sldLayoutChg>
        <pc:sldLayoutChg chg="add del">
          <pc:chgData name="Kebba Jeng" userId="fe4cc296-ba7d-48a2-8799-89b58d218255" providerId="ADAL" clId="{388EFDEE-447E-42B4-98EF-30C01AB2E8CD}" dt="2022-03-28T20:10:13.537" v="4476" actId="700"/>
          <pc:sldLayoutMkLst>
            <pc:docMk/>
            <pc:sldMasterMk cId="0" sldId="2147483726"/>
            <pc:sldLayoutMk cId="0" sldId="2147483734"/>
          </pc:sldLayoutMkLst>
        </pc:sldLayoutChg>
        <pc:sldLayoutChg chg="add del">
          <pc:chgData name="Kebba Jeng" userId="fe4cc296-ba7d-48a2-8799-89b58d218255" providerId="ADAL" clId="{388EFDEE-447E-42B4-98EF-30C01AB2E8CD}" dt="2022-03-28T20:10:13.537" v="4476" actId="700"/>
          <pc:sldLayoutMkLst>
            <pc:docMk/>
            <pc:sldMasterMk cId="0" sldId="2147483726"/>
            <pc:sldLayoutMk cId="0" sldId="2147483735"/>
          </pc:sldLayoutMkLst>
        </pc:sldLayoutChg>
        <pc:sldLayoutChg chg="add del">
          <pc:chgData name="Kebba Jeng" userId="fe4cc296-ba7d-48a2-8799-89b58d218255" providerId="ADAL" clId="{388EFDEE-447E-42B4-98EF-30C01AB2E8CD}" dt="2022-03-28T20:10:13.537" v="4476" actId="700"/>
          <pc:sldLayoutMkLst>
            <pc:docMk/>
            <pc:sldMasterMk cId="0" sldId="2147483726"/>
            <pc:sldLayoutMk cId="0" sldId="2147483736"/>
          </pc:sldLayoutMkLst>
        </pc:sldLayoutChg>
        <pc:sldLayoutChg chg="add del">
          <pc:chgData name="Kebba Jeng" userId="fe4cc296-ba7d-48a2-8799-89b58d218255" providerId="ADAL" clId="{388EFDEE-447E-42B4-98EF-30C01AB2E8CD}" dt="2022-03-28T20:10:13.537" v="4476" actId="700"/>
          <pc:sldLayoutMkLst>
            <pc:docMk/>
            <pc:sldMasterMk cId="0" sldId="2147483726"/>
            <pc:sldLayoutMk cId="0" sldId="2147483737"/>
          </pc:sldLayoutMkLst>
        </pc:sldLayoutChg>
        <pc:sldLayoutChg chg="add del">
          <pc:chgData name="Kebba Jeng" userId="fe4cc296-ba7d-48a2-8799-89b58d218255" providerId="ADAL" clId="{388EFDEE-447E-42B4-98EF-30C01AB2E8CD}" dt="2022-03-28T20:10:13.537" v="4476" actId="700"/>
          <pc:sldLayoutMkLst>
            <pc:docMk/>
            <pc:sldMasterMk cId="0" sldId="2147483726"/>
            <pc:sldLayoutMk cId="0" sldId="2147483738"/>
          </pc:sldLayoutMkLst>
        </pc:sldLayoutChg>
      </pc:sldMasterChg>
      <pc:sldMasterChg chg="add del addSldLayout delSldLayout">
        <pc:chgData name="Kebba Jeng" userId="fe4cc296-ba7d-48a2-8799-89b58d218255" providerId="ADAL" clId="{388EFDEE-447E-42B4-98EF-30C01AB2E8CD}" dt="2022-03-28T20:10:13.537" v="4476" actId="700"/>
        <pc:sldMasterMkLst>
          <pc:docMk/>
          <pc:sldMasterMk cId="0" sldId="2147483739"/>
        </pc:sldMasterMkLst>
        <pc:sldLayoutChg chg="add del">
          <pc:chgData name="Kebba Jeng" userId="fe4cc296-ba7d-48a2-8799-89b58d218255" providerId="ADAL" clId="{388EFDEE-447E-42B4-98EF-30C01AB2E8CD}" dt="2022-03-28T20:10:13.537" v="4476" actId="700"/>
          <pc:sldLayoutMkLst>
            <pc:docMk/>
            <pc:sldMasterMk cId="0" sldId="2147483739"/>
            <pc:sldLayoutMk cId="0" sldId="2147483740"/>
          </pc:sldLayoutMkLst>
        </pc:sldLayoutChg>
        <pc:sldLayoutChg chg="add del">
          <pc:chgData name="Kebba Jeng" userId="fe4cc296-ba7d-48a2-8799-89b58d218255" providerId="ADAL" clId="{388EFDEE-447E-42B4-98EF-30C01AB2E8CD}" dt="2022-03-28T20:10:13.537" v="4476" actId="700"/>
          <pc:sldLayoutMkLst>
            <pc:docMk/>
            <pc:sldMasterMk cId="0" sldId="2147483739"/>
            <pc:sldLayoutMk cId="0" sldId="2147483741"/>
          </pc:sldLayoutMkLst>
        </pc:sldLayoutChg>
        <pc:sldLayoutChg chg="add del">
          <pc:chgData name="Kebba Jeng" userId="fe4cc296-ba7d-48a2-8799-89b58d218255" providerId="ADAL" clId="{388EFDEE-447E-42B4-98EF-30C01AB2E8CD}" dt="2022-03-28T20:10:13.537" v="4476" actId="700"/>
          <pc:sldLayoutMkLst>
            <pc:docMk/>
            <pc:sldMasterMk cId="0" sldId="2147483739"/>
            <pc:sldLayoutMk cId="0" sldId="2147483742"/>
          </pc:sldLayoutMkLst>
        </pc:sldLayoutChg>
        <pc:sldLayoutChg chg="add del">
          <pc:chgData name="Kebba Jeng" userId="fe4cc296-ba7d-48a2-8799-89b58d218255" providerId="ADAL" clId="{388EFDEE-447E-42B4-98EF-30C01AB2E8CD}" dt="2022-03-28T20:10:13.537" v="4476" actId="700"/>
          <pc:sldLayoutMkLst>
            <pc:docMk/>
            <pc:sldMasterMk cId="0" sldId="2147483739"/>
            <pc:sldLayoutMk cId="0" sldId="2147483743"/>
          </pc:sldLayoutMkLst>
        </pc:sldLayoutChg>
        <pc:sldLayoutChg chg="add del">
          <pc:chgData name="Kebba Jeng" userId="fe4cc296-ba7d-48a2-8799-89b58d218255" providerId="ADAL" clId="{388EFDEE-447E-42B4-98EF-30C01AB2E8CD}" dt="2022-03-28T20:10:13.537" v="4476" actId="700"/>
          <pc:sldLayoutMkLst>
            <pc:docMk/>
            <pc:sldMasterMk cId="0" sldId="2147483739"/>
            <pc:sldLayoutMk cId="0" sldId="2147483744"/>
          </pc:sldLayoutMkLst>
        </pc:sldLayoutChg>
        <pc:sldLayoutChg chg="add del">
          <pc:chgData name="Kebba Jeng" userId="fe4cc296-ba7d-48a2-8799-89b58d218255" providerId="ADAL" clId="{388EFDEE-447E-42B4-98EF-30C01AB2E8CD}" dt="2022-03-28T20:10:13.537" v="4476" actId="700"/>
          <pc:sldLayoutMkLst>
            <pc:docMk/>
            <pc:sldMasterMk cId="0" sldId="2147483739"/>
            <pc:sldLayoutMk cId="0" sldId="2147483745"/>
          </pc:sldLayoutMkLst>
        </pc:sldLayoutChg>
        <pc:sldLayoutChg chg="add del">
          <pc:chgData name="Kebba Jeng" userId="fe4cc296-ba7d-48a2-8799-89b58d218255" providerId="ADAL" clId="{388EFDEE-447E-42B4-98EF-30C01AB2E8CD}" dt="2022-03-28T20:10:13.537" v="4476" actId="700"/>
          <pc:sldLayoutMkLst>
            <pc:docMk/>
            <pc:sldMasterMk cId="0" sldId="2147483739"/>
            <pc:sldLayoutMk cId="0" sldId="2147483746"/>
          </pc:sldLayoutMkLst>
        </pc:sldLayoutChg>
        <pc:sldLayoutChg chg="add del">
          <pc:chgData name="Kebba Jeng" userId="fe4cc296-ba7d-48a2-8799-89b58d218255" providerId="ADAL" clId="{388EFDEE-447E-42B4-98EF-30C01AB2E8CD}" dt="2022-03-28T20:10:13.537" v="4476" actId="700"/>
          <pc:sldLayoutMkLst>
            <pc:docMk/>
            <pc:sldMasterMk cId="0" sldId="2147483739"/>
            <pc:sldLayoutMk cId="0" sldId="2147483747"/>
          </pc:sldLayoutMkLst>
        </pc:sldLayoutChg>
        <pc:sldLayoutChg chg="add del">
          <pc:chgData name="Kebba Jeng" userId="fe4cc296-ba7d-48a2-8799-89b58d218255" providerId="ADAL" clId="{388EFDEE-447E-42B4-98EF-30C01AB2E8CD}" dt="2022-03-28T20:10:13.537" v="4476" actId="700"/>
          <pc:sldLayoutMkLst>
            <pc:docMk/>
            <pc:sldMasterMk cId="0" sldId="2147483739"/>
            <pc:sldLayoutMk cId="0" sldId="2147483748"/>
          </pc:sldLayoutMkLst>
        </pc:sldLayoutChg>
        <pc:sldLayoutChg chg="add del">
          <pc:chgData name="Kebba Jeng" userId="fe4cc296-ba7d-48a2-8799-89b58d218255" providerId="ADAL" clId="{388EFDEE-447E-42B4-98EF-30C01AB2E8CD}" dt="2022-03-28T20:10:13.537" v="4476" actId="700"/>
          <pc:sldLayoutMkLst>
            <pc:docMk/>
            <pc:sldMasterMk cId="0" sldId="2147483739"/>
            <pc:sldLayoutMk cId="0" sldId="2147483749"/>
          </pc:sldLayoutMkLst>
        </pc:sldLayoutChg>
        <pc:sldLayoutChg chg="add del">
          <pc:chgData name="Kebba Jeng" userId="fe4cc296-ba7d-48a2-8799-89b58d218255" providerId="ADAL" clId="{388EFDEE-447E-42B4-98EF-30C01AB2E8CD}" dt="2022-03-28T20:10:13.537" v="4476" actId="700"/>
          <pc:sldLayoutMkLst>
            <pc:docMk/>
            <pc:sldMasterMk cId="0" sldId="2147483739"/>
            <pc:sldLayoutMk cId="0" sldId="2147483750"/>
          </pc:sldLayoutMkLst>
        </pc:sldLayoutChg>
        <pc:sldLayoutChg chg="add del">
          <pc:chgData name="Kebba Jeng" userId="fe4cc296-ba7d-48a2-8799-89b58d218255" providerId="ADAL" clId="{388EFDEE-447E-42B4-98EF-30C01AB2E8CD}" dt="2022-03-28T20:10:13.537" v="4476" actId="700"/>
          <pc:sldLayoutMkLst>
            <pc:docMk/>
            <pc:sldMasterMk cId="0" sldId="2147483739"/>
            <pc:sldLayoutMk cId="0" sldId="2147483751"/>
          </pc:sldLayoutMkLst>
        </pc:sldLayoutChg>
      </pc:sldMasterChg>
      <pc:sldMasterChg chg="add del addSldLayout delSldLayout">
        <pc:chgData name="Kebba Jeng" userId="fe4cc296-ba7d-48a2-8799-89b58d218255" providerId="ADAL" clId="{388EFDEE-447E-42B4-98EF-30C01AB2E8CD}" dt="2022-03-28T20:10:13.537" v="4476" actId="700"/>
        <pc:sldMasterMkLst>
          <pc:docMk/>
          <pc:sldMasterMk cId="0" sldId="2147483752"/>
        </pc:sldMasterMkLst>
        <pc:sldLayoutChg chg="add del">
          <pc:chgData name="Kebba Jeng" userId="fe4cc296-ba7d-48a2-8799-89b58d218255" providerId="ADAL" clId="{388EFDEE-447E-42B4-98EF-30C01AB2E8CD}" dt="2022-03-28T20:10:13.537" v="4476" actId="700"/>
          <pc:sldLayoutMkLst>
            <pc:docMk/>
            <pc:sldMasterMk cId="0" sldId="2147483752"/>
            <pc:sldLayoutMk cId="0" sldId="2147483753"/>
          </pc:sldLayoutMkLst>
        </pc:sldLayoutChg>
        <pc:sldLayoutChg chg="add del">
          <pc:chgData name="Kebba Jeng" userId="fe4cc296-ba7d-48a2-8799-89b58d218255" providerId="ADAL" clId="{388EFDEE-447E-42B4-98EF-30C01AB2E8CD}" dt="2022-03-28T20:10:13.537" v="4476" actId="700"/>
          <pc:sldLayoutMkLst>
            <pc:docMk/>
            <pc:sldMasterMk cId="0" sldId="2147483752"/>
            <pc:sldLayoutMk cId="0" sldId="2147483754"/>
          </pc:sldLayoutMkLst>
        </pc:sldLayoutChg>
        <pc:sldLayoutChg chg="add del">
          <pc:chgData name="Kebba Jeng" userId="fe4cc296-ba7d-48a2-8799-89b58d218255" providerId="ADAL" clId="{388EFDEE-447E-42B4-98EF-30C01AB2E8CD}" dt="2022-03-28T20:10:13.537" v="4476" actId="700"/>
          <pc:sldLayoutMkLst>
            <pc:docMk/>
            <pc:sldMasterMk cId="0" sldId="2147483752"/>
            <pc:sldLayoutMk cId="0" sldId="2147483755"/>
          </pc:sldLayoutMkLst>
        </pc:sldLayoutChg>
        <pc:sldLayoutChg chg="add del">
          <pc:chgData name="Kebba Jeng" userId="fe4cc296-ba7d-48a2-8799-89b58d218255" providerId="ADAL" clId="{388EFDEE-447E-42B4-98EF-30C01AB2E8CD}" dt="2022-03-28T20:10:13.537" v="4476" actId="700"/>
          <pc:sldLayoutMkLst>
            <pc:docMk/>
            <pc:sldMasterMk cId="0" sldId="2147483752"/>
            <pc:sldLayoutMk cId="0" sldId="2147483756"/>
          </pc:sldLayoutMkLst>
        </pc:sldLayoutChg>
        <pc:sldLayoutChg chg="add del">
          <pc:chgData name="Kebba Jeng" userId="fe4cc296-ba7d-48a2-8799-89b58d218255" providerId="ADAL" clId="{388EFDEE-447E-42B4-98EF-30C01AB2E8CD}" dt="2022-03-28T20:10:13.537" v="4476" actId="700"/>
          <pc:sldLayoutMkLst>
            <pc:docMk/>
            <pc:sldMasterMk cId="0" sldId="2147483752"/>
            <pc:sldLayoutMk cId="0" sldId="2147483757"/>
          </pc:sldLayoutMkLst>
        </pc:sldLayoutChg>
        <pc:sldLayoutChg chg="add del">
          <pc:chgData name="Kebba Jeng" userId="fe4cc296-ba7d-48a2-8799-89b58d218255" providerId="ADAL" clId="{388EFDEE-447E-42B4-98EF-30C01AB2E8CD}" dt="2022-03-28T20:10:13.537" v="4476" actId="700"/>
          <pc:sldLayoutMkLst>
            <pc:docMk/>
            <pc:sldMasterMk cId="0" sldId="2147483752"/>
            <pc:sldLayoutMk cId="0" sldId="2147483758"/>
          </pc:sldLayoutMkLst>
        </pc:sldLayoutChg>
        <pc:sldLayoutChg chg="add del">
          <pc:chgData name="Kebba Jeng" userId="fe4cc296-ba7d-48a2-8799-89b58d218255" providerId="ADAL" clId="{388EFDEE-447E-42B4-98EF-30C01AB2E8CD}" dt="2022-03-28T20:10:13.537" v="4476" actId="700"/>
          <pc:sldLayoutMkLst>
            <pc:docMk/>
            <pc:sldMasterMk cId="0" sldId="2147483752"/>
            <pc:sldLayoutMk cId="0" sldId="2147483759"/>
          </pc:sldLayoutMkLst>
        </pc:sldLayoutChg>
        <pc:sldLayoutChg chg="add del">
          <pc:chgData name="Kebba Jeng" userId="fe4cc296-ba7d-48a2-8799-89b58d218255" providerId="ADAL" clId="{388EFDEE-447E-42B4-98EF-30C01AB2E8CD}" dt="2022-03-28T20:10:13.537" v="4476" actId="700"/>
          <pc:sldLayoutMkLst>
            <pc:docMk/>
            <pc:sldMasterMk cId="0" sldId="2147483752"/>
            <pc:sldLayoutMk cId="0" sldId="2147483760"/>
          </pc:sldLayoutMkLst>
        </pc:sldLayoutChg>
        <pc:sldLayoutChg chg="add del">
          <pc:chgData name="Kebba Jeng" userId="fe4cc296-ba7d-48a2-8799-89b58d218255" providerId="ADAL" clId="{388EFDEE-447E-42B4-98EF-30C01AB2E8CD}" dt="2022-03-28T20:10:13.537" v="4476" actId="700"/>
          <pc:sldLayoutMkLst>
            <pc:docMk/>
            <pc:sldMasterMk cId="0" sldId="2147483752"/>
            <pc:sldLayoutMk cId="0" sldId="2147483761"/>
          </pc:sldLayoutMkLst>
        </pc:sldLayoutChg>
        <pc:sldLayoutChg chg="add del">
          <pc:chgData name="Kebba Jeng" userId="fe4cc296-ba7d-48a2-8799-89b58d218255" providerId="ADAL" clId="{388EFDEE-447E-42B4-98EF-30C01AB2E8CD}" dt="2022-03-28T20:10:13.537" v="4476" actId="700"/>
          <pc:sldLayoutMkLst>
            <pc:docMk/>
            <pc:sldMasterMk cId="0" sldId="2147483752"/>
            <pc:sldLayoutMk cId="0" sldId="2147483762"/>
          </pc:sldLayoutMkLst>
        </pc:sldLayoutChg>
        <pc:sldLayoutChg chg="add del">
          <pc:chgData name="Kebba Jeng" userId="fe4cc296-ba7d-48a2-8799-89b58d218255" providerId="ADAL" clId="{388EFDEE-447E-42B4-98EF-30C01AB2E8CD}" dt="2022-03-28T20:10:13.537" v="4476" actId="700"/>
          <pc:sldLayoutMkLst>
            <pc:docMk/>
            <pc:sldMasterMk cId="0" sldId="2147483752"/>
            <pc:sldLayoutMk cId="0" sldId="2147483763"/>
          </pc:sldLayoutMkLst>
        </pc:sldLayoutChg>
        <pc:sldLayoutChg chg="add del">
          <pc:chgData name="Kebba Jeng" userId="fe4cc296-ba7d-48a2-8799-89b58d218255" providerId="ADAL" clId="{388EFDEE-447E-42B4-98EF-30C01AB2E8CD}" dt="2022-03-28T20:10:13.537" v="4476" actId="700"/>
          <pc:sldLayoutMkLst>
            <pc:docMk/>
            <pc:sldMasterMk cId="0" sldId="2147483752"/>
            <pc:sldLayoutMk cId="0" sldId="2147483764"/>
          </pc:sldLayoutMkLst>
        </pc:sldLayoutChg>
      </pc:sldMasterChg>
      <pc:sldMasterChg chg="add del addSldLayout delSldLayout">
        <pc:chgData name="Kebba Jeng" userId="fe4cc296-ba7d-48a2-8799-89b58d218255" providerId="ADAL" clId="{388EFDEE-447E-42B4-98EF-30C01AB2E8CD}" dt="2022-03-28T20:10:13.537" v="4476" actId="700"/>
        <pc:sldMasterMkLst>
          <pc:docMk/>
          <pc:sldMasterMk cId="0" sldId="2147483765"/>
        </pc:sldMasterMkLst>
        <pc:sldLayoutChg chg="add del">
          <pc:chgData name="Kebba Jeng" userId="fe4cc296-ba7d-48a2-8799-89b58d218255" providerId="ADAL" clId="{388EFDEE-447E-42B4-98EF-30C01AB2E8CD}" dt="2022-03-28T20:10:13.537" v="4476" actId="700"/>
          <pc:sldLayoutMkLst>
            <pc:docMk/>
            <pc:sldMasterMk cId="0" sldId="2147483765"/>
            <pc:sldLayoutMk cId="0" sldId="2147483766"/>
          </pc:sldLayoutMkLst>
        </pc:sldLayoutChg>
        <pc:sldLayoutChg chg="add del">
          <pc:chgData name="Kebba Jeng" userId="fe4cc296-ba7d-48a2-8799-89b58d218255" providerId="ADAL" clId="{388EFDEE-447E-42B4-98EF-30C01AB2E8CD}" dt="2022-03-28T20:10:13.537" v="4476" actId="700"/>
          <pc:sldLayoutMkLst>
            <pc:docMk/>
            <pc:sldMasterMk cId="0" sldId="2147483765"/>
            <pc:sldLayoutMk cId="0" sldId="2147483767"/>
          </pc:sldLayoutMkLst>
        </pc:sldLayoutChg>
        <pc:sldLayoutChg chg="add del">
          <pc:chgData name="Kebba Jeng" userId="fe4cc296-ba7d-48a2-8799-89b58d218255" providerId="ADAL" clId="{388EFDEE-447E-42B4-98EF-30C01AB2E8CD}" dt="2022-03-28T20:10:13.537" v="4476" actId="700"/>
          <pc:sldLayoutMkLst>
            <pc:docMk/>
            <pc:sldMasterMk cId="0" sldId="2147483765"/>
            <pc:sldLayoutMk cId="0" sldId="2147483768"/>
          </pc:sldLayoutMkLst>
        </pc:sldLayoutChg>
        <pc:sldLayoutChg chg="add del">
          <pc:chgData name="Kebba Jeng" userId="fe4cc296-ba7d-48a2-8799-89b58d218255" providerId="ADAL" clId="{388EFDEE-447E-42B4-98EF-30C01AB2E8CD}" dt="2022-03-28T20:10:13.537" v="4476" actId="700"/>
          <pc:sldLayoutMkLst>
            <pc:docMk/>
            <pc:sldMasterMk cId="0" sldId="2147483765"/>
            <pc:sldLayoutMk cId="0" sldId="2147483769"/>
          </pc:sldLayoutMkLst>
        </pc:sldLayoutChg>
        <pc:sldLayoutChg chg="add del">
          <pc:chgData name="Kebba Jeng" userId="fe4cc296-ba7d-48a2-8799-89b58d218255" providerId="ADAL" clId="{388EFDEE-447E-42B4-98EF-30C01AB2E8CD}" dt="2022-03-28T20:10:13.537" v="4476" actId="700"/>
          <pc:sldLayoutMkLst>
            <pc:docMk/>
            <pc:sldMasterMk cId="0" sldId="2147483765"/>
            <pc:sldLayoutMk cId="0" sldId="2147483770"/>
          </pc:sldLayoutMkLst>
        </pc:sldLayoutChg>
        <pc:sldLayoutChg chg="add del">
          <pc:chgData name="Kebba Jeng" userId="fe4cc296-ba7d-48a2-8799-89b58d218255" providerId="ADAL" clId="{388EFDEE-447E-42B4-98EF-30C01AB2E8CD}" dt="2022-03-28T20:10:13.537" v="4476" actId="700"/>
          <pc:sldLayoutMkLst>
            <pc:docMk/>
            <pc:sldMasterMk cId="0" sldId="2147483765"/>
            <pc:sldLayoutMk cId="0" sldId="2147483771"/>
          </pc:sldLayoutMkLst>
        </pc:sldLayoutChg>
        <pc:sldLayoutChg chg="add del">
          <pc:chgData name="Kebba Jeng" userId="fe4cc296-ba7d-48a2-8799-89b58d218255" providerId="ADAL" clId="{388EFDEE-447E-42B4-98EF-30C01AB2E8CD}" dt="2022-03-28T20:10:13.537" v="4476" actId="700"/>
          <pc:sldLayoutMkLst>
            <pc:docMk/>
            <pc:sldMasterMk cId="0" sldId="2147483765"/>
            <pc:sldLayoutMk cId="0" sldId="2147483772"/>
          </pc:sldLayoutMkLst>
        </pc:sldLayoutChg>
        <pc:sldLayoutChg chg="add del">
          <pc:chgData name="Kebba Jeng" userId="fe4cc296-ba7d-48a2-8799-89b58d218255" providerId="ADAL" clId="{388EFDEE-447E-42B4-98EF-30C01AB2E8CD}" dt="2022-03-28T20:10:13.537" v="4476" actId="700"/>
          <pc:sldLayoutMkLst>
            <pc:docMk/>
            <pc:sldMasterMk cId="0" sldId="2147483765"/>
            <pc:sldLayoutMk cId="0" sldId="2147483773"/>
          </pc:sldLayoutMkLst>
        </pc:sldLayoutChg>
        <pc:sldLayoutChg chg="add del">
          <pc:chgData name="Kebba Jeng" userId="fe4cc296-ba7d-48a2-8799-89b58d218255" providerId="ADAL" clId="{388EFDEE-447E-42B4-98EF-30C01AB2E8CD}" dt="2022-03-28T20:10:13.537" v="4476" actId="700"/>
          <pc:sldLayoutMkLst>
            <pc:docMk/>
            <pc:sldMasterMk cId="0" sldId="2147483765"/>
            <pc:sldLayoutMk cId="0" sldId="2147483774"/>
          </pc:sldLayoutMkLst>
        </pc:sldLayoutChg>
        <pc:sldLayoutChg chg="add del">
          <pc:chgData name="Kebba Jeng" userId="fe4cc296-ba7d-48a2-8799-89b58d218255" providerId="ADAL" clId="{388EFDEE-447E-42B4-98EF-30C01AB2E8CD}" dt="2022-03-28T20:10:13.537" v="4476" actId="700"/>
          <pc:sldLayoutMkLst>
            <pc:docMk/>
            <pc:sldMasterMk cId="0" sldId="2147483765"/>
            <pc:sldLayoutMk cId="0" sldId="2147483775"/>
          </pc:sldLayoutMkLst>
        </pc:sldLayoutChg>
        <pc:sldLayoutChg chg="add del">
          <pc:chgData name="Kebba Jeng" userId="fe4cc296-ba7d-48a2-8799-89b58d218255" providerId="ADAL" clId="{388EFDEE-447E-42B4-98EF-30C01AB2E8CD}" dt="2022-03-28T20:10:13.537" v="4476" actId="700"/>
          <pc:sldLayoutMkLst>
            <pc:docMk/>
            <pc:sldMasterMk cId="0" sldId="2147483765"/>
            <pc:sldLayoutMk cId="0" sldId="2147483776"/>
          </pc:sldLayoutMkLst>
        </pc:sldLayoutChg>
        <pc:sldLayoutChg chg="add del">
          <pc:chgData name="Kebba Jeng" userId="fe4cc296-ba7d-48a2-8799-89b58d218255" providerId="ADAL" clId="{388EFDEE-447E-42B4-98EF-30C01AB2E8CD}" dt="2022-03-28T20:10:13.537" v="4476" actId="700"/>
          <pc:sldLayoutMkLst>
            <pc:docMk/>
            <pc:sldMasterMk cId="0" sldId="2147483765"/>
            <pc:sldLayoutMk cId="0" sldId="2147483777"/>
          </pc:sldLayoutMkLst>
        </pc:sldLayoutChg>
      </pc:sldMasterChg>
      <pc:sldMasterChg chg="add del addSldLayout delSldLayout">
        <pc:chgData name="Kebba Jeng" userId="fe4cc296-ba7d-48a2-8799-89b58d218255" providerId="ADAL" clId="{388EFDEE-447E-42B4-98EF-30C01AB2E8CD}" dt="2022-03-28T20:10:13.537" v="4476" actId="700"/>
        <pc:sldMasterMkLst>
          <pc:docMk/>
          <pc:sldMasterMk cId="0" sldId="2147483778"/>
        </pc:sldMasterMkLst>
        <pc:sldLayoutChg chg="add del">
          <pc:chgData name="Kebba Jeng" userId="fe4cc296-ba7d-48a2-8799-89b58d218255" providerId="ADAL" clId="{388EFDEE-447E-42B4-98EF-30C01AB2E8CD}" dt="2022-03-28T20:10:13.537" v="4476" actId="700"/>
          <pc:sldLayoutMkLst>
            <pc:docMk/>
            <pc:sldMasterMk cId="0" sldId="2147483778"/>
            <pc:sldLayoutMk cId="0" sldId="2147483779"/>
          </pc:sldLayoutMkLst>
        </pc:sldLayoutChg>
        <pc:sldLayoutChg chg="add del">
          <pc:chgData name="Kebba Jeng" userId="fe4cc296-ba7d-48a2-8799-89b58d218255" providerId="ADAL" clId="{388EFDEE-447E-42B4-98EF-30C01AB2E8CD}" dt="2022-03-28T20:10:13.537" v="4476" actId="700"/>
          <pc:sldLayoutMkLst>
            <pc:docMk/>
            <pc:sldMasterMk cId="0" sldId="2147483778"/>
            <pc:sldLayoutMk cId="0" sldId="2147483780"/>
          </pc:sldLayoutMkLst>
        </pc:sldLayoutChg>
        <pc:sldLayoutChg chg="add del">
          <pc:chgData name="Kebba Jeng" userId="fe4cc296-ba7d-48a2-8799-89b58d218255" providerId="ADAL" clId="{388EFDEE-447E-42B4-98EF-30C01AB2E8CD}" dt="2022-03-28T20:10:13.537" v="4476" actId="700"/>
          <pc:sldLayoutMkLst>
            <pc:docMk/>
            <pc:sldMasterMk cId="0" sldId="2147483778"/>
            <pc:sldLayoutMk cId="0" sldId="2147483781"/>
          </pc:sldLayoutMkLst>
        </pc:sldLayoutChg>
        <pc:sldLayoutChg chg="add del">
          <pc:chgData name="Kebba Jeng" userId="fe4cc296-ba7d-48a2-8799-89b58d218255" providerId="ADAL" clId="{388EFDEE-447E-42B4-98EF-30C01AB2E8CD}" dt="2022-03-28T20:10:13.537" v="4476" actId="700"/>
          <pc:sldLayoutMkLst>
            <pc:docMk/>
            <pc:sldMasterMk cId="0" sldId="2147483778"/>
            <pc:sldLayoutMk cId="0" sldId="2147483782"/>
          </pc:sldLayoutMkLst>
        </pc:sldLayoutChg>
        <pc:sldLayoutChg chg="add del">
          <pc:chgData name="Kebba Jeng" userId="fe4cc296-ba7d-48a2-8799-89b58d218255" providerId="ADAL" clId="{388EFDEE-447E-42B4-98EF-30C01AB2E8CD}" dt="2022-03-28T20:10:13.537" v="4476" actId="700"/>
          <pc:sldLayoutMkLst>
            <pc:docMk/>
            <pc:sldMasterMk cId="0" sldId="2147483778"/>
            <pc:sldLayoutMk cId="0" sldId="2147483783"/>
          </pc:sldLayoutMkLst>
        </pc:sldLayoutChg>
        <pc:sldLayoutChg chg="add del">
          <pc:chgData name="Kebba Jeng" userId="fe4cc296-ba7d-48a2-8799-89b58d218255" providerId="ADAL" clId="{388EFDEE-447E-42B4-98EF-30C01AB2E8CD}" dt="2022-03-28T20:10:13.537" v="4476" actId="700"/>
          <pc:sldLayoutMkLst>
            <pc:docMk/>
            <pc:sldMasterMk cId="0" sldId="2147483778"/>
            <pc:sldLayoutMk cId="0" sldId="2147483784"/>
          </pc:sldLayoutMkLst>
        </pc:sldLayoutChg>
        <pc:sldLayoutChg chg="add del">
          <pc:chgData name="Kebba Jeng" userId="fe4cc296-ba7d-48a2-8799-89b58d218255" providerId="ADAL" clId="{388EFDEE-447E-42B4-98EF-30C01AB2E8CD}" dt="2022-03-28T20:10:13.537" v="4476" actId="700"/>
          <pc:sldLayoutMkLst>
            <pc:docMk/>
            <pc:sldMasterMk cId="0" sldId="2147483778"/>
            <pc:sldLayoutMk cId="0" sldId="2147483785"/>
          </pc:sldLayoutMkLst>
        </pc:sldLayoutChg>
        <pc:sldLayoutChg chg="add del">
          <pc:chgData name="Kebba Jeng" userId="fe4cc296-ba7d-48a2-8799-89b58d218255" providerId="ADAL" clId="{388EFDEE-447E-42B4-98EF-30C01AB2E8CD}" dt="2022-03-28T20:10:13.537" v="4476" actId="700"/>
          <pc:sldLayoutMkLst>
            <pc:docMk/>
            <pc:sldMasterMk cId="0" sldId="2147483778"/>
            <pc:sldLayoutMk cId="0" sldId="2147483786"/>
          </pc:sldLayoutMkLst>
        </pc:sldLayoutChg>
        <pc:sldLayoutChg chg="add del">
          <pc:chgData name="Kebba Jeng" userId="fe4cc296-ba7d-48a2-8799-89b58d218255" providerId="ADAL" clId="{388EFDEE-447E-42B4-98EF-30C01AB2E8CD}" dt="2022-03-28T20:10:13.537" v="4476" actId="700"/>
          <pc:sldLayoutMkLst>
            <pc:docMk/>
            <pc:sldMasterMk cId="0" sldId="2147483778"/>
            <pc:sldLayoutMk cId="0" sldId="2147483787"/>
          </pc:sldLayoutMkLst>
        </pc:sldLayoutChg>
        <pc:sldLayoutChg chg="add del">
          <pc:chgData name="Kebba Jeng" userId="fe4cc296-ba7d-48a2-8799-89b58d218255" providerId="ADAL" clId="{388EFDEE-447E-42B4-98EF-30C01AB2E8CD}" dt="2022-03-28T20:10:13.537" v="4476" actId="700"/>
          <pc:sldLayoutMkLst>
            <pc:docMk/>
            <pc:sldMasterMk cId="0" sldId="2147483778"/>
            <pc:sldLayoutMk cId="0" sldId="2147483788"/>
          </pc:sldLayoutMkLst>
        </pc:sldLayoutChg>
        <pc:sldLayoutChg chg="add del">
          <pc:chgData name="Kebba Jeng" userId="fe4cc296-ba7d-48a2-8799-89b58d218255" providerId="ADAL" clId="{388EFDEE-447E-42B4-98EF-30C01AB2E8CD}" dt="2022-03-28T20:10:13.537" v="4476" actId="700"/>
          <pc:sldLayoutMkLst>
            <pc:docMk/>
            <pc:sldMasterMk cId="0" sldId="2147483778"/>
            <pc:sldLayoutMk cId="0" sldId="2147483789"/>
          </pc:sldLayoutMkLst>
        </pc:sldLayoutChg>
        <pc:sldLayoutChg chg="add del">
          <pc:chgData name="Kebba Jeng" userId="fe4cc296-ba7d-48a2-8799-89b58d218255" providerId="ADAL" clId="{388EFDEE-447E-42B4-98EF-30C01AB2E8CD}" dt="2022-03-28T20:10:13.537" v="4476" actId="700"/>
          <pc:sldLayoutMkLst>
            <pc:docMk/>
            <pc:sldMasterMk cId="0" sldId="2147483778"/>
            <pc:sldLayoutMk cId="0" sldId="2147483790"/>
          </pc:sldLayoutMkLst>
        </pc:sldLayoutChg>
      </pc:sldMasterChg>
      <pc:sldMasterChg chg="add del addSldLayout delSldLayout">
        <pc:chgData name="Kebba Jeng" userId="fe4cc296-ba7d-48a2-8799-89b58d218255" providerId="ADAL" clId="{388EFDEE-447E-42B4-98EF-30C01AB2E8CD}" dt="2022-03-28T20:10:13.537" v="4476" actId="700"/>
        <pc:sldMasterMkLst>
          <pc:docMk/>
          <pc:sldMasterMk cId="0" sldId="2147483791"/>
        </pc:sldMasterMkLst>
        <pc:sldLayoutChg chg="add del">
          <pc:chgData name="Kebba Jeng" userId="fe4cc296-ba7d-48a2-8799-89b58d218255" providerId="ADAL" clId="{388EFDEE-447E-42B4-98EF-30C01AB2E8CD}" dt="2022-03-28T20:10:13.537" v="4476" actId="700"/>
          <pc:sldLayoutMkLst>
            <pc:docMk/>
            <pc:sldMasterMk cId="0" sldId="2147483791"/>
            <pc:sldLayoutMk cId="0" sldId="2147483792"/>
          </pc:sldLayoutMkLst>
        </pc:sldLayoutChg>
        <pc:sldLayoutChg chg="add del">
          <pc:chgData name="Kebba Jeng" userId="fe4cc296-ba7d-48a2-8799-89b58d218255" providerId="ADAL" clId="{388EFDEE-447E-42B4-98EF-30C01AB2E8CD}" dt="2022-03-28T20:10:13.537" v="4476" actId="700"/>
          <pc:sldLayoutMkLst>
            <pc:docMk/>
            <pc:sldMasterMk cId="0" sldId="2147483791"/>
            <pc:sldLayoutMk cId="0" sldId="2147483793"/>
          </pc:sldLayoutMkLst>
        </pc:sldLayoutChg>
        <pc:sldLayoutChg chg="add del">
          <pc:chgData name="Kebba Jeng" userId="fe4cc296-ba7d-48a2-8799-89b58d218255" providerId="ADAL" clId="{388EFDEE-447E-42B4-98EF-30C01AB2E8CD}" dt="2022-03-28T20:10:13.537" v="4476" actId="700"/>
          <pc:sldLayoutMkLst>
            <pc:docMk/>
            <pc:sldMasterMk cId="0" sldId="2147483791"/>
            <pc:sldLayoutMk cId="0" sldId="2147483794"/>
          </pc:sldLayoutMkLst>
        </pc:sldLayoutChg>
        <pc:sldLayoutChg chg="add del">
          <pc:chgData name="Kebba Jeng" userId="fe4cc296-ba7d-48a2-8799-89b58d218255" providerId="ADAL" clId="{388EFDEE-447E-42B4-98EF-30C01AB2E8CD}" dt="2022-03-28T20:10:13.537" v="4476" actId="700"/>
          <pc:sldLayoutMkLst>
            <pc:docMk/>
            <pc:sldMasterMk cId="0" sldId="2147483791"/>
            <pc:sldLayoutMk cId="0" sldId="2147483795"/>
          </pc:sldLayoutMkLst>
        </pc:sldLayoutChg>
        <pc:sldLayoutChg chg="add del">
          <pc:chgData name="Kebba Jeng" userId="fe4cc296-ba7d-48a2-8799-89b58d218255" providerId="ADAL" clId="{388EFDEE-447E-42B4-98EF-30C01AB2E8CD}" dt="2022-03-28T20:10:13.537" v="4476" actId="700"/>
          <pc:sldLayoutMkLst>
            <pc:docMk/>
            <pc:sldMasterMk cId="0" sldId="2147483791"/>
            <pc:sldLayoutMk cId="0" sldId="2147483796"/>
          </pc:sldLayoutMkLst>
        </pc:sldLayoutChg>
        <pc:sldLayoutChg chg="add del">
          <pc:chgData name="Kebba Jeng" userId="fe4cc296-ba7d-48a2-8799-89b58d218255" providerId="ADAL" clId="{388EFDEE-447E-42B4-98EF-30C01AB2E8CD}" dt="2022-03-28T20:10:13.537" v="4476" actId="700"/>
          <pc:sldLayoutMkLst>
            <pc:docMk/>
            <pc:sldMasterMk cId="0" sldId="2147483791"/>
            <pc:sldLayoutMk cId="0" sldId="2147483797"/>
          </pc:sldLayoutMkLst>
        </pc:sldLayoutChg>
        <pc:sldLayoutChg chg="add del">
          <pc:chgData name="Kebba Jeng" userId="fe4cc296-ba7d-48a2-8799-89b58d218255" providerId="ADAL" clId="{388EFDEE-447E-42B4-98EF-30C01AB2E8CD}" dt="2022-03-28T20:10:13.537" v="4476" actId="700"/>
          <pc:sldLayoutMkLst>
            <pc:docMk/>
            <pc:sldMasterMk cId="0" sldId="2147483791"/>
            <pc:sldLayoutMk cId="0" sldId="2147483798"/>
          </pc:sldLayoutMkLst>
        </pc:sldLayoutChg>
        <pc:sldLayoutChg chg="add del">
          <pc:chgData name="Kebba Jeng" userId="fe4cc296-ba7d-48a2-8799-89b58d218255" providerId="ADAL" clId="{388EFDEE-447E-42B4-98EF-30C01AB2E8CD}" dt="2022-03-28T20:10:13.537" v="4476" actId="700"/>
          <pc:sldLayoutMkLst>
            <pc:docMk/>
            <pc:sldMasterMk cId="0" sldId="2147483791"/>
            <pc:sldLayoutMk cId="0" sldId="2147483799"/>
          </pc:sldLayoutMkLst>
        </pc:sldLayoutChg>
        <pc:sldLayoutChg chg="add del">
          <pc:chgData name="Kebba Jeng" userId="fe4cc296-ba7d-48a2-8799-89b58d218255" providerId="ADAL" clId="{388EFDEE-447E-42B4-98EF-30C01AB2E8CD}" dt="2022-03-28T20:10:13.537" v="4476" actId="700"/>
          <pc:sldLayoutMkLst>
            <pc:docMk/>
            <pc:sldMasterMk cId="0" sldId="2147483791"/>
            <pc:sldLayoutMk cId="0" sldId="2147483800"/>
          </pc:sldLayoutMkLst>
        </pc:sldLayoutChg>
        <pc:sldLayoutChg chg="add del">
          <pc:chgData name="Kebba Jeng" userId="fe4cc296-ba7d-48a2-8799-89b58d218255" providerId="ADAL" clId="{388EFDEE-447E-42B4-98EF-30C01AB2E8CD}" dt="2022-03-28T20:10:13.537" v="4476" actId="700"/>
          <pc:sldLayoutMkLst>
            <pc:docMk/>
            <pc:sldMasterMk cId="0" sldId="2147483791"/>
            <pc:sldLayoutMk cId="0" sldId="2147483801"/>
          </pc:sldLayoutMkLst>
        </pc:sldLayoutChg>
        <pc:sldLayoutChg chg="add del">
          <pc:chgData name="Kebba Jeng" userId="fe4cc296-ba7d-48a2-8799-89b58d218255" providerId="ADAL" clId="{388EFDEE-447E-42B4-98EF-30C01AB2E8CD}" dt="2022-03-28T20:10:13.537" v="4476" actId="700"/>
          <pc:sldLayoutMkLst>
            <pc:docMk/>
            <pc:sldMasterMk cId="0" sldId="2147483791"/>
            <pc:sldLayoutMk cId="0" sldId="2147483802"/>
          </pc:sldLayoutMkLst>
        </pc:sldLayoutChg>
        <pc:sldLayoutChg chg="add del">
          <pc:chgData name="Kebba Jeng" userId="fe4cc296-ba7d-48a2-8799-89b58d218255" providerId="ADAL" clId="{388EFDEE-447E-42B4-98EF-30C01AB2E8CD}" dt="2022-03-28T20:10:13.537" v="4476" actId="700"/>
          <pc:sldLayoutMkLst>
            <pc:docMk/>
            <pc:sldMasterMk cId="0" sldId="2147483791"/>
            <pc:sldLayoutMk cId="0" sldId="2147483803"/>
          </pc:sldLayoutMkLst>
        </pc:sldLayoutChg>
      </pc:sldMasterChg>
    </pc:docChg>
  </pc:docChgLst>
  <pc:docChgLst>
    <pc:chgData name="Kebba Jeng" userId="S::kebje541@student.liu.se::fe4cc296-ba7d-48a2-8799-89b58d218255" providerId="AD" clId="Web-{57EA1583-AF11-D277-449F-D0D4C2055D09}"/>
    <pc:docChg chg="modSld">
      <pc:chgData name="Kebba Jeng" userId="S::kebje541@student.liu.se::fe4cc296-ba7d-48a2-8799-89b58d218255" providerId="AD" clId="Web-{57EA1583-AF11-D277-449F-D0D4C2055D09}" dt="2022-04-25T11:49:32.870" v="1" actId="1076"/>
      <pc:docMkLst>
        <pc:docMk/>
      </pc:docMkLst>
      <pc:sldChg chg="modSp">
        <pc:chgData name="Kebba Jeng" userId="S::kebje541@student.liu.se::fe4cc296-ba7d-48a2-8799-89b58d218255" providerId="AD" clId="Web-{57EA1583-AF11-D277-449F-D0D4C2055D09}" dt="2022-04-25T11:49:32.870" v="1" actId="1076"/>
        <pc:sldMkLst>
          <pc:docMk/>
          <pc:sldMk cId="3661165130" sldId="2134803555"/>
        </pc:sldMkLst>
        <pc:picChg chg="mod">
          <ac:chgData name="Kebba Jeng" userId="S::kebje541@student.liu.se::fe4cc296-ba7d-48a2-8799-89b58d218255" providerId="AD" clId="Web-{57EA1583-AF11-D277-449F-D0D4C2055D09}" dt="2022-04-25T11:49:32.870" v="1" actId="1076"/>
          <ac:picMkLst>
            <pc:docMk/>
            <pc:sldMk cId="3661165130" sldId="2134803555"/>
            <ac:picMk id="6" creationId="{55D2E903-C86F-4B2B-B08B-EE1B128BE929}"/>
          </ac:picMkLst>
        </pc:picChg>
      </pc:sldChg>
    </pc:docChg>
  </pc:docChgLst>
  <pc:docChgLst>
    <pc:chgData name="Kebba Jeng" userId="fe4cc296-ba7d-48a2-8799-89b58d218255" providerId="ADAL" clId="{FCBD5683-BE61-41A3-82A3-992D8F76D308}"/>
    <pc:docChg chg="undo custSel addSld delSld modSld sldOrd delMainMaster modSection">
      <pc:chgData name="Kebba Jeng" userId="fe4cc296-ba7d-48a2-8799-89b58d218255" providerId="ADAL" clId="{FCBD5683-BE61-41A3-82A3-992D8F76D308}" dt="2022-04-08T07:59:39.374" v="508" actId="20577"/>
      <pc:docMkLst>
        <pc:docMk/>
      </pc:docMkLst>
      <pc:sldChg chg="addSp delSp modSp mod">
        <pc:chgData name="Kebba Jeng" userId="fe4cc296-ba7d-48a2-8799-89b58d218255" providerId="ADAL" clId="{FCBD5683-BE61-41A3-82A3-992D8F76D308}" dt="2022-04-07T18:45:02.202" v="400" actId="1076"/>
        <pc:sldMkLst>
          <pc:docMk/>
          <pc:sldMk cId="0" sldId="256"/>
        </pc:sldMkLst>
        <pc:spChg chg="del">
          <ac:chgData name="Kebba Jeng" userId="fe4cc296-ba7d-48a2-8799-89b58d218255" providerId="ADAL" clId="{FCBD5683-BE61-41A3-82A3-992D8F76D308}" dt="2022-04-07T18:44:50.919" v="394" actId="478"/>
          <ac:spMkLst>
            <pc:docMk/>
            <pc:sldMk cId="0" sldId="256"/>
            <ac:spMk id="504" creationId="{00000000-0000-0000-0000-000000000000}"/>
          </ac:spMkLst>
        </pc:spChg>
        <pc:spChg chg="del">
          <ac:chgData name="Kebba Jeng" userId="fe4cc296-ba7d-48a2-8799-89b58d218255" providerId="ADAL" clId="{FCBD5683-BE61-41A3-82A3-992D8F76D308}" dt="2022-04-07T18:44:54.369" v="396" actId="478"/>
          <ac:spMkLst>
            <pc:docMk/>
            <pc:sldMk cId="0" sldId="256"/>
            <ac:spMk id="505" creationId="{00000000-0000-0000-0000-000000000000}"/>
          </ac:spMkLst>
        </pc:spChg>
        <pc:picChg chg="add del mod">
          <ac:chgData name="Kebba Jeng" userId="fe4cc296-ba7d-48a2-8799-89b58d218255" providerId="ADAL" clId="{FCBD5683-BE61-41A3-82A3-992D8F76D308}" dt="2022-04-07T18:44:44.739" v="391"/>
          <ac:picMkLst>
            <pc:docMk/>
            <pc:sldMk cId="0" sldId="256"/>
            <ac:picMk id="8" creationId="{45BAA263-95EA-4D1C-9275-3ADA5A66D070}"/>
          </ac:picMkLst>
        </pc:picChg>
        <pc:picChg chg="add mod">
          <ac:chgData name="Kebba Jeng" userId="fe4cc296-ba7d-48a2-8799-89b58d218255" providerId="ADAL" clId="{FCBD5683-BE61-41A3-82A3-992D8F76D308}" dt="2022-04-07T18:45:02.202" v="400" actId="1076"/>
          <ac:picMkLst>
            <pc:docMk/>
            <pc:sldMk cId="0" sldId="256"/>
            <ac:picMk id="9" creationId="{6FCB1165-CDBE-43B4-95A3-506B5010780F}"/>
          </ac:picMkLst>
        </pc:picChg>
      </pc:sldChg>
      <pc:sldChg chg="del">
        <pc:chgData name="Kebba Jeng" userId="fe4cc296-ba7d-48a2-8799-89b58d218255" providerId="ADAL" clId="{FCBD5683-BE61-41A3-82A3-992D8F76D308}" dt="2022-04-07T18:08:53.545" v="249" actId="47"/>
        <pc:sldMkLst>
          <pc:docMk/>
          <pc:sldMk cId="0" sldId="257"/>
        </pc:sldMkLst>
      </pc:sldChg>
      <pc:sldChg chg="add del">
        <pc:chgData name="Kebba Jeng" userId="fe4cc296-ba7d-48a2-8799-89b58d218255" providerId="ADAL" clId="{FCBD5683-BE61-41A3-82A3-992D8F76D308}" dt="2022-04-07T18:08:30.944" v="248" actId="47"/>
        <pc:sldMkLst>
          <pc:docMk/>
          <pc:sldMk cId="0" sldId="258"/>
        </pc:sldMkLst>
      </pc:sldChg>
      <pc:sldChg chg="delSp modSp del mod">
        <pc:chgData name="Kebba Jeng" userId="fe4cc296-ba7d-48a2-8799-89b58d218255" providerId="ADAL" clId="{FCBD5683-BE61-41A3-82A3-992D8F76D308}" dt="2022-04-07T18:08:21.933" v="246" actId="47"/>
        <pc:sldMkLst>
          <pc:docMk/>
          <pc:sldMk cId="0" sldId="259"/>
        </pc:sldMkLst>
        <pc:spChg chg="mod">
          <ac:chgData name="Kebba Jeng" userId="fe4cc296-ba7d-48a2-8799-89b58d218255" providerId="ADAL" clId="{FCBD5683-BE61-41A3-82A3-992D8F76D308}" dt="2022-04-07T18:07:13.680" v="245" actId="20577"/>
          <ac:spMkLst>
            <pc:docMk/>
            <pc:sldMk cId="0" sldId="259"/>
            <ac:spMk id="518" creationId="{00000000-0000-0000-0000-000000000000}"/>
          </ac:spMkLst>
        </pc:spChg>
        <pc:spChg chg="del">
          <ac:chgData name="Kebba Jeng" userId="fe4cc296-ba7d-48a2-8799-89b58d218255" providerId="ADAL" clId="{FCBD5683-BE61-41A3-82A3-992D8F76D308}" dt="2022-04-01T17:06:59.725" v="1" actId="478"/>
          <ac:spMkLst>
            <pc:docMk/>
            <pc:sldMk cId="0" sldId="259"/>
            <ac:spMk id="520" creationId="{00000000-0000-0000-0000-000000000000}"/>
          </ac:spMkLst>
        </pc:spChg>
        <pc:picChg chg="del">
          <ac:chgData name="Kebba Jeng" userId="fe4cc296-ba7d-48a2-8799-89b58d218255" providerId="ADAL" clId="{FCBD5683-BE61-41A3-82A3-992D8F76D308}" dt="2022-04-01T17:06:56.063" v="0" actId="478"/>
          <ac:picMkLst>
            <pc:docMk/>
            <pc:sldMk cId="0" sldId="259"/>
            <ac:picMk id="6" creationId="{AA201B2E-F85E-40C2-9644-6067C127083A}"/>
          </ac:picMkLst>
        </pc:picChg>
      </pc:sldChg>
      <pc:sldChg chg="addSp delSp modSp mod ord modNotesTx">
        <pc:chgData name="Kebba Jeng" userId="fe4cc296-ba7d-48a2-8799-89b58d218255" providerId="ADAL" clId="{FCBD5683-BE61-41A3-82A3-992D8F76D308}" dt="2022-04-08T07:16:57.947" v="499"/>
        <pc:sldMkLst>
          <pc:docMk/>
          <pc:sldMk cId="0" sldId="260"/>
        </pc:sldMkLst>
        <pc:spChg chg="add del mod">
          <ac:chgData name="Kebba Jeng" userId="fe4cc296-ba7d-48a2-8799-89b58d218255" providerId="ADAL" clId="{FCBD5683-BE61-41A3-82A3-992D8F76D308}" dt="2022-04-08T06:30:31.264" v="434"/>
          <ac:spMkLst>
            <pc:docMk/>
            <pc:sldMk cId="0" sldId="260"/>
            <ac:spMk id="7" creationId="{AA5B2A2F-F71E-4817-B839-BD71712A0BA3}"/>
          </ac:spMkLst>
        </pc:spChg>
        <pc:spChg chg="add del mod">
          <ac:chgData name="Kebba Jeng" userId="fe4cc296-ba7d-48a2-8799-89b58d218255" providerId="ADAL" clId="{FCBD5683-BE61-41A3-82A3-992D8F76D308}" dt="2022-04-08T06:30:31.264" v="434"/>
          <ac:spMkLst>
            <pc:docMk/>
            <pc:sldMk cId="0" sldId="260"/>
            <ac:spMk id="8" creationId="{EFA055DA-B2CE-4814-ADAB-048EB0BEC77F}"/>
          </ac:spMkLst>
        </pc:spChg>
        <pc:spChg chg="add del mod">
          <ac:chgData name="Kebba Jeng" userId="fe4cc296-ba7d-48a2-8799-89b58d218255" providerId="ADAL" clId="{FCBD5683-BE61-41A3-82A3-992D8F76D308}" dt="2022-04-08T06:30:31.264" v="434"/>
          <ac:spMkLst>
            <pc:docMk/>
            <pc:sldMk cId="0" sldId="260"/>
            <ac:spMk id="9" creationId="{04B3317C-07EF-4A00-A77D-87AAD8FD1AB7}"/>
          </ac:spMkLst>
        </pc:spChg>
        <pc:spChg chg="add del mod">
          <ac:chgData name="Kebba Jeng" userId="fe4cc296-ba7d-48a2-8799-89b58d218255" providerId="ADAL" clId="{FCBD5683-BE61-41A3-82A3-992D8F76D308}" dt="2022-04-08T06:30:31.264" v="434"/>
          <ac:spMkLst>
            <pc:docMk/>
            <pc:sldMk cId="0" sldId="260"/>
            <ac:spMk id="10" creationId="{5A373960-0ED0-4819-9A9C-E00AC7D9DB18}"/>
          </ac:spMkLst>
        </pc:spChg>
        <pc:spChg chg="add del mod">
          <ac:chgData name="Kebba Jeng" userId="fe4cc296-ba7d-48a2-8799-89b58d218255" providerId="ADAL" clId="{FCBD5683-BE61-41A3-82A3-992D8F76D308}" dt="2022-04-08T06:30:31.264" v="434"/>
          <ac:spMkLst>
            <pc:docMk/>
            <pc:sldMk cId="0" sldId="260"/>
            <ac:spMk id="11" creationId="{5A5EE050-6F4A-4500-9ACC-6087BF723AF1}"/>
          </ac:spMkLst>
        </pc:spChg>
        <pc:spChg chg="add del mod">
          <ac:chgData name="Kebba Jeng" userId="fe4cc296-ba7d-48a2-8799-89b58d218255" providerId="ADAL" clId="{FCBD5683-BE61-41A3-82A3-992D8F76D308}" dt="2022-04-08T06:30:31.264" v="434"/>
          <ac:spMkLst>
            <pc:docMk/>
            <pc:sldMk cId="0" sldId="260"/>
            <ac:spMk id="12" creationId="{957F5733-C1A2-43BC-B1C1-8430E6508533}"/>
          </ac:spMkLst>
        </pc:spChg>
        <pc:spChg chg="add del mod">
          <ac:chgData name="Kebba Jeng" userId="fe4cc296-ba7d-48a2-8799-89b58d218255" providerId="ADAL" clId="{FCBD5683-BE61-41A3-82A3-992D8F76D308}" dt="2022-04-08T06:30:31.264" v="434"/>
          <ac:spMkLst>
            <pc:docMk/>
            <pc:sldMk cId="0" sldId="260"/>
            <ac:spMk id="13" creationId="{B40B7CB1-4BEB-4ACD-9831-6D83DC036EC2}"/>
          </ac:spMkLst>
        </pc:spChg>
        <pc:spChg chg="add del mod">
          <ac:chgData name="Kebba Jeng" userId="fe4cc296-ba7d-48a2-8799-89b58d218255" providerId="ADAL" clId="{FCBD5683-BE61-41A3-82A3-992D8F76D308}" dt="2022-04-08T06:30:31.264" v="434"/>
          <ac:spMkLst>
            <pc:docMk/>
            <pc:sldMk cId="0" sldId="260"/>
            <ac:spMk id="14" creationId="{7684BEE8-2368-4B32-A24A-96076619B8C2}"/>
          </ac:spMkLst>
        </pc:spChg>
        <pc:spChg chg="add del mod">
          <ac:chgData name="Kebba Jeng" userId="fe4cc296-ba7d-48a2-8799-89b58d218255" providerId="ADAL" clId="{FCBD5683-BE61-41A3-82A3-992D8F76D308}" dt="2022-04-08T06:30:31.264" v="434"/>
          <ac:spMkLst>
            <pc:docMk/>
            <pc:sldMk cId="0" sldId="260"/>
            <ac:spMk id="15" creationId="{2F107E7B-2AA4-4BFE-A01A-F5703BD8DE54}"/>
          </ac:spMkLst>
        </pc:spChg>
        <pc:spChg chg="add del mod">
          <ac:chgData name="Kebba Jeng" userId="fe4cc296-ba7d-48a2-8799-89b58d218255" providerId="ADAL" clId="{FCBD5683-BE61-41A3-82A3-992D8F76D308}" dt="2022-04-08T06:30:31.264" v="434"/>
          <ac:spMkLst>
            <pc:docMk/>
            <pc:sldMk cId="0" sldId="260"/>
            <ac:spMk id="16" creationId="{242A02FA-14E0-4FFE-9C22-C649449D9727}"/>
          </ac:spMkLst>
        </pc:spChg>
        <pc:spChg chg="add del mod">
          <ac:chgData name="Kebba Jeng" userId="fe4cc296-ba7d-48a2-8799-89b58d218255" providerId="ADAL" clId="{FCBD5683-BE61-41A3-82A3-992D8F76D308}" dt="2022-04-08T06:30:31.264" v="434"/>
          <ac:spMkLst>
            <pc:docMk/>
            <pc:sldMk cId="0" sldId="260"/>
            <ac:spMk id="17" creationId="{CFC4F870-9796-4481-BE29-96DD6E88B664}"/>
          </ac:spMkLst>
        </pc:spChg>
        <pc:spChg chg="add del mod">
          <ac:chgData name="Kebba Jeng" userId="fe4cc296-ba7d-48a2-8799-89b58d218255" providerId="ADAL" clId="{FCBD5683-BE61-41A3-82A3-992D8F76D308}" dt="2022-04-08T06:30:31.264" v="434"/>
          <ac:spMkLst>
            <pc:docMk/>
            <pc:sldMk cId="0" sldId="260"/>
            <ac:spMk id="18" creationId="{5F6DECCB-F7C8-4975-83AC-0F5EEA29F1A9}"/>
          </ac:spMkLst>
        </pc:spChg>
        <pc:spChg chg="add del mod">
          <ac:chgData name="Kebba Jeng" userId="fe4cc296-ba7d-48a2-8799-89b58d218255" providerId="ADAL" clId="{FCBD5683-BE61-41A3-82A3-992D8F76D308}" dt="2022-04-08T06:30:31.264" v="434"/>
          <ac:spMkLst>
            <pc:docMk/>
            <pc:sldMk cId="0" sldId="260"/>
            <ac:spMk id="19" creationId="{A49D48C3-7C17-4F76-8FA3-B7C2C2F96E09}"/>
          </ac:spMkLst>
        </pc:spChg>
        <pc:spChg chg="add del mod">
          <ac:chgData name="Kebba Jeng" userId="fe4cc296-ba7d-48a2-8799-89b58d218255" providerId="ADAL" clId="{FCBD5683-BE61-41A3-82A3-992D8F76D308}" dt="2022-04-08T06:30:31.264" v="434"/>
          <ac:spMkLst>
            <pc:docMk/>
            <pc:sldMk cId="0" sldId="260"/>
            <ac:spMk id="20" creationId="{9EF1CACD-43D6-4FF7-8D5A-7DE8EAAD73AA}"/>
          </ac:spMkLst>
        </pc:spChg>
        <pc:spChg chg="add del mod">
          <ac:chgData name="Kebba Jeng" userId="fe4cc296-ba7d-48a2-8799-89b58d218255" providerId="ADAL" clId="{FCBD5683-BE61-41A3-82A3-992D8F76D308}" dt="2022-04-08T06:30:31.264" v="434"/>
          <ac:spMkLst>
            <pc:docMk/>
            <pc:sldMk cId="0" sldId="260"/>
            <ac:spMk id="21" creationId="{BC512D4A-E29F-40E5-AE96-9D1BC1F2A94E}"/>
          </ac:spMkLst>
        </pc:spChg>
        <pc:spChg chg="add del mod">
          <ac:chgData name="Kebba Jeng" userId="fe4cc296-ba7d-48a2-8799-89b58d218255" providerId="ADAL" clId="{FCBD5683-BE61-41A3-82A3-992D8F76D308}" dt="2022-04-08T06:30:31.264" v="434"/>
          <ac:spMkLst>
            <pc:docMk/>
            <pc:sldMk cId="0" sldId="260"/>
            <ac:spMk id="22" creationId="{ACB30FAB-0A56-4A4E-92E6-5F4E0CA92017}"/>
          </ac:spMkLst>
        </pc:spChg>
        <pc:spChg chg="add del mod">
          <ac:chgData name="Kebba Jeng" userId="fe4cc296-ba7d-48a2-8799-89b58d218255" providerId="ADAL" clId="{FCBD5683-BE61-41A3-82A3-992D8F76D308}" dt="2022-04-08T06:30:31.264" v="434"/>
          <ac:spMkLst>
            <pc:docMk/>
            <pc:sldMk cId="0" sldId="260"/>
            <ac:spMk id="23" creationId="{61B2BFF5-0224-4423-90FE-C4200705788A}"/>
          </ac:spMkLst>
        </pc:spChg>
        <pc:spChg chg="add del mod">
          <ac:chgData name="Kebba Jeng" userId="fe4cc296-ba7d-48a2-8799-89b58d218255" providerId="ADAL" clId="{FCBD5683-BE61-41A3-82A3-992D8F76D308}" dt="2022-04-08T06:30:31.264" v="434"/>
          <ac:spMkLst>
            <pc:docMk/>
            <pc:sldMk cId="0" sldId="260"/>
            <ac:spMk id="24" creationId="{3E05BD57-CF44-4DF9-AC82-5EB7E68C34B8}"/>
          </ac:spMkLst>
        </pc:spChg>
        <pc:spChg chg="add del mod">
          <ac:chgData name="Kebba Jeng" userId="fe4cc296-ba7d-48a2-8799-89b58d218255" providerId="ADAL" clId="{FCBD5683-BE61-41A3-82A3-992D8F76D308}" dt="2022-04-08T06:30:31.264" v="434"/>
          <ac:spMkLst>
            <pc:docMk/>
            <pc:sldMk cId="0" sldId="260"/>
            <ac:spMk id="25" creationId="{8CDB5380-F9DB-4436-90A2-8C0A069E5B80}"/>
          </ac:spMkLst>
        </pc:spChg>
        <pc:spChg chg="add del mod">
          <ac:chgData name="Kebba Jeng" userId="fe4cc296-ba7d-48a2-8799-89b58d218255" providerId="ADAL" clId="{FCBD5683-BE61-41A3-82A3-992D8F76D308}" dt="2022-04-08T06:30:31.264" v="434"/>
          <ac:spMkLst>
            <pc:docMk/>
            <pc:sldMk cId="0" sldId="260"/>
            <ac:spMk id="26" creationId="{9440616B-9FF0-415E-8AF1-DBAE60ED82F4}"/>
          </ac:spMkLst>
        </pc:spChg>
        <pc:spChg chg="add del mod">
          <ac:chgData name="Kebba Jeng" userId="fe4cc296-ba7d-48a2-8799-89b58d218255" providerId="ADAL" clId="{FCBD5683-BE61-41A3-82A3-992D8F76D308}" dt="2022-04-08T06:30:31.264" v="434"/>
          <ac:spMkLst>
            <pc:docMk/>
            <pc:sldMk cId="0" sldId="260"/>
            <ac:spMk id="27" creationId="{6A38BF2F-16BF-47B7-8C73-40002F11C444}"/>
          </ac:spMkLst>
        </pc:spChg>
        <pc:spChg chg="add del mod">
          <ac:chgData name="Kebba Jeng" userId="fe4cc296-ba7d-48a2-8799-89b58d218255" providerId="ADAL" clId="{FCBD5683-BE61-41A3-82A3-992D8F76D308}" dt="2022-04-08T06:30:31.264" v="434"/>
          <ac:spMkLst>
            <pc:docMk/>
            <pc:sldMk cId="0" sldId="260"/>
            <ac:spMk id="28" creationId="{F84EA80E-698B-4ABE-9D93-6E7A2731517F}"/>
          </ac:spMkLst>
        </pc:spChg>
        <pc:spChg chg="add del mod">
          <ac:chgData name="Kebba Jeng" userId="fe4cc296-ba7d-48a2-8799-89b58d218255" providerId="ADAL" clId="{FCBD5683-BE61-41A3-82A3-992D8F76D308}" dt="2022-04-08T06:30:31.264" v="434"/>
          <ac:spMkLst>
            <pc:docMk/>
            <pc:sldMk cId="0" sldId="260"/>
            <ac:spMk id="29" creationId="{53A6608D-4671-4CEA-8704-79331E179DDC}"/>
          </ac:spMkLst>
        </pc:spChg>
        <pc:spChg chg="add del mod">
          <ac:chgData name="Kebba Jeng" userId="fe4cc296-ba7d-48a2-8799-89b58d218255" providerId="ADAL" clId="{FCBD5683-BE61-41A3-82A3-992D8F76D308}" dt="2022-04-08T06:30:31.264" v="434"/>
          <ac:spMkLst>
            <pc:docMk/>
            <pc:sldMk cId="0" sldId="260"/>
            <ac:spMk id="30" creationId="{D9AFD9EE-4904-4585-B8BE-DB91CB48C99B}"/>
          </ac:spMkLst>
        </pc:spChg>
        <pc:spChg chg="add del mod">
          <ac:chgData name="Kebba Jeng" userId="fe4cc296-ba7d-48a2-8799-89b58d218255" providerId="ADAL" clId="{FCBD5683-BE61-41A3-82A3-992D8F76D308}" dt="2022-04-08T06:30:31.264" v="434"/>
          <ac:spMkLst>
            <pc:docMk/>
            <pc:sldMk cId="0" sldId="260"/>
            <ac:spMk id="31" creationId="{63B0D74C-24CB-4FCA-89F3-1B590BB75415}"/>
          </ac:spMkLst>
        </pc:spChg>
        <pc:spChg chg="add del mod">
          <ac:chgData name="Kebba Jeng" userId="fe4cc296-ba7d-48a2-8799-89b58d218255" providerId="ADAL" clId="{FCBD5683-BE61-41A3-82A3-992D8F76D308}" dt="2022-04-08T06:30:31.264" v="434"/>
          <ac:spMkLst>
            <pc:docMk/>
            <pc:sldMk cId="0" sldId="260"/>
            <ac:spMk id="32" creationId="{D1B0313A-5E1C-4B3F-9464-6FA75022D4EC}"/>
          </ac:spMkLst>
        </pc:spChg>
        <pc:spChg chg="add del mod">
          <ac:chgData name="Kebba Jeng" userId="fe4cc296-ba7d-48a2-8799-89b58d218255" providerId="ADAL" clId="{FCBD5683-BE61-41A3-82A3-992D8F76D308}" dt="2022-04-08T06:30:31.264" v="434"/>
          <ac:spMkLst>
            <pc:docMk/>
            <pc:sldMk cId="0" sldId="260"/>
            <ac:spMk id="33" creationId="{73CCEC81-30E1-4F6E-B6DB-132B6188456E}"/>
          </ac:spMkLst>
        </pc:spChg>
        <pc:spChg chg="add del mod">
          <ac:chgData name="Kebba Jeng" userId="fe4cc296-ba7d-48a2-8799-89b58d218255" providerId="ADAL" clId="{FCBD5683-BE61-41A3-82A3-992D8F76D308}" dt="2022-04-08T06:30:31.264" v="434"/>
          <ac:spMkLst>
            <pc:docMk/>
            <pc:sldMk cId="0" sldId="260"/>
            <ac:spMk id="34" creationId="{6F8C2869-E5BD-4B91-89C8-00548952BA10}"/>
          </ac:spMkLst>
        </pc:spChg>
        <pc:spChg chg="add del mod">
          <ac:chgData name="Kebba Jeng" userId="fe4cc296-ba7d-48a2-8799-89b58d218255" providerId="ADAL" clId="{FCBD5683-BE61-41A3-82A3-992D8F76D308}" dt="2022-04-08T06:30:31.264" v="434"/>
          <ac:spMkLst>
            <pc:docMk/>
            <pc:sldMk cId="0" sldId="260"/>
            <ac:spMk id="35" creationId="{D8EA9860-93CC-42F3-8700-D8649131B1C3}"/>
          </ac:spMkLst>
        </pc:spChg>
        <pc:spChg chg="add del mod">
          <ac:chgData name="Kebba Jeng" userId="fe4cc296-ba7d-48a2-8799-89b58d218255" providerId="ADAL" clId="{FCBD5683-BE61-41A3-82A3-992D8F76D308}" dt="2022-04-08T06:30:31.264" v="434"/>
          <ac:spMkLst>
            <pc:docMk/>
            <pc:sldMk cId="0" sldId="260"/>
            <ac:spMk id="36" creationId="{08DDFCD2-8C3C-477D-957C-7B032CA2D6B1}"/>
          </ac:spMkLst>
        </pc:spChg>
        <pc:spChg chg="add del mod">
          <ac:chgData name="Kebba Jeng" userId="fe4cc296-ba7d-48a2-8799-89b58d218255" providerId="ADAL" clId="{FCBD5683-BE61-41A3-82A3-992D8F76D308}" dt="2022-04-08T06:30:31.264" v="434"/>
          <ac:spMkLst>
            <pc:docMk/>
            <pc:sldMk cId="0" sldId="260"/>
            <ac:spMk id="37" creationId="{A6260ED9-6F68-45BD-8EE4-AD1C20571ACB}"/>
          </ac:spMkLst>
        </pc:spChg>
        <pc:spChg chg="add del mod">
          <ac:chgData name="Kebba Jeng" userId="fe4cc296-ba7d-48a2-8799-89b58d218255" providerId="ADAL" clId="{FCBD5683-BE61-41A3-82A3-992D8F76D308}" dt="2022-04-08T06:30:31.264" v="434"/>
          <ac:spMkLst>
            <pc:docMk/>
            <pc:sldMk cId="0" sldId="260"/>
            <ac:spMk id="38" creationId="{B556148C-47B7-427A-826D-977E701F48D0}"/>
          </ac:spMkLst>
        </pc:spChg>
        <pc:spChg chg="add del mod">
          <ac:chgData name="Kebba Jeng" userId="fe4cc296-ba7d-48a2-8799-89b58d218255" providerId="ADAL" clId="{FCBD5683-BE61-41A3-82A3-992D8F76D308}" dt="2022-04-08T06:30:31.264" v="434"/>
          <ac:spMkLst>
            <pc:docMk/>
            <pc:sldMk cId="0" sldId="260"/>
            <ac:spMk id="39" creationId="{9E5495E1-8189-4DA4-B304-A2F60C93BB7D}"/>
          </ac:spMkLst>
        </pc:spChg>
        <pc:spChg chg="add del mod">
          <ac:chgData name="Kebba Jeng" userId="fe4cc296-ba7d-48a2-8799-89b58d218255" providerId="ADAL" clId="{FCBD5683-BE61-41A3-82A3-992D8F76D308}" dt="2022-04-08T06:30:31.264" v="434"/>
          <ac:spMkLst>
            <pc:docMk/>
            <pc:sldMk cId="0" sldId="260"/>
            <ac:spMk id="40" creationId="{81E7EC49-F304-43D8-B505-9F41F54B179F}"/>
          </ac:spMkLst>
        </pc:spChg>
        <pc:spChg chg="add del mod">
          <ac:chgData name="Kebba Jeng" userId="fe4cc296-ba7d-48a2-8799-89b58d218255" providerId="ADAL" clId="{FCBD5683-BE61-41A3-82A3-992D8F76D308}" dt="2022-04-08T06:30:31.264" v="434"/>
          <ac:spMkLst>
            <pc:docMk/>
            <pc:sldMk cId="0" sldId="260"/>
            <ac:spMk id="41" creationId="{6839A965-DD2F-4CAF-9A73-9B227BB0ABC5}"/>
          </ac:spMkLst>
        </pc:spChg>
        <pc:spChg chg="add del mod">
          <ac:chgData name="Kebba Jeng" userId="fe4cc296-ba7d-48a2-8799-89b58d218255" providerId="ADAL" clId="{FCBD5683-BE61-41A3-82A3-992D8F76D308}" dt="2022-04-08T06:30:31.264" v="434"/>
          <ac:spMkLst>
            <pc:docMk/>
            <pc:sldMk cId="0" sldId="260"/>
            <ac:spMk id="42" creationId="{F6905251-D7B5-4919-895E-578A86CA1DC2}"/>
          </ac:spMkLst>
        </pc:spChg>
        <pc:spChg chg="add del mod">
          <ac:chgData name="Kebba Jeng" userId="fe4cc296-ba7d-48a2-8799-89b58d218255" providerId="ADAL" clId="{FCBD5683-BE61-41A3-82A3-992D8F76D308}" dt="2022-04-08T06:30:31.264" v="434"/>
          <ac:spMkLst>
            <pc:docMk/>
            <pc:sldMk cId="0" sldId="260"/>
            <ac:spMk id="43" creationId="{7111EDD3-3F47-4B76-83B2-FCB0A567AB76}"/>
          </ac:spMkLst>
        </pc:spChg>
        <pc:spChg chg="add del mod">
          <ac:chgData name="Kebba Jeng" userId="fe4cc296-ba7d-48a2-8799-89b58d218255" providerId="ADAL" clId="{FCBD5683-BE61-41A3-82A3-992D8F76D308}" dt="2022-04-08T06:30:31.264" v="434"/>
          <ac:spMkLst>
            <pc:docMk/>
            <pc:sldMk cId="0" sldId="260"/>
            <ac:spMk id="44" creationId="{FECA0FEA-5484-48AF-862E-983B62859F30}"/>
          </ac:spMkLst>
        </pc:spChg>
        <pc:spChg chg="add del mod">
          <ac:chgData name="Kebba Jeng" userId="fe4cc296-ba7d-48a2-8799-89b58d218255" providerId="ADAL" clId="{FCBD5683-BE61-41A3-82A3-992D8F76D308}" dt="2022-04-08T06:30:31.264" v="434"/>
          <ac:spMkLst>
            <pc:docMk/>
            <pc:sldMk cId="0" sldId="260"/>
            <ac:spMk id="45" creationId="{85051120-39BE-4C66-BCD9-73E2E6A7F0F4}"/>
          </ac:spMkLst>
        </pc:spChg>
        <pc:spChg chg="add del mod">
          <ac:chgData name="Kebba Jeng" userId="fe4cc296-ba7d-48a2-8799-89b58d218255" providerId="ADAL" clId="{FCBD5683-BE61-41A3-82A3-992D8F76D308}" dt="2022-04-08T06:30:31.264" v="434"/>
          <ac:spMkLst>
            <pc:docMk/>
            <pc:sldMk cId="0" sldId="260"/>
            <ac:spMk id="46" creationId="{6374E5EE-7F4F-424D-9400-16D0FDFFB868}"/>
          </ac:spMkLst>
        </pc:spChg>
        <pc:spChg chg="add del mod">
          <ac:chgData name="Kebba Jeng" userId="fe4cc296-ba7d-48a2-8799-89b58d218255" providerId="ADAL" clId="{FCBD5683-BE61-41A3-82A3-992D8F76D308}" dt="2022-04-08T06:30:31.264" v="434"/>
          <ac:spMkLst>
            <pc:docMk/>
            <pc:sldMk cId="0" sldId="260"/>
            <ac:spMk id="47" creationId="{98EE3165-25FF-4C3B-8A53-04CA2F9378CA}"/>
          </ac:spMkLst>
        </pc:spChg>
        <pc:spChg chg="add del mod">
          <ac:chgData name="Kebba Jeng" userId="fe4cc296-ba7d-48a2-8799-89b58d218255" providerId="ADAL" clId="{FCBD5683-BE61-41A3-82A3-992D8F76D308}" dt="2022-04-08T06:30:31.264" v="434"/>
          <ac:spMkLst>
            <pc:docMk/>
            <pc:sldMk cId="0" sldId="260"/>
            <ac:spMk id="48" creationId="{C0A92023-33FD-46C7-9057-64382FF8E41D}"/>
          </ac:spMkLst>
        </pc:spChg>
        <pc:spChg chg="add del mod">
          <ac:chgData name="Kebba Jeng" userId="fe4cc296-ba7d-48a2-8799-89b58d218255" providerId="ADAL" clId="{FCBD5683-BE61-41A3-82A3-992D8F76D308}" dt="2022-04-08T06:30:31.264" v="434"/>
          <ac:spMkLst>
            <pc:docMk/>
            <pc:sldMk cId="0" sldId="260"/>
            <ac:spMk id="49" creationId="{B3C07182-73B2-4499-B0A8-8BB9568509D1}"/>
          </ac:spMkLst>
        </pc:spChg>
        <pc:spChg chg="add del mod">
          <ac:chgData name="Kebba Jeng" userId="fe4cc296-ba7d-48a2-8799-89b58d218255" providerId="ADAL" clId="{FCBD5683-BE61-41A3-82A3-992D8F76D308}" dt="2022-04-08T06:30:31.264" v="434"/>
          <ac:spMkLst>
            <pc:docMk/>
            <pc:sldMk cId="0" sldId="260"/>
            <ac:spMk id="50" creationId="{34F75B0A-02EC-463D-BFB9-1292CBDFB4DA}"/>
          </ac:spMkLst>
        </pc:spChg>
        <pc:spChg chg="add del mod">
          <ac:chgData name="Kebba Jeng" userId="fe4cc296-ba7d-48a2-8799-89b58d218255" providerId="ADAL" clId="{FCBD5683-BE61-41A3-82A3-992D8F76D308}" dt="2022-04-08T06:30:31.264" v="434"/>
          <ac:spMkLst>
            <pc:docMk/>
            <pc:sldMk cId="0" sldId="260"/>
            <ac:spMk id="51" creationId="{F54CB754-7282-4D85-BD1F-90EDE72DC2E4}"/>
          </ac:spMkLst>
        </pc:spChg>
        <pc:spChg chg="add del mod">
          <ac:chgData name="Kebba Jeng" userId="fe4cc296-ba7d-48a2-8799-89b58d218255" providerId="ADAL" clId="{FCBD5683-BE61-41A3-82A3-992D8F76D308}" dt="2022-04-08T06:30:31.264" v="434"/>
          <ac:spMkLst>
            <pc:docMk/>
            <pc:sldMk cId="0" sldId="260"/>
            <ac:spMk id="52" creationId="{FD0DD5F5-4643-4B67-8AC9-D8E00CF67480}"/>
          </ac:spMkLst>
        </pc:spChg>
        <pc:spChg chg="add del mod">
          <ac:chgData name="Kebba Jeng" userId="fe4cc296-ba7d-48a2-8799-89b58d218255" providerId="ADAL" clId="{FCBD5683-BE61-41A3-82A3-992D8F76D308}" dt="2022-04-08T06:30:31.264" v="434"/>
          <ac:spMkLst>
            <pc:docMk/>
            <pc:sldMk cId="0" sldId="260"/>
            <ac:spMk id="53" creationId="{99F5D7F6-CE3E-44C2-BA6E-C9DDDB4F2838}"/>
          </ac:spMkLst>
        </pc:spChg>
        <pc:spChg chg="add del mod">
          <ac:chgData name="Kebba Jeng" userId="fe4cc296-ba7d-48a2-8799-89b58d218255" providerId="ADAL" clId="{FCBD5683-BE61-41A3-82A3-992D8F76D308}" dt="2022-04-08T06:30:31.264" v="434"/>
          <ac:spMkLst>
            <pc:docMk/>
            <pc:sldMk cId="0" sldId="260"/>
            <ac:spMk id="54" creationId="{04DE01A0-4F62-4A98-AC65-75981112502F}"/>
          </ac:spMkLst>
        </pc:spChg>
        <pc:spChg chg="add del mod">
          <ac:chgData name="Kebba Jeng" userId="fe4cc296-ba7d-48a2-8799-89b58d218255" providerId="ADAL" clId="{FCBD5683-BE61-41A3-82A3-992D8F76D308}" dt="2022-04-08T06:30:31.264" v="434"/>
          <ac:spMkLst>
            <pc:docMk/>
            <pc:sldMk cId="0" sldId="260"/>
            <ac:spMk id="55" creationId="{63CDC676-F0BD-4BE3-B3DD-7AFF958CB795}"/>
          </ac:spMkLst>
        </pc:spChg>
        <pc:spChg chg="add del mod">
          <ac:chgData name="Kebba Jeng" userId="fe4cc296-ba7d-48a2-8799-89b58d218255" providerId="ADAL" clId="{FCBD5683-BE61-41A3-82A3-992D8F76D308}" dt="2022-04-08T06:30:31.264" v="434"/>
          <ac:spMkLst>
            <pc:docMk/>
            <pc:sldMk cId="0" sldId="260"/>
            <ac:spMk id="56" creationId="{DAB9EDE3-CD3E-4CC4-8525-6CFCB61B1FA5}"/>
          </ac:spMkLst>
        </pc:spChg>
        <pc:spChg chg="add del mod">
          <ac:chgData name="Kebba Jeng" userId="fe4cc296-ba7d-48a2-8799-89b58d218255" providerId="ADAL" clId="{FCBD5683-BE61-41A3-82A3-992D8F76D308}" dt="2022-04-08T06:30:31.264" v="434"/>
          <ac:spMkLst>
            <pc:docMk/>
            <pc:sldMk cId="0" sldId="260"/>
            <ac:spMk id="57" creationId="{006646DD-6164-4789-B23F-4053D393C934}"/>
          </ac:spMkLst>
        </pc:spChg>
        <pc:spChg chg="add del mod">
          <ac:chgData name="Kebba Jeng" userId="fe4cc296-ba7d-48a2-8799-89b58d218255" providerId="ADAL" clId="{FCBD5683-BE61-41A3-82A3-992D8F76D308}" dt="2022-04-08T06:30:31.264" v="434"/>
          <ac:spMkLst>
            <pc:docMk/>
            <pc:sldMk cId="0" sldId="260"/>
            <ac:spMk id="58" creationId="{FE083568-40D2-4DEA-BAF5-C9139FFDB710}"/>
          </ac:spMkLst>
        </pc:spChg>
        <pc:spChg chg="add del mod">
          <ac:chgData name="Kebba Jeng" userId="fe4cc296-ba7d-48a2-8799-89b58d218255" providerId="ADAL" clId="{FCBD5683-BE61-41A3-82A3-992D8F76D308}" dt="2022-04-08T06:30:31.264" v="434"/>
          <ac:spMkLst>
            <pc:docMk/>
            <pc:sldMk cId="0" sldId="260"/>
            <ac:spMk id="59" creationId="{923DF896-18DA-4725-8C08-108D3D30CC70}"/>
          </ac:spMkLst>
        </pc:spChg>
        <pc:spChg chg="add del mod">
          <ac:chgData name="Kebba Jeng" userId="fe4cc296-ba7d-48a2-8799-89b58d218255" providerId="ADAL" clId="{FCBD5683-BE61-41A3-82A3-992D8F76D308}" dt="2022-04-08T06:30:31.264" v="434"/>
          <ac:spMkLst>
            <pc:docMk/>
            <pc:sldMk cId="0" sldId="260"/>
            <ac:spMk id="60" creationId="{80595F17-210C-4764-A106-3C9E7F7B8144}"/>
          </ac:spMkLst>
        </pc:spChg>
        <pc:spChg chg="add del mod">
          <ac:chgData name="Kebba Jeng" userId="fe4cc296-ba7d-48a2-8799-89b58d218255" providerId="ADAL" clId="{FCBD5683-BE61-41A3-82A3-992D8F76D308}" dt="2022-04-08T06:30:31.264" v="434"/>
          <ac:spMkLst>
            <pc:docMk/>
            <pc:sldMk cId="0" sldId="260"/>
            <ac:spMk id="61" creationId="{A91A0D00-81E4-44AB-B22C-DB6401951B0F}"/>
          </ac:spMkLst>
        </pc:spChg>
        <pc:spChg chg="add del mod">
          <ac:chgData name="Kebba Jeng" userId="fe4cc296-ba7d-48a2-8799-89b58d218255" providerId="ADAL" clId="{FCBD5683-BE61-41A3-82A3-992D8F76D308}" dt="2022-04-08T06:30:31.264" v="434"/>
          <ac:spMkLst>
            <pc:docMk/>
            <pc:sldMk cId="0" sldId="260"/>
            <ac:spMk id="62" creationId="{62FD757D-369E-451A-B613-F948C5C0302E}"/>
          </ac:spMkLst>
        </pc:spChg>
        <pc:spChg chg="add del mod">
          <ac:chgData name="Kebba Jeng" userId="fe4cc296-ba7d-48a2-8799-89b58d218255" providerId="ADAL" clId="{FCBD5683-BE61-41A3-82A3-992D8F76D308}" dt="2022-04-08T06:30:31.264" v="434"/>
          <ac:spMkLst>
            <pc:docMk/>
            <pc:sldMk cId="0" sldId="260"/>
            <ac:spMk id="63" creationId="{66CEB53F-B9D9-4FE7-9D5F-1FAD01ED4E81}"/>
          </ac:spMkLst>
        </pc:spChg>
        <pc:spChg chg="add del mod">
          <ac:chgData name="Kebba Jeng" userId="fe4cc296-ba7d-48a2-8799-89b58d218255" providerId="ADAL" clId="{FCBD5683-BE61-41A3-82A3-992D8F76D308}" dt="2022-04-08T06:30:31.264" v="434"/>
          <ac:spMkLst>
            <pc:docMk/>
            <pc:sldMk cId="0" sldId="260"/>
            <ac:spMk id="64" creationId="{66C7B380-00D5-4DED-80FC-3A8362867B54}"/>
          </ac:spMkLst>
        </pc:spChg>
        <pc:spChg chg="add del mod">
          <ac:chgData name="Kebba Jeng" userId="fe4cc296-ba7d-48a2-8799-89b58d218255" providerId="ADAL" clId="{FCBD5683-BE61-41A3-82A3-992D8F76D308}" dt="2022-04-08T06:30:31.264" v="434"/>
          <ac:spMkLst>
            <pc:docMk/>
            <pc:sldMk cId="0" sldId="260"/>
            <ac:spMk id="65" creationId="{619097C6-AEF8-430E-9462-7502730156FA}"/>
          </ac:spMkLst>
        </pc:spChg>
        <pc:spChg chg="add del mod">
          <ac:chgData name="Kebba Jeng" userId="fe4cc296-ba7d-48a2-8799-89b58d218255" providerId="ADAL" clId="{FCBD5683-BE61-41A3-82A3-992D8F76D308}" dt="2022-04-08T06:30:31.264" v="434"/>
          <ac:spMkLst>
            <pc:docMk/>
            <pc:sldMk cId="0" sldId="260"/>
            <ac:spMk id="66" creationId="{F0BE8C74-FF68-49DD-87B5-77C85DE51BBF}"/>
          </ac:spMkLst>
        </pc:spChg>
        <pc:spChg chg="add del mod">
          <ac:chgData name="Kebba Jeng" userId="fe4cc296-ba7d-48a2-8799-89b58d218255" providerId="ADAL" clId="{FCBD5683-BE61-41A3-82A3-992D8F76D308}" dt="2022-04-08T06:30:31.264" v="434"/>
          <ac:spMkLst>
            <pc:docMk/>
            <pc:sldMk cId="0" sldId="260"/>
            <ac:spMk id="67" creationId="{E849E2B9-69F2-4268-B518-37550547966B}"/>
          </ac:spMkLst>
        </pc:spChg>
        <pc:spChg chg="add del mod">
          <ac:chgData name="Kebba Jeng" userId="fe4cc296-ba7d-48a2-8799-89b58d218255" providerId="ADAL" clId="{FCBD5683-BE61-41A3-82A3-992D8F76D308}" dt="2022-04-08T06:30:31.264" v="434"/>
          <ac:spMkLst>
            <pc:docMk/>
            <pc:sldMk cId="0" sldId="260"/>
            <ac:spMk id="68" creationId="{0170C259-B735-41BF-965F-D7CF171DCCFC}"/>
          </ac:spMkLst>
        </pc:spChg>
        <pc:spChg chg="add del mod">
          <ac:chgData name="Kebba Jeng" userId="fe4cc296-ba7d-48a2-8799-89b58d218255" providerId="ADAL" clId="{FCBD5683-BE61-41A3-82A3-992D8F76D308}" dt="2022-04-08T06:30:31.264" v="434"/>
          <ac:spMkLst>
            <pc:docMk/>
            <pc:sldMk cId="0" sldId="260"/>
            <ac:spMk id="69" creationId="{2792F55C-00D9-440D-AA0C-B4EF881F84A7}"/>
          </ac:spMkLst>
        </pc:spChg>
        <pc:spChg chg="add del mod">
          <ac:chgData name="Kebba Jeng" userId="fe4cc296-ba7d-48a2-8799-89b58d218255" providerId="ADAL" clId="{FCBD5683-BE61-41A3-82A3-992D8F76D308}" dt="2022-04-08T06:30:31.264" v="434"/>
          <ac:spMkLst>
            <pc:docMk/>
            <pc:sldMk cId="0" sldId="260"/>
            <ac:spMk id="70" creationId="{8E42001B-DFBB-4E25-9297-51AA5E7EF2D2}"/>
          </ac:spMkLst>
        </pc:spChg>
        <pc:spChg chg="add del mod">
          <ac:chgData name="Kebba Jeng" userId="fe4cc296-ba7d-48a2-8799-89b58d218255" providerId="ADAL" clId="{FCBD5683-BE61-41A3-82A3-992D8F76D308}" dt="2022-04-08T06:30:31.264" v="434"/>
          <ac:spMkLst>
            <pc:docMk/>
            <pc:sldMk cId="0" sldId="260"/>
            <ac:spMk id="71" creationId="{89D226D2-BC59-4E06-846A-2A3B57070A2F}"/>
          </ac:spMkLst>
        </pc:spChg>
        <pc:spChg chg="add del mod">
          <ac:chgData name="Kebba Jeng" userId="fe4cc296-ba7d-48a2-8799-89b58d218255" providerId="ADAL" clId="{FCBD5683-BE61-41A3-82A3-992D8F76D308}" dt="2022-04-08T06:30:31.264" v="434"/>
          <ac:spMkLst>
            <pc:docMk/>
            <pc:sldMk cId="0" sldId="260"/>
            <ac:spMk id="72" creationId="{F96395D1-213E-4C51-9CBF-9A78F17F5779}"/>
          </ac:spMkLst>
        </pc:spChg>
        <pc:spChg chg="add del mod">
          <ac:chgData name="Kebba Jeng" userId="fe4cc296-ba7d-48a2-8799-89b58d218255" providerId="ADAL" clId="{FCBD5683-BE61-41A3-82A3-992D8F76D308}" dt="2022-04-08T06:30:31.264" v="434"/>
          <ac:spMkLst>
            <pc:docMk/>
            <pc:sldMk cId="0" sldId="260"/>
            <ac:spMk id="73" creationId="{366558B2-A7E9-4F97-92A1-BF24F734D117}"/>
          </ac:spMkLst>
        </pc:spChg>
        <pc:spChg chg="add del mod">
          <ac:chgData name="Kebba Jeng" userId="fe4cc296-ba7d-48a2-8799-89b58d218255" providerId="ADAL" clId="{FCBD5683-BE61-41A3-82A3-992D8F76D308}" dt="2022-04-08T06:30:31.264" v="434"/>
          <ac:spMkLst>
            <pc:docMk/>
            <pc:sldMk cId="0" sldId="260"/>
            <ac:spMk id="74" creationId="{06A60BDE-C2D7-48D7-BC96-1EC7C790ECC0}"/>
          </ac:spMkLst>
        </pc:spChg>
        <pc:spChg chg="add del mod">
          <ac:chgData name="Kebba Jeng" userId="fe4cc296-ba7d-48a2-8799-89b58d218255" providerId="ADAL" clId="{FCBD5683-BE61-41A3-82A3-992D8F76D308}" dt="2022-04-08T06:30:31.264" v="434"/>
          <ac:spMkLst>
            <pc:docMk/>
            <pc:sldMk cId="0" sldId="260"/>
            <ac:spMk id="75" creationId="{4299F1DC-0F95-4A1A-A6D7-B6DA236E12FF}"/>
          </ac:spMkLst>
        </pc:spChg>
        <pc:spChg chg="add del mod">
          <ac:chgData name="Kebba Jeng" userId="fe4cc296-ba7d-48a2-8799-89b58d218255" providerId="ADAL" clId="{FCBD5683-BE61-41A3-82A3-992D8F76D308}" dt="2022-04-08T06:30:31.264" v="434"/>
          <ac:spMkLst>
            <pc:docMk/>
            <pc:sldMk cId="0" sldId="260"/>
            <ac:spMk id="76" creationId="{745015AA-37B3-4FCD-9BCD-1C511A0AFC00}"/>
          </ac:spMkLst>
        </pc:spChg>
        <pc:spChg chg="add del mod">
          <ac:chgData name="Kebba Jeng" userId="fe4cc296-ba7d-48a2-8799-89b58d218255" providerId="ADAL" clId="{FCBD5683-BE61-41A3-82A3-992D8F76D308}" dt="2022-04-08T06:30:31.264" v="434"/>
          <ac:spMkLst>
            <pc:docMk/>
            <pc:sldMk cId="0" sldId="260"/>
            <ac:spMk id="77" creationId="{CAEBF2EE-4255-4A39-8DC2-47CE1D950607}"/>
          </ac:spMkLst>
        </pc:spChg>
        <pc:spChg chg="add del mod">
          <ac:chgData name="Kebba Jeng" userId="fe4cc296-ba7d-48a2-8799-89b58d218255" providerId="ADAL" clId="{FCBD5683-BE61-41A3-82A3-992D8F76D308}" dt="2022-04-08T06:30:31.264" v="434"/>
          <ac:spMkLst>
            <pc:docMk/>
            <pc:sldMk cId="0" sldId="260"/>
            <ac:spMk id="78" creationId="{E42E708E-183A-486B-9D47-A95AEE4EEE4F}"/>
          </ac:spMkLst>
        </pc:spChg>
        <pc:spChg chg="add del mod">
          <ac:chgData name="Kebba Jeng" userId="fe4cc296-ba7d-48a2-8799-89b58d218255" providerId="ADAL" clId="{FCBD5683-BE61-41A3-82A3-992D8F76D308}" dt="2022-04-08T06:30:31.264" v="434"/>
          <ac:spMkLst>
            <pc:docMk/>
            <pc:sldMk cId="0" sldId="260"/>
            <ac:spMk id="79" creationId="{144905CF-556F-4BE8-9E5A-6D9D853BA048}"/>
          </ac:spMkLst>
        </pc:spChg>
        <pc:spChg chg="add del mod">
          <ac:chgData name="Kebba Jeng" userId="fe4cc296-ba7d-48a2-8799-89b58d218255" providerId="ADAL" clId="{FCBD5683-BE61-41A3-82A3-992D8F76D308}" dt="2022-04-08T06:30:31.264" v="434"/>
          <ac:spMkLst>
            <pc:docMk/>
            <pc:sldMk cId="0" sldId="260"/>
            <ac:spMk id="80" creationId="{9CCF9D34-8620-4545-A1CB-8D3871EBC5D3}"/>
          </ac:spMkLst>
        </pc:spChg>
        <pc:spChg chg="add del mod">
          <ac:chgData name="Kebba Jeng" userId="fe4cc296-ba7d-48a2-8799-89b58d218255" providerId="ADAL" clId="{FCBD5683-BE61-41A3-82A3-992D8F76D308}" dt="2022-04-08T06:30:31.264" v="434"/>
          <ac:spMkLst>
            <pc:docMk/>
            <pc:sldMk cId="0" sldId="260"/>
            <ac:spMk id="81" creationId="{5D164A7B-8268-46DA-83F9-2A2378A273AE}"/>
          </ac:spMkLst>
        </pc:spChg>
        <pc:spChg chg="add del mod">
          <ac:chgData name="Kebba Jeng" userId="fe4cc296-ba7d-48a2-8799-89b58d218255" providerId="ADAL" clId="{FCBD5683-BE61-41A3-82A3-992D8F76D308}" dt="2022-04-08T06:30:31.264" v="434"/>
          <ac:spMkLst>
            <pc:docMk/>
            <pc:sldMk cId="0" sldId="260"/>
            <ac:spMk id="82" creationId="{BA5E29D1-9A5D-4C4B-8D39-62453D3138CA}"/>
          </ac:spMkLst>
        </pc:spChg>
        <pc:spChg chg="add del mod">
          <ac:chgData name="Kebba Jeng" userId="fe4cc296-ba7d-48a2-8799-89b58d218255" providerId="ADAL" clId="{FCBD5683-BE61-41A3-82A3-992D8F76D308}" dt="2022-04-08T06:30:31.264" v="434"/>
          <ac:spMkLst>
            <pc:docMk/>
            <pc:sldMk cId="0" sldId="260"/>
            <ac:spMk id="83" creationId="{F44E975D-09E4-49CE-8FAE-63974469B961}"/>
          </ac:spMkLst>
        </pc:spChg>
        <pc:spChg chg="add del mod">
          <ac:chgData name="Kebba Jeng" userId="fe4cc296-ba7d-48a2-8799-89b58d218255" providerId="ADAL" clId="{FCBD5683-BE61-41A3-82A3-992D8F76D308}" dt="2022-04-08T06:30:31.264" v="434"/>
          <ac:spMkLst>
            <pc:docMk/>
            <pc:sldMk cId="0" sldId="260"/>
            <ac:spMk id="84" creationId="{3C973D75-6448-46CB-8BD5-B897CE997AF6}"/>
          </ac:spMkLst>
        </pc:spChg>
        <pc:spChg chg="add del mod">
          <ac:chgData name="Kebba Jeng" userId="fe4cc296-ba7d-48a2-8799-89b58d218255" providerId="ADAL" clId="{FCBD5683-BE61-41A3-82A3-992D8F76D308}" dt="2022-04-08T06:30:31.264" v="434"/>
          <ac:spMkLst>
            <pc:docMk/>
            <pc:sldMk cId="0" sldId="260"/>
            <ac:spMk id="85" creationId="{5D91B4C2-6F0D-45C5-9415-E04F177E4D0F}"/>
          </ac:spMkLst>
        </pc:spChg>
        <pc:spChg chg="add del mod">
          <ac:chgData name="Kebba Jeng" userId="fe4cc296-ba7d-48a2-8799-89b58d218255" providerId="ADAL" clId="{FCBD5683-BE61-41A3-82A3-992D8F76D308}" dt="2022-04-08T06:30:31.264" v="434"/>
          <ac:spMkLst>
            <pc:docMk/>
            <pc:sldMk cId="0" sldId="260"/>
            <ac:spMk id="86" creationId="{0587AC35-AD69-4711-93DF-C8C02E26FFBD}"/>
          </ac:spMkLst>
        </pc:spChg>
        <pc:spChg chg="add del mod">
          <ac:chgData name="Kebba Jeng" userId="fe4cc296-ba7d-48a2-8799-89b58d218255" providerId="ADAL" clId="{FCBD5683-BE61-41A3-82A3-992D8F76D308}" dt="2022-04-08T06:30:31.264" v="434"/>
          <ac:spMkLst>
            <pc:docMk/>
            <pc:sldMk cId="0" sldId="260"/>
            <ac:spMk id="87" creationId="{DB0C486F-3CE1-42DF-962A-8D3FF5FB6B8F}"/>
          </ac:spMkLst>
        </pc:spChg>
        <pc:spChg chg="add del mod">
          <ac:chgData name="Kebba Jeng" userId="fe4cc296-ba7d-48a2-8799-89b58d218255" providerId="ADAL" clId="{FCBD5683-BE61-41A3-82A3-992D8F76D308}" dt="2022-04-08T06:30:31.264" v="434"/>
          <ac:spMkLst>
            <pc:docMk/>
            <pc:sldMk cId="0" sldId="260"/>
            <ac:spMk id="88" creationId="{B4394E4F-8008-496F-949A-ABADCC98975C}"/>
          </ac:spMkLst>
        </pc:spChg>
        <pc:spChg chg="add del mod">
          <ac:chgData name="Kebba Jeng" userId="fe4cc296-ba7d-48a2-8799-89b58d218255" providerId="ADAL" clId="{FCBD5683-BE61-41A3-82A3-992D8F76D308}" dt="2022-04-08T06:30:31.264" v="434"/>
          <ac:spMkLst>
            <pc:docMk/>
            <pc:sldMk cId="0" sldId="260"/>
            <ac:spMk id="89" creationId="{2B563FAF-8987-4D50-822A-BEC6B3BF6170}"/>
          </ac:spMkLst>
        </pc:spChg>
        <pc:spChg chg="add del mod">
          <ac:chgData name="Kebba Jeng" userId="fe4cc296-ba7d-48a2-8799-89b58d218255" providerId="ADAL" clId="{FCBD5683-BE61-41A3-82A3-992D8F76D308}" dt="2022-04-08T06:30:31.264" v="434"/>
          <ac:spMkLst>
            <pc:docMk/>
            <pc:sldMk cId="0" sldId="260"/>
            <ac:spMk id="90" creationId="{A55FFB46-042D-489D-ABA2-74CAB0E43046}"/>
          </ac:spMkLst>
        </pc:spChg>
        <pc:spChg chg="add del mod">
          <ac:chgData name="Kebba Jeng" userId="fe4cc296-ba7d-48a2-8799-89b58d218255" providerId="ADAL" clId="{FCBD5683-BE61-41A3-82A3-992D8F76D308}" dt="2022-04-08T06:30:31.264" v="434"/>
          <ac:spMkLst>
            <pc:docMk/>
            <pc:sldMk cId="0" sldId="260"/>
            <ac:spMk id="91" creationId="{8ECD1D87-EE3A-4722-AFF2-8A047A021DE3}"/>
          </ac:spMkLst>
        </pc:spChg>
        <pc:spChg chg="add del mod">
          <ac:chgData name="Kebba Jeng" userId="fe4cc296-ba7d-48a2-8799-89b58d218255" providerId="ADAL" clId="{FCBD5683-BE61-41A3-82A3-992D8F76D308}" dt="2022-04-08T06:30:31.264" v="434"/>
          <ac:spMkLst>
            <pc:docMk/>
            <pc:sldMk cId="0" sldId="260"/>
            <ac:spMk id="92" creationId="{329729F7-7480-45FA-9139-120B34DBEA33}"/>
          </ac:spMkLst>
        </pc:spChg>
        <pc:spChg chg="add del mod">
          <ac:chgData name="Kebba Jeng" userId="fe4cc296-ba7d-48a2-8799-89b58d218255" providerId="ADAL" clId="{FCBD5683-BE61-41A3-82A3-992D8F76D308}" dt="2022-04-08T06:30:31.264" v="434"/>
          <ac:spMkLst>
            <pc:docMk/>
            <pc:sldMk cId="0" sldId="260"/>
            <ac:spMk id="93" creationId="{00CB385C-0DB3-445A-91EF-B75DA55C80AF}"/>
          </ac:spMkLst>
        </pc:spChg>
        <pc:spChg chg="add del mod">
          <ac:chgData name="Kebba Jeng" userId="fe4cc296-ba7d-48a2-8799-89b58d218255" providerId="ADAL" clId="{FCBD5683-BE61-41A3-82A3-992D8F76D308}" dt="2022-04-08T06:30:31.264" v="434"/>
          <ac:spMkLst>
            <pc:docMk/>
            <pc:sldMk cId="0" sldId="260"/>
            <ac:spMk id="94" creationId="{D6680449-451B-47F7-8E9D-16CA814C046F}"/>
          </ac:spMkLst>
        </pc:spChg>
        <pc:spChg chg="add del mod">
          <ac:chgData name="Kebba Jeng" userId="fe4cc296-ba7d-48a2-8799-89b58d218255" providerId="ADAL" clId="{FCBD5683-BE61-41A3-82A3-992D8F76D308}" dt="2022-04-08T06:30:31.264" v="434"/>
          <ac:spMkLst>
            <pc:docMk/>
            <pc:sldMk cId="0" sldId="260"/>
            <ac:spMk id="95" creationId="{0B640B52-9F0A-4204-B3DA-A3BCC2EC58A9}"/>
          </ac:spMkLst>
        </pc:spChg>
        <pc:spChg chg="add del mod">
          <ac:chgData name="Kebba Jeng" userId="fe4cc296-ba7d-48a2-8799-89b58d218255" providerId="ADAL" clId="{FCBD5683-BE61-41A3-82A3-992D8F76D308}" dt="2022-04-08T06:30:31.264" v="434"/>
          <ac:spMkLst>
            <pc:docMk/>
            <pc:sldMk cId="0" sldId="260"/>
            <ac:spMk id="96" creationId="{4F95CA28-BF79-422E-9A03-F1814F26A916}"/>
          </ac:spMkLst>
        </pc:spChg>
        <pc:spChg chg="add del mod">
          <ac:chgData name="Kebba Jeng" userId="fe4cc296-ba7d-48a2-8799-89b58d218255" providerId="ADAL" clId="{FCBD5683-BE61-41A3-82A3-992D8F76D308}" dt="2022-04-08T06:30:31.264" v="434"/>
          <ac:spMkLst>
            <pc:docMk/>
            <pc:sldMk cId="0" sldId="260"/>
            <ac:spMk id="97" creationId="{F719E707-4520-4FEA-849F-2E6920603723}"/>
          </ac:spMkLst>
        </pc:spChg>
        <pc:spChg chg="add del mod">
          <ac:chgData name="Kebba Jeng" userId="fe4cc296-ba7d-48a2-8799-89b58d218255" providerId="ADAL" clId="{FCBD5683-BE61-41A3-82A3-992D8F76D308}" dt="2022-04-08T06:30:31.264" v="434"/>
          <ac:spMkLst>
            <pc:docMk/>
            <pc:sldMk cId="0" sldId="260"/>
            <ac:spMk id="98" creationId="{3AFB5ACA-F595-4BB8-98F9-5D2E27E3E17F}"/>
          </ac:spMkLst>
        </pc:spChg>
        <pc:spChg chg="add del mod">
          <ac:chgData name="Kebba Jeng" userId="fe4cc296-ba7d-48a2-8799-89b58d218255" providerId="ADAL" clId="{FCBD5683-BE61-41A3-82A3-992D8F76D308}" dt="2022-04-08T06:30:31.264" v="434"/>
          <ac:spMkLst>
            <pc:docMk/>
            <pc:sldMk cId="0" sldId="260"/>
            <ac:spMk id="99" creationId="{55B65A63-C759-47C1-8AC6-B87A9356A28D}"/>
          </ac:spMkLst>
        </pc:spChg>
        <pc:spChg chg="add del mod">
          <ac:chgData name="Kebba Jeng" userId="fe4cc296-ba7d-48a2-8799-89b58d218255" providerId="ADAL" clId="{FCBD5683-BE61-41A3-82A3-992D8F76D308}" dt="2022-04-08T06:30:31.264" v="434"/>
          <ac:spMkLst>
            <pc:docMk/>
            <pc:sldMk cId="0" sldId="260"/>
            <ac:spMk id="100" creationId="{3FBF8649-349E-495A-8B92-B04809A78D79}"/>
          </ac:spMkLst>
        </pc:spChg>
        <pc:spChg chg="add del mod">
          <ac:chgData name="Kebba Jeng" userId="fe4cc296-ba7d-48a2-8799-89b58d218255" providerId="ADAL" clId="{FCBD5683-BE61-41A3-82A3-992D8F76D308}" dt="2022-04-08T06:30:31.264" v="434"/>
          <ac:spMkLst>
            <pc:docMk/>
            <pc:sldMk cId="0" sldId="260"/>
            <ac:spMk id="101" creationId="{47D8E176-4CF8-4D12-83F7-7DF2375AF910}"/>
          </ac:spMkLst>
        </pc:spChg>
        <pc:spChg chg="add del mod">
          <ac:chgData name="Kebba Jeng" userId="fe4cc296-ba7d-48a2-8799-89b58d218255" providerId="ADAL" clId="{FCBD5683-BE61-41A3-82A3-992D8F76D308}" dt="2022-04-08T06:30:31.264" v="434"/>
          <ac:spMkLst>
            <pc:docMk/>
            <pc:sldMk cId="0" sldId="260"/>
            <ac:spMk id="102" creationId="{8F5C2FB4-907D-4E56-98B0-DD8C64C0B14C}"/>
          </ac:spMkLst>
        </pc:spChg>
        <pc:spChg chg="add del mod">
          <ac:chgData name="Kebba Jeng" userId="fe4cc296-ba7d-48a2-8799-89b58d218255" providerId="ADAL" clId="{FCBD5683-BE61-41A3-82A3-992D8F76D308}" dt="2022-04-08T06:30:31.264" v="434"/>
          <ac:spMkLst>
            <pc:docMk/>
            <pc:sldMk cId="0" sldId="260"/>
            <ac:spMk id="103" creationId="{3F2CC9F3-8D2F-47A9-9262-22609D11AE34}"/>
          </ac:spMkLst>
        </pc:spChg>
        <pc:spChg chg="add del mod">
          <ac:chgData name="Kebba Jeng" userId="fe4cc296-ba7d-48a2-8799-89b58d218255" providerId="ADAL" clId="{FCBD5683-BE61-41A3-82A3-992D8F76D308}" dt="2022-04-08T06:30:31.264" v="434"/>
          <ac:spMkLst>
            <pc:docMk/>
            <pc:sldMk cId="0" sldId="260"/>
            <ac:spMk id="104" creationId="{BE032587-2352-4146-87EE-9BBEA2CF322C}"/>
          </ac:spMkLst>
        </pc:spChg>
        <pc:spChg chg="add del mod">
          <ac:chgData name="Kebba Jeng" userId="fe4cc296-ba7d-48a2-8799-89b58d218255" providerId="ADAL" clId="{FCBD5683-BE61-41A3-82A3-992D8F76D308}" dt="2022-04-08T06:30:31.264" v="434"/>
          <ac:spMkLst>
            <pc:docMk/>
            <pc:sldMk cId="0" sldId="260"/>
            <ac:spMk id="105" creationId="{E5A17493-350A-4DEF-AD40-8C97A0D90BD6}"/>
          </ac:spMkLst>
        </pc:spChg>
        <pc:spChg chg="add del mod">
          <ac:chgData name="Kebba Jeng" userId="fe4cc296-ba7d-48a2-8799-89b58d218255" providerId="ADAL" clId="{FCBD5683-BE61-41A3-82A3-992D8F76D308}" dt="2022-04-08T06:30:31.264" v="434"/>
          <ac:spMkLst>
            <pc:docMk/>
            <pc:sldMk cId="0" sldId="260"/>
            <ac:spMk id="106" creationId="{F69CCE41-523F-4C6F-8EBD-80848B75B8BA}"/>
          </ac:spMkLst>
        </pc:spChg>
        <pc:spChg chg="add del mod">
          <ac:chgData name="Kebba Jeng" userId="fe4cc296-ba7d-48a2-8799-89b58d218255" providerId="ADAL" clId="{FCBD5683-BE61-41A3-82A3-992D8F76D308}" dt="2022-04-08T06:30:31.264" v="434"/>
          <ac:spMkLst>
            <pc:docMk/>
            <pc:sldMk cId="0" sldId="260"/>
            <ac:spMk id="107" creationId="{3B92D8CA-D2F6-4DB3-ADE3-5329D10AFDA6}"/>
          </ac:spMkLst>
        </pc:spChg>
        <pc:spChg chg="add del mod">
          <ac:chgData name="Kebba Jeng" userId="fe4cc296-ba7d-48a2-8799-89b58d218255" providerId="ADAL" clId="{FCBD5683-BE61-41A3-82A3-992D8F76D308}" dt="2022-04-08T06:30:31.264" v="434"/>
          <ac:spMkLst>
            <pc:docMk/>
            <pc:sldMk cId="0" sldId="260"/>
            <ac:spMk id="108" creationId="{AD9D5264-6E4F-48A3-BE90-CA08CC09B3E5}"/>
          </ac:spMkLst>
        </pc:spChg>
        <pc:spChg chg="add del mod">
          <ac:chgData name="Kebba Jeng" userId="fe4cc296-ba7d-48a2-8799-89b58d218255" providerId="ADAL" clId="{FCBD5683-BE61-41A3-82A3-992D8F76D308}" dt="2022-04-08T06:30:31.264" v="434"/>
          <ac:spMkLst>
            <pc:docMk/>
            <pc:sldMk cId="0" sldId="260"/>
            <ac:spMk id="109" creationId="{9FF06A4D-1F6B-4BFA-8CF1-92877ABEBF73}"/>
          </ac:spMkLst>
        </pc:spChg>
        <pc:spChg chg="add del mod">
          <ac:chgData name="Kebba Jeng" userId="fe4cc296-ba7d-48a2-8799-89b58d218255" providerId="ADAL" clId="{FCBD5683-BE61-41A3-82A3-992D8F76D308}" dt="2022-04-08T06:30:31.264" v="434"/>
          <ac:spMkLst>
            <pc:docMk/>
            <pc:sldMk cId="0" sldId="260"/>
            <ac:spMk id="110" creationId="{E8A22B60-25B2-488F-BD55-7F3C27AFF57C}"/>
          </ac:spMkLst>
        </pc:spChg>
        <pc:spChg chg="add del mod">
          <ac:chgData name="Kebba Jeng" userId="fe4cc296-ba7d-48a2-8799-89b58d218255" providerId="ADAL" clId="{FCBD5683-BE61-41A3-82A3-992D8F76D308}" dt="2022-04-08T06:30:31.264" v="434"/>
          <ac:spMkLst>
            <pc:docMk/>
            <pc:sldMk cId="0" sldId="260"/>
            <ac:spMk id="111" creationId="{DCD082D2-E8E1-4949-B117-91D67B28BEDC}"/>
          </ac:spMkLst>
        </pc:spChg>
        <pc:spChg chg="add del mod">
          <ac:chgData name="Kebba Jeng" userId="fe4cc296-ba7d-48a2-8799-89b58d218255" providerId="ADAL" clId="{FCBD5683-BE61-41A3-82A3-992D8F76D308}" dt="2022-04-08T06:30:31.264" v="434"/>
          <ac:spMkLst>
            <pc:docMk/>
            <pc:sldMk cId="0" sldId="260"/>
            <ac:spMk id="112" creationId="{44761800-7EC7-4338-8115-325173C4C0D4}"/>
          </ac:spMkLst>
        </pc:spChg>
        <pc:spChg chg="add del mod">
          <ac:chgData name="Kebba Jeng" userId="fe4cc296-ba7d-48a2-8799-89b58d218255" providerId="ADAL" clId="{FCBD5683-BE61-41A3-82A3-992D8F76D308}" dt="2022-04-08T06:30:31.264" v="434"/>
          <ac:spMkLst>
            <pc:docMk/>
            <pc:sldMk cId="0" sldId="260"/>
            <ac:spMk id="113" creationId="{B6A31375-8F55-4842-AD94-7753F1B4FCEE}"/>
          </ac:spMkLst>
        </pc:spChg>
        <pc:spChg chg="add del mod">
          <ac:chgData name="Kebba Jeng" userId="fe4cc296-ba7d-48a2-8799-89b58d218255" providerId="ADAL" clId="{FCBD5683-BE61-41A3-82A3-992D8F76D308}" dt="2022-04-08T06:30:31.264" v="434"/>
          <ac:spMkLst>
            <pc:docMk/>
            <pc:sldMk cId="0" sldId="260"/>
            <ac:spMk id="114" creationId="{41DA6C28-FE5C-400E-9913-6C2CEA4FE2BE}"/>
          </ac:spMkLst>
        </pc:spChg>
        <pc:spChg chg="add del mod">
          <ac:chgData name="Kebba Jeng" userId="fe4cc296-ba7d-48a2-8799-89b58d218255" providerId="ADAL" clId="{FCBD5683-BE61-41A3-82A3-992D8F76D308}" dt="2022-04-08T06:30:31.264" v="434"/>
          <ac:spMkLst>
            <pc:docMk/>
            <pc:sldMk cId="0" sldId="260"/>
            <ac:spMk id="115" creationId="{6E332F21-55FF-4E32-90E5-6C8818F97D79}"/>
          </ac:spMkLst>
        </pc:spChg>
        <pc:spChg chg="add del mod">
          <ac:chgData name="Kebba Jeng" userId="fe4cc296-ba7d-48a2-8799-89b58d218255" providerId="ADAL" clId="{FCBD5683-BE61-41A3-82A3-992D8F76D308}" dt="2022-04-08T06:30:31.264" v="434"/>
          <ac:spMkLst>
            <pc:docMk/>
            <pc:sldMk cId="0" sldId="260"/>
            <ac:spMk id="116" creationId="{7EEBE6E7-4CF5-487B-A0E8-10E1829F9503}"/>
          </ac:spMkLst>
        </pc:spChg>
        <pc:spChg chg="add del mod">
          <ac:chgData name="Kebba Jeng" userId="fe4cc296-ba7d-48a2-8799-89b58d218255" providerId="ADAL" clId="{FCBD5683-BE61-41A3-82A3-992D8F76D308}" dt="2022-04-08T06:30:31.264" v="434"/>
          <ac:spMkLst>
            <pc:docMk/>
            <pc:sldMk cId="0" sldId="260"/>
            <ac:spMk id="117" creationId="{E0BADB88-3F25-4587-B9BD-D3BD79523DDF}"/>
          </ac:spMkLst>
        </pc:spChg>
        <pc:spChg chg="add del mod">
          <ac:chgData name="Kebba Jeng" userId="fe4cc296-ba7d-48a2-8799-89b58d218255" providerId="ADAL" clId="{FCBD5683-BE61-41A3-82A3-992D8F76D308}" dt="2022-04-08T06:30:31.264" v="434"/>
          <ac:spMkLst>
            <pc:docMk/>
            <pc:sldMk cId="0" sldId="260"/>
            <ac:spMk id="118" creationId="{461C6231-487A-4268-A032-B19E2CA95232}"/>
          </ac:spMkLst>
        </pc:spChg>
        <pc:spChg chg="add del mod">
          <ac:chgData name="Kebba Jeng" userId="fe4cc296-ba7d-48a2-8799-89b58d218255" providerId="ADAL" clId="{FCBD5683-BE61-41A3-82A3-992D8F76D308}" dt="2022-04-08T06:30:31.264" v="434"/>
          <ac:spMkLst>
            <pc:docMk/>
            <pc:sldMk cId="0" sldId="260"/>
            <ac:spMk id="119" creationId="{DC490311-E1C9-4BE9-9CE8-DCEE2DB88589}"/>
          </ac:spMkLst>
        </pc:spChg>
        <pc:spChg chg="add del mod">
          <ac:chgData name="Kebba Jeng" userId="fe4cc296-ba7d-48a2-8799-89b58d218255" providerId="ADAL" clId="{FCBD5683-BE61-41A3-82A3-992D8F76D308}" dt="2022-04-08T06:30:31.264" v="434"/>
          <ac:spMkLst>
            <pc:docMk/>
            <pc:sldMk cId="0" sldId="260"/>
            <ac:spMk id="120" creationId="{BD8C74B8-F4A4-47E7-801E-E25E8F48D690}"/>
          </ac:spMkLst>
        </pc:spChg>
        <pc:spChg chg="add del mod">
          <ac:chgData name="Kebba Jeng" userId="fe4cc296-ba7d-48a2-8799-89b58d218255" providerId="ADAL" clId="{FCBD5683-BE61-41A3-82A3-992D8F76D308}" dt="2022-04-08T06:30:31.264" v="434"/>
          <ac:spMkLst>
            <pc:docMk/>
            <pc:sldMk cId="0" sldId="260"/>
            <ac:spMk id="121" creationId="{DE6B3888-277D-4270-8A93-8DC803EE02B4}"/>
          </ac:spMkLst>
        </pc:spChg>
        <pc:spChg chg="add del mod">
          <ac:chgData name="Kebba Jeng" userId="fe4cc296-ba7d-48a2-8799-89b58d218255" providerId="ADAL" clId="{FCBD5683-BE61-41A3-82A3-992D8F76D308}" dt="2022-04-08T06:30:31.264" v="434"/>
          <ac:spMkLst>
            <pc:docMk/>
            <pc:sldMk cId="0" sldId="260"/>
            <ac:spMk id="122" creationId="{7D2180BC-C2B3-4C49-BF12-C8FE9EE89AD2}"/>
          </ac:spMkLst>
        </pc:spChg>
        <pc:spChg chg="add del mod">
          <ac:chgData name="Kebba Jeng" userId="fe4cc296-ba7d-48a2-8799-89b58d218255" providerId="ADAL" clId="{FCBD5683-BE61-41A3-82A3-992D8F76D308}" dt="2022-04-08T06:30:31.264" v="434"/>
          <ac:spMkLst>
            <pc:docMk/>
            <pc:sldMk cId="0" sldId="260"/>
            <ac:spMk id="123" creationId="{C1C25893-4B06-47C4-9B24-8365AF5A6249}"/>
          </ac:spMkLst>
        </pc:spChg>
        <pc:spChg chg="add del mod">
          <ac:chgData name="Kebba Jeng" userId="fe4cc296-ba7d-48a2-8799-89b58d218255" providerId="ADAL" clId="{FCBD5683-BE61-41A3-82A3-992D8F76D308}" dt="2022-04-08T06:30:31.264" v="434"/>
          <ac:spMkLst>
            <pc:docMk/>
            <pc:sldMk cId="0" sldId="260"/>
            <ac:spMk id="124" creationId="{0692CE56-C550-4603-B4DF-A9B245FD7DC0}"/>
          </ac:spMkLst>
        </pc:spChg>
        <pc:spChg chg="add del mod">
          <ac:chgData name="Kebba Jeng" userId="fe4cc296-ba7d-48a2-8799-89b58d218255" providerId="ADAL" clId="{FCBD5683-BE61-41A3-82A3-992D8F76D308}" dt="2022-04-08T06:30:31.264" v="434"/>
          <ac:spMkLst>
            <pc:docMk/>
            <pc:sldMk cId="0" sldId="260"/>
            <ac:spMk id="125" creationId="{4CC6E418-ACB1-47B6-963E-E30B136093A9}"/>
          </ac:spMkLst>
        </pc:spChg>
        <pc:spChg chg="add del mod">
          <ac:chgData name="Kebba Jeng" userId="fe4cc296-ba7d-48a2-8799-89b58d218255" providerId="ADAL" clId="{FCBD5683-BE61-41A3-82A3-992D8F76D308}" dt="2022-04-08T06:30:31.264" v="434"/>
          <ac:spMkLst>
            <pc:docMk/>
            <pc:sldMk cId="0" sldId="260"/>
            <ac:spMk id="126" creationId="{20E9D447-00A4-45D7-A3A6-199AD53BD2B9}"/>
          </ac:spMkLst>
        </pc:spChg>
        <pc:spChg chg="add del mod">
          <ac:chgData name="Kebba Jeng" userId="fe4cc296-ba7d-48a2-8799-89b58d218255" providerId="ADAL" clId="{FCBD5683-BE61-41A3-82A3-992D8F76D308}" dt="2022-04-08T06:30:31.264" v="434"/>
          <ac:spMkLst>
            <pc:docMk/>
            <pc:sldMk cId="0" sldId="260"/>
            <ac:spMk id="127" creationId="{A9297BEE-2CE7-453D-8953-3859EEE86DB6}"/>
          </ac:spMkLst>
        </pc:spChg>
        <pc:spChg chg="add del mod">
          <ac:chgData name="Kebba Jeng" userId="fe4cc296-ba7d-48a2-8799-89b58d218255" providerId="ADAL" clId="{FCBD5683-BE61-41A3-82A3-992D8F76D308}" dt="2022-04-08T06:30:31.264" v="434"/>
          <ac:spMkLst>
            <pc:docMk/>
            <pc:sldMk cId="0" sldId="260"/>
            <ac:spMk id="128" creationId="{A75D4E4D-FDA6-42EB-8147-D4EC3680E2F9}"/>
          </ac:spMkLst>
        </pc:spChg>
        <pc:spChg chg="add del mod">
          <ac:chgData name="Kebba Jeng" userId="fe4cc296-ba7d-48a2-8799-89b58d218255" providerId="ADAL" clId="{FCBD5683-BE61-41A3-82A3-992D8F76D308}" dt="2022-04-08T06:30:31.264" v="434"/>
          <ac:spMkLst>
            <pc:docMk/>
            <pc:sldMk cId="0" sldId="260"/>
            <ac:spMk id="129" creationId="{C25F4B6A-6BD8-4CCA-9C9E-563836E82EB1}"/>
          </ac:spMkLst>
        </pc:spChg>
        <pc:spChg chg="add del mod">
          <ac:chgData name="Kebba Jeng" userId="fe4cc296-ba7d-48a2-8799-89b58d218255" providerId="ADAL" clId="{FCBD5683-BE61-41A3-82A3-992D8F76D308}" dt="2022-04-08T06:30:31.264" v="434"/>
          <ac:spMkLst>
            <pc:docMk/>
            <pc:sldMk cId="0" sldId="260"/>
            <ac:spMk id="130" creationId="{3DAD74CF-A02A-43DE-AF38-181EE5F714A7}"/>
          </ac:spMkLst>
        </pc:spChg>
        <pc:spChg chg="add del mod">
          <ac:chgData name="Kebba Jeng" userId="fe4cc296-ba7d-48a2-8799-89b58d218255" providerId="ADAL" clId="{FCBD5683-BE61-41A3-82A3-992D8F76D308}" dt="2022-04-08T06:30:31.264" v="434"/>
          <ac:spMkLst>
            <pc:docMk/>
            <pc:sldMk cId="0" sldId="260"/>
            <ac:spMk id="131" creationId="{FDC56A01-538E-44B5-B535-D9AC4BB2BCE1}"/>
          </ac:spMkLst>
        </pc:spChg>
        <pc:spChg chg="add del mod">
          <ac:chgData name="Kebba Jeng" userId="fe4cc296-ba7d-48a2-8799-89b58d218255" providerId="ADAL" clId="{FCBD5683-BE61-41A3-82A3-992D8F76D308}" dt="2022-04-08T06:30:31.264" v="434"/>
          <ac:spMkLst>
            <pc:docMk/>
            <pc:sldMk cId="0" sldId="260"/>
            <ac:spMk id="132" creationId="{BBC11E57-D3BB-40BC-972D-39BE43A25164}"/>
          </ac:spMkLst>
        </pc:spChg>
        <pc:spChg chg="add del mod">
          <ac:chgData name="Kebba Jeng" userId="fe4cc296-ba7d-48a2-8799-89b58d218255" providerId="ADAL" clId="{FCBD5683-BE61-41A3-82A3-992D8F76D308}" dt="2022-04-08T06:30:31.264" v="434"/>
          <ac:spMkLst>
            <pc:docMk/>
            <pc:sldMk cId="0" sldId="260"/>
            <ac:spMk id="133" creationId="{A9373567-C79D-4BF3-A9D5-379FD4BECC1B}"/>
          </ac:spMkLst>
        </pc:spChg>
        <pc:spChg chg="add del mod">
          <ac:chgData name="Kebba Jeng" userId="fe4cc296-ba7d-48a2-8799-89b58d218255" providerId="ADAL" clId="{FCBD5683-BE61-41A3-82A3-992D8F76D308}" dt="2022-04-08T06:30:31.264" v="434"/>
          <ac:spMkLst>
            <pc:docMk/>
            <pc:sldMk cId="0" sldId="260"/>
            <ac:spMk id="134" creationId="{A5F0FA8C-090E-45FE-BDE2-C67E199166D6}"/>
          </ac:spMkLst>
        </pc:spChg>
        <pc:spChg chg="add del mod">
          <ac:chgData name="Kebba Jeng" userId="fe4cc296-ba7d-48a2-8799-89b58d218255" providerId="ADAL" clId="{FCBD5683-BE61-41A3-82A3-992D8F76D308}" dt="2022-04-08T06:30:31.264" v="434"/>
          <ac:spMkLst>
            <pc:docMk/>
            <pc:sldMk cId="0" sldId="260"/>
            <ac:spMk id="135" creationId="{E6523E8B-7409-4350-8641-5DA49193CF3E}"/>
          </ac:spMkLst>
        </pc:spChg>
        <pc:spChg chg="add del mod">
          <ac:chgData name="Kebba Jeng" userId="fe4cc296-ba7d-48a2-8799-89b58d218255" providerId="ADAL" clId="{FCBD5683-BE61-41A3-82A3-992D8F76D308}" dt="2022-04-08T06:30:31.264" v="434"/>
          <ac:spMkLst>
            <pc:docMk/>
            <pc:sldMk cId="0" sldId="260"/>
            <ac:spMk id="136" creationId="{20A919AD-13EE-4CD8-8E44-C0CD91D4D12E}"/>
          </ac:spMkLst>
        </pc:spChg>
        <pc:spChg chg="add del mod">
          <ac:chgData name="Kebba Jeng" userId="fe4cc296-ba7d-48a2-8799-89b58d218255" providerId="ADAL" clId="{FCBD5683-BE61-41A3-82A3-992D8F76D308}" dt="2022-04-08T06:30:31.264" v="434"/>
          <ac:spMkLst>
            <pc:docMk/>
            <pc:sldMk cId="0" sldId="260"/>
            <ac:spMk id="137" creationId="{44858159-F914-4C27-82C9-C0DCAAD48308}"/>
          </ac:spMkLst>
        </pc:spChg>
        <pc:spChg chg="add del mod">
          <ac:chgData name="Kebba Jeng" userId="fe4cc296-ba7d-48a2-8799-89b58d218255" providerId="ADAL" clId="{FCBD5683-BE61-41A3-82A3-992D8F76D308}" dt="2022-04-08T06:30:31.264" v="434"/>
          <ac:spMkLst>
            <pc:docMk/>
            <pc:sldMk cId="0" sldId="260"/>
            <ac:spMk id="138" creationId="{774B2969-67D4-4DF3-8273-07C3C9644DA3}"/>
          </ac:spMkLst>
        </pc:spChg>
        <pc:spChg chg="add del mod">
          <ac:chgData name="Kebba Jeng" userId="fe4cc296-ba7d-48a2-8799-89b58d218255" providerId="ADAL" clId="{FCBD5683-BE61-41A3-82A3-992D8F76D308}" dt="2022-04-08T06:30:31.264" v="434"/>
          <ac:spMkLst>
            <pc:docMk/>
            <pc:sldMk cId="0" sldId="260"/>
            <ac:spMk id="139" creationId="{C41BB2A7-3732-4480-B715-B3639F8B39C8}"/>
          </ac:spMkLst>
        </pc:spChg>
        <pc:spChg chg="add del mod">
          <ac:chgData name="Kebba Jeng" userId="fe4cc296-ba7d-48a2-8799-89b58d218255" providerId="ADAL" clId="{FCBD5683-BE61-41A3-82A3-992D8F76D308}" dt="2022-04-08T06:30:31.264" v="434"/>
          <ac:spMkLst>
            <pc:docMk/>
            <pc:sldMk cId="0" sldId="260"/>
            <ac:spMk id="140" creationId="{D966E18A-C294-4CA5-A42E-95D87B2C4BFB}"/>
          </ac:spMkLst>
        </pc:spChg>
        <pc:spChg chg="add del mod">
          <ac:chgData name="Kebba Jeng" userId="fe4cc296-ba7d-48a2-8799-89b58d218255" providerId="ADAL" clId="{FCBD5683-BE61-41A3-82A3-992D8F76D308}" dt="2022-04-08T06:30:31.264" v="434"/>
          <ac:spMkLst>
            <pc:docMk/>
            <pc:sldMk cId="0" sldId="260"/>
            <ac:spMk id="141" creationId="{55A92F1B-4C45-4E08-97EF-86F968FF5C2D}"/>
          </ac:spMkLst>
        </pc:spChg>
        <pc:spChg chg="add del mod">
          <ac:chgData name="Kebba Jeng" userId="fe4cc296-ba7d-48a2-8799-89b58d218255" providerId="ADAL" clId="{FCBD5683-BE61-41A3-82A3-992D8F76D308}" dt="2022-04-08T06:30:31.264" v="434"/>
          <ac:spMkLst>
            <pc:docMk/>
            <pc:sldMk cId="0" sldId="260"/>
            <ac:spMk id="142" creationId="{F70DD37A-158B-4FF8-A60C-2F6DF695302F}"/>
          </ac:spMkLst>
        </pc:spChg>
        <pc:spChg chg="add del mod">
          <ac:chgData name="Kebba Jeng" userId="fe4cc296-ba7d-48a2-8799-89b58d218255" providerId="ADAL" clId="{FCBD5683-BE61-41A3-82A3-992D8F76D308}" dt="2022-04-08T06:30:31.264" v="434"/>
          <ac:spMkLst>
            <pc:docMk/>
            <pc:sldMk cId="0" sldId="260"/>
            <ac:spMk id="143" creationId="{9C2A7EE2-FB94-4AA2-9430-53916A763CF9}"/>
          </ac:spMkLst>
        </pc:spChg>
        <pc:spChg chg="add del mod">
          <ac:chgData name="Kebba Jeng" userId="fe4cc296-ba7d-48a2-8799-89b58d218255" providerId="ADAL" clId="{FCBD5683-BE61-41A3-82A3-992D8F76D308}" dt="2022-04-08T06:30:31.264" v="434"/>
          <ac:spMkLst>
            <pc:docMk/>
            <pc:sldMk cId="0" sldId="260"/>
            <ac:spMk id="144" creationId="{C4A8C423-8B45-4DFE-A054-DFF66FE0D5D1}"/>
          </ac:spMkLst>
        </pc:spChg>
        <pc:spChg chg="add del mod">
          <ac:chgData name="Kebba Jeng" userId="fe4cc296-ba7d-48a2-8799-89b58d218255" providerId="ADAL" clId="{FCBD5683-BE61-41A3-82A3-992D8F76D308}" dt="2022-04-08T06:30:31.264" v="434"/>
          <ac:spMkLst>
            <pc:docMk/>
            <pc:sldMk cId="0" sldId="260"/>
            <ac:spMk id="145" creationId="{B6001366-3D89-4C25-8086-A5ADCADE844E}"/>
          </ac:spMkLst>
        </pc:spChg>
        <pc:spChg chg="add del mod">
          <ac:chgData name="Kebba Jeng" userId="fe4cc296-ba7d-48a2-8799-89b58d218255" providerId="ADAL" clId="{FCBD5683-BE61-41A3-82A3-992D8F76D308}" dt="2022-04-08T06:30:31.264" v="434"/>
          <ac:spMkLst>
            <pc:docMk/>
            <pc:sldMk cId="0" sldId="260"/>
            <ac:spMk id="146" creationId="{7E041B91-2B49-4BD7-A0C6-A44D0BBF3C04}"/>
          </ac:spMkLst>
        </pc:spChg>
        <pc:spChg chg="add del mod">
          <ac:chgData name="Kebba Jeng" userId="fe4cc296-ba7d-48a2-8799-89b58d218255" providerId="ADAL" clId="{FCBD5683-BE61-41A3-82A3-992D8F76D308}" dt="2022-04-08T06:30:31.264" v="434"/>
          <ac:spMkLst>
            <pc:docMk/>
            <pc:sldMk cId="0" sldId="260"/>
            <ac:spMk id="147" creationId="{171361F6-2BC3-4AEF-8316-41005C26DB6A}"/>
          </ac:spMkLst>
        </pc:spChg>
        <pc:spChg chg="add del mod">
          <ac:chgData name="Kebba Jeng" userId="fe4cc296-ba7d-48a2-8799-89b58d218255" providerId="ADAL" clId="{FCBD5683-BE61-41A3-82A3-992D8F76D308}" dt="2022-04-08T06:30:31.264" v="434"/>
          <ac:spMkLst>
            <pc:docMk/>
            <pc:sldMk cId="0" sldId="260"/>
            <ac:spMk id="148" creationId="{8C75AF33-C52E-451D-A0E0-B7A27D11BB66}"/>
          </ac:spMkLst>
        </pc:spChg>
        <pc:spChg chg="add del mod">
          <ac:chgData name="Kebba Jeng" userId="fe4cc296-ba7d-48a2-8799-89b58d218255" providerId="ADAL" clId="{FCBD5683-BE61-41A3-82A3-992D8F76D308}" dt="2022-04-08T06:30:31.264" v="434"/>
          <ac:spMkLst>
            <pc:docMk/>
            <pc:sldMk cId="0" sldId="260"/>
            <ac:spMk id="149" creationId="{3449AF34-0E04-457C-B1C2-7DC69609FD1F}"/>
          </ac:spMkLst>
        </pc:spChg>
        <pc:spChg chg="add del mod">
          <ac:chgData name="Kebba Jeng" userId="fe4cc296-ba7d-48a2-8799-89b58d218255" providerId="ADAL" clId="{FCBD5683-BE61-41A3-82A3-992D8F76D308}" dt="2022-04-08T06:30:31.264" v="434"/>
          <ac:spMkLst>
            <pc:docMk/>
            <pc:sldMk cId="0" sldId="260"/>
            <ac:spMk id="150" creationId="{84C97892-1D73-413C-925B-ACEC9A307AAD}"/>
          </ac:spMkLst>
        </pc:spChg>
        <pc:spChg chg="add del mod">
          <ac:chgData name="Kebba Jeng" userId="fe4cc296-ba7d-48a2-8799-89b58d218255" providerId="ADAL" clId="{FCBD5683-BE61-41A3-82A3-992D8F76D308}" dt="2022-04-08T06:30:31.264" v="434"/>
          <ac:spMkLst>
            <pc:docMk/>
            <pc:sldMk cId="0" sldId="260"/>
            <ac:spMk id="151" creationId="{AC273A26-D1C6-4EAF-88A6-054EAAD840BA}"/>
          </ac:spMkLst>
        </pc:spChg>
        <pc:spChg chg="add del mod">
          <ac:chgData name="Kebba Jeng" userId="fe4cc296-ba7d-48a2-8799-89b58d218255" providerId="ADAL" clId="{FCBD5683-BE61-41A3-82A3-992D8F76D308}" dt="2022-04-08T06:30:31.264" v="434"/>
          <ac:spMkLst>
            <pc:docMk/>
            <pc:sldMk cId="0" sldId="260"/>
            <ac:spMk id="152" creationId="{FE22CA5F-9D47-45E9-A583-0685D420C17D}"/>
          </ac:spMkLst>
        </pc:spChg>
        <pc:spChg chg="add del mod">
          <ac:chgData name="Kebba Jeng" userId="fe4cc296-ba7d-48a2-8799-89b58d218255" providerId="ADAL" clId="{FCBD5683-BE61-41A3-82A3-992D8F76D308}" dt="2022-04-08T06:30:31.264" v="434"/>
          <ac:spMkLst>
            <pc:docMk/>
            <pc:sldMk cId="0" sldId="260"/>
            <ac:spMk id="153" creationId="{0DFCF202-1587-4852-9AA5-F28EF6489534}"/>
          </ac:spMkLst>
        </pc:spChg>
        <pc:spChg chg="add del mod">
          <ac:chgData name="Kebba Jeng" userId="fe4cc296-ba7d-48a2-8799-89b58d218255" providerId="ADAL" clId="{FCBD5683-BE61-41A3-82A3-992D8F76D308}" dt="2022-04-08T06:30:31.264" v="434"/>
          <ac:spMkLst>
            <pc:docMk/>
            <pc:sldMk cId="0" sldId="260"/>
            <ac:spMk id="154" creationId="{5F7A0868-62B3-46AB-A099-DEC26D1F481E}"/>
          </ac:spMkLst>
        </pc:spChg>
        <pc:spChg chg="add del mod">
          <ac:chgData name="Kebba Jeng" userId="fe4cc296-ba7d-48a2-8799-89b58d218255" providerId="ADAL" clId="{FCBD5683-BE61-41A3-82A3-992D8F76D308}" dt="2022-04-08T06:30:31.264" v="434"/>
          <ac:spMkLst>
            <pc:docMk/>
            <pc:sldMk cId="0" sldId="260"/>
            <ac:spMk id="155" creationId="{39D831C1-5FDE-40CF-A8A7-9814A740059B}"/>
          </ac:spMkLst>
        </pc:spChg>
        <pc:spChg chg="add del mod">
          <ac:chgData name="Kebba Jeng" userId="fe4cc296-ba7d-48a2-8799-89b58d218255" providerId="ADAL" clId="{FCBD5683-BE61-41A3-82A3-992D8F76D308}" dt="2022-04-08T06:30:31.264" v="434"/>
          <ac:spMkLst>
            <pc:docMk/>
            <pc:sldMk cId="0" sldId="260"/>
            <ac:spMk id="156" creationId="{D75E9BDA-2D69-475B-BCDB-701708685E35}"/>
          </ac:spMkLst>
        </pc:spChg>
        <pc:spChg chg="add del mod">
          <ac:chgData name="Kebba Jeng" userId="fe4cc296-ba7d-48a2-8799-89b58d218255" providerId="ADAL" clId="{FCBD5683-BE61-41A3-82A3-992D8F76D308}" dt="2022-04-08T06:30:31.264" v="434"/>
          <ac:spMkLst>
            <pc:docMk/>
            <pc:sldMk cId="0" sldId="260"/>
            <ac:spMk id="157" creationId="{81FD12B4-980E-4DB7-9529-E862C34A8836}"/>
          </ac:spMkLst>
        </pc:spChg>
        <pc:spChg chg="add del mod">
          <ac:chgData name="Kebba Jeng" userId="fe4cc296-ba7d-48a2-8799-89b58d218255" providerId="ADAL" clId="{FCBD5683-BE61-41A3-82A3-992D8F76D308}" dt="2022-04-08T06:30:31.264" v="434"/>
          <ac:spMkLst>
            <pc:docMk/>
            <pc:sldMk cId="0" sldId="260"/>
            <ac:spMk id="158" creationId="{B65FAD01-6681-4592-A24B-DBAFCDCA7341}"/>
          </ac:spMkLst>
        </pc:spChg>
        <pc:spChg chg="add del mod">
          <ac:chgData name="Kebba Jeng" userId="fe4cc296-ba7d-48a2-8799-89b58d218255" providerId="ADAL" clId="{FCBD5683-BE61-41A3-82A3-992D8F76D308}" dt="2022-04-08T06:30:31.264" v="434"/>
          <ac:spMkLst>
            <pc:docMk/>
            <pc:sldMk cId="0" sldId="260"/>
            <ac:spMk id="159" creationId="{343D05A5-8BA1-42EF-AC65-BC67B954A56E}"/>
          </ac:spMkLst>
        </pc:spChg>
        <pc:spChg chg="add del mod">
          <ac:chgData name="Kebba Jeng" userId="fe4cc296-ba7d-48a2-8799-89b58d218255" providerId="ADAL" clId="{FCBD5683-BE61-41A3-82A3-992D8F76D308}" dt="2022-04-08T06:30:31.264" v="434"/>
          <ac:spMkLst>
            <pc:docMk/>
            <pc:sldMk cId="0" sldId="260"/>
            <ac:spMk id="160" creationId="{A0CDDF5B-54D6-4E57-8F45-BDA70FFA6022}"/>
          </ac:spMkLst>
        </pc:spChg>
        <pc:spChg chg="add del mod">
          <ac:chgData name="Kebba Jeng" userId="fe4cc296-ba7d-48a2-8799-89b58d218255" providerId="ADAL" clId="{FCBD5683-BE61-41A3-82A3-992D8F76D308}" dt="2022-04-08T06:30:31.264" v="434"/>
          <ac:spMkLst>
            <pc:docMk/>
            <pc:sldMk cId="0" sldId="260"/>
            <ac:spMk id="161" creationId="{40B5CD01-9FAA-4A56-8D8C-D1825E9543AB}"/>
          </ac:spMkLst>
        </pc:spChg>
        <pc:spChg chg="add del mod">
          <ac:chgData name="Kebba Jeng" userId="fe4cc296-ba7d-48a2-8799-89b58d218255" providerId="ADAL" clId="{FCBD5683-BE61-41A3-82A3-992D8F76D308}" dt="2022-04-08T06:30:31.264" v="434"/>
          <ac:spMkLst>
            <pc:docMk/>
            <pc:sldMk cId="0" sldId="260"/>
            <ac:spMk id="162" creationId="{63086DFC-D277-4892-B479-36E42E5101BD}"/>
          </ac:spMkLst>
        </pc:spChg>
        <pc:spChg chg="add del mod">
          <ac:chgData name="Kebba Jeng" userId="fe4cc296-ba7d-48a2-8799-89b58d218255" providerId="ADAL" clId="{FCBD5683-BE61-41A3-82A3-992D8F76D308}" dt="2022-04-08T06:30:31.264" v="434"/>
          <ac:spMkLst>
            <pc:docMk/>
            <pc:sldMk cId="0" sldId="260"/>
            <ac:spMk id="163" creationId="{CFF134BF-7E81-4BA8-9091-B322DDD336D9}"/>
          </ac:spMkLst>
        </pc:spChg>
        <pc:spChg chg="add del mod">
          <ac:chgData name="Kebba Jeng" userId="fe4cc296-ba7d-48a2-8799-89b58d218255" providerId="ADAL" clId="{FCBD5683-BE61-41A3-82A3-992D8F76D308}" dt="2022-04-08T06:30:31.264" v="434"/>
          <ac:spMkLst>
            <pc:docMk/>
            <pc:sldMk cId="0" sldId="260"/>
            <ac:spMk id="164" creationId="{40845E22-A64B-46AA-A79F-33EE490436B4}"/>
          </ac:spMkLst>
        </pc:spChg>
        <pc:spChg chg="add del mod">
          <ac:chgData name="Kebba Jeng" userId="fe4cc296-ba7d-48a2-8799-89b58d218255" providerId="ADAL" clId="{FCBD5683-BE61-41A3-82A3-992D8F76D308}" dt="2022-04-08T06:30:31.264" v="434"/>
          <ac:spMkLst>
            <pc:docMk/>
            <pc:sldMk cId="0" sldId="260"/>
            <ac:spMk id="165" creationId="{69D20756-B58D-46A1-A4CA-C5B1B1D5CC33}"/>
          </ac:spMkLst>
        </pc:spChg>
        <pc:spChg chg="add del mod">
          <ac:chgData name="Kebba Jeng" userId="fe4cc296-ba7d-48a2-8799-89b58d218255" providerId="ADAL" clId="{FCBD5683-BE61-41A3-82A3-992D8F76D308}" dt="2022-04-08T06:30:31.264" v="434"/>
          <ac:spMkLst>
            <pc:docMk/>
            <pc:sldMk cId="0" sldId="260"/>
            <ac:spMk id="166" creationId="{1BA2E26D-20AE-4657-814B-5967EFE5CAB3}"/>
          </ac:spMkLst>
        </pc:spChg>
        <pc:spChg chg="add del mod">
          <ac:chgData name="Kebba Jeng" userId="fe4cc296-ba7d-48a2-8799-89b58d218255" providerId="ADAL" clId="{FCBD5683-BE61-41A3-82A3-992D8F76D308}" dt="2022-04-08T06:30:31.264" v="434"/>
          <ac:spMkLst>
            <pc:docMk/>
            <pc:sldMk cId="0" sldId="260"/>
            <ac:spMk id="167" creationId="{06982AEB-2BBD-4477-BA80-94A1A485D1CC}"/>
          </ac:spMkLst>
        </pc:spChg>
        <pc:spChg chg="add del mod">
          <ac:chgData name="Kebba Jeng" userId="fe4cc296-ba7d-48a2-8799-89b58d218255" providerId="ADAL" clId="{FCBD5683-BE61-41A3-82A3-992D8F76D308}" dt="2022-04-08T06:30:31.264" v="434"/>
          <ac:spMkLst>
            <pc:docMk/>
            <pc:sldMk cId="0" sldId="260"/>
            <ac:spMk id="168" creationId="{B46F2C07-EF97-43F1-9596-694A658E7DB7}"/>
          </ac:spMkLst>
        </pc:spChg>
        <pc:spChg chg="add del mod">
          <ac:chgData name="Kebba Jeng" userId="fe4cc296-ba7d-48a2-8799-89b58d218255" providerId="ADAL" clId="{FCBD5683-BE61-41A3-82A3-992D8F76D308}" dt="2022-04-08T06:30:31.264" v="434"/>
          <ac:spMkLst>
            <pc:docMk/>
            <pc:sldMk cId="0" sldId="260"/>
            <ac:spMk id="169" creationId="{F3A29F9B-3853-4253-A763-1F071F577C92}"/>
          </ac:spMkLst>
        </pc:spChg>
        <pc:spChg chg="add del mod">
          <ac:chgData name="Kebba Jeng" userId="fe4cc296-ba7d-48a2-8799-89b58d218255" providerId="ADAL" clId="{FCBD5683-BE61-41A3-82A3-992D8F76D308}" dt="2022-04-08T06:30:31.264" v="434"/>
          <ac:spMkLst>
            <pc:docMk/>
            <pc:sldMk cId="0" sldId="260"/>
            <ac:spMk id="170" creationId="{AC6AFEA6-1E44-4705-8555-AB37B00B930D}"/>
          </ac:spMkLst>
        </pc:spChg>
        <pc:spChg chg="add del mod">
          <ac:chgData name="Kebba Jeng" userId="fe4cc296-ba7d-48a2-8799-89b58d218255" providerId="ADAL" clId="{FCBD5683-BE61-41A3-82A3-992D8F76D308}" dt="2022-04-08T06:30:31.264" v="434"/>
          <ac:spMkLst>
            <pc:docMk/>
            <pc:sldMk cId="0" sldId="260"/>
            <ac:spMk id="171" creationId="{F14DBF7B-BDCC-4D9F-BE42-D60CB82992A2}"/>
          </ac:spMkLst>
        </pc:spChg>
        <pc:spChg chg="add del mod">
          <ac:chgData name="Kebba Jeng" userId="fe4cc296-ba7d-48a2-8799-89b58d218255" providerId="ADAL" clId="{FCBD5683-BE61-41A3-82A3-992D8F76D308}" dt="2022-04-08T06:30:31.264" v="434"/>
          <ac:spMkLst>
            <pc:docMk/>
            <pc:sldMk cId="0" sldId="260"/>
            <ac:spMk id="172" creationId="{9DE6151A-CD58-4F88-9065-1919B498A0B3}"/>
          </ac:spMkLst>
        </pc:spChg>
        <pc:spChg chg="add del mod">
          <ac:chgData name="Kebba Jeng" userId="fe4cc296-ba7d-48a2-8799-89b58d218255" providerId="ADAL" clId="{FCBD5683-BE61-41A3-82A3-992D8F76D308}" dt="2022-04-08T06:30:31.264" v="434"/>
          <ac:spMkLst>
            <pc:docMk/>
            <pc:sldMk cId="0" sldId="260"/>
            <ac:spMk id="173" creationId="{8520B51F-8F14-4D30-B1AF-5EA97022D690}"/>
          </ac:spMkLst>
        </pc:spChg>
        <pc:spChg chg="add del mod">
          <ac:chgData name="Kebba Jeng" userId="fe4cc296-ba7d-48a2-8799-89b58d218255" providerId="ADAL" clId="{FCBD5683-BE61-41A3-82A3-992D8F76D308}" dt="2022-04-08T06:30:31.264" v="434"/>
          <ac:spMkLst>
            <pc:docMk/>
            <pc:sldMk cId="0" sldId="260"/>
            <ac:spMk id="174" creationId="{FFC98D50-0F2E-4E50-9E8D-2B966E7ED118}"/>
          </ac:spMkLst>
        </pc:spChg>
        <pc:spChg chg="add del mod">
          <ac:chgData name="Kebba Jeng" userId="fe4cc296-ba7d-48a2-8799-89b58d218255" providerId="ADAL" clId="{FCBD5683-BE61-41A3-82A3-992D8F76D308}" dt="2022-04-08T06:30:31.264" v="434"/>
          <ac:spMkLst>
            <pc:docMk/>
            <pc:sldMk cId="0" sldId="260"/>
            <ac:spMk id="175" creationId="{5010F934-30A4-4B90-8796-FCF99763FA42}"/>
          </ac:spMkLst>
        </pc:spChg>
        <pc:spChg chg="add del mod">
          <ac:chgData name="Kebba Jeng" userId="fe4cc296-ba7d-48a2-8799-89b58d218255" providerId="ADAL" clId="{FCBD5683-BE61-41A3-82A3-992D8F76D308}" dt="2022-04-08T06:30:31.264" v="434"/>
          <ac:spMkLst>
            <pc:docMk/>
            <pc:sldMk cId="0" sldId="260"/>
            <ac:spMk id="176" creationId="{CCC7355B-999B-4D97-8A58-E4C8503360F5}"/>
          </ac:spMkLst>
        </pc:spChg>
        <pc:spChg chg="add del mod">
          <ac:chgData name="Kebba Jeng" userId="fe4cc296-ba7d-48a2-8799-89b58d218255" providerId="ADAL" clId="{FCBD5683-BE61-41A3-82A3-992D8F76D308}" dt="2022-04-08T06:30:31.264" v="434"/>
          <ac:spMkLst>
            <pc:docMk/>
            <pc:sldMk cId="0" sldId="260"/>
            <ac:spMk id="177" creationId="{059C3BB9-B02E-471A-BC95-894A8FD7260D}"/>
          </ac:spMkLst>
        </pc:spChg>
        <pc:spChg chg="add del mod">
          <ac:chgData name="Kebba Jeng" userId="fe4cc296-ba7d-48a2-8799-89b58d218255" providerId="ADAL" clId="{FCBD5683-BE61-41A3-82A3-992D8F76D308}" dt="2022-04-08T06:30:31.264" v="434"/>
          <ac:spMkLst>
            <pc:docMk/>
            <pc:sldMk cId="0" sldId="260"/>
            <ac:spMk id="178" creationId="{4EC0AE3A-5E26-4F4D-BFD6-EC9674B6A773}"/>
          </ac:spMkLst>
        </pc:spChg>
        <pc:spChg chg="add del mod">
          <ac:chgData name="Kebba Jeng" userId="fe4cc296-ba7d-48a2-8799-89b58d218255" providerId="ADAL" clId="{FCBD5683-BE61-41A3-82A3-992D8F76D308}" dt="2022-04-08T06:30:31.264" v="434"/>
          <ac:spMkLst>
            <pc:docMk/>
            <pc:sldMk cId="0" sldId="260"/>
            <ac:spMk id="179" creationId="{A602F8F9-633D-4E95-B393-A269F4CE908D}"/>
          </ac:spMkLst>
        </pc:spChg>
        <pc:spChg chg="add del mod">
          <ac:chgData name="Kebba Jeng" userId="fe4cc296-ba7d-48a2-8799-89b58d218255" providerId="ADAL" clId="{FCBD5683-BE61-41A3-82A3-992D8F76D308}" dt="2022-04-08T06:30:31.264" v="434"/>
          <ac:spMkLst>
            <pc:docMk/>
            <pc:sldMk cId="0" sldId="260"/>
            <ac:spMk id="180" creationId="{9ED4F941-A808-4004-AA9D-22634EA65199}"/>
          </ac:spMkLst>
        </pc:spChg>
        <pc:spChg chg="add del mod">
          <ac:chgData name="Kebba Jeng" userId="fe4cc296-ba7d-48a2-8799-89b58d218255" providerId="ADAL" clId="{FCBD5683-BE61-41A3-82A3-992D8F76D308}" dt="2022-04-08T06:30:31.264" v="434"/>
          <ac:spMkLst>
            <pc:docMk/>
            <pc:sldMk cId="0" sldId="260"/>
            <ac:spMk id="181" creationId="{ADC3C67A-26CF-4858-ADDF-EEA8ADABDCFD}"/>
          </ac:spMkLst>
        </pc:spChg>
        <pc:spChg chg="add del mod">
          <ac:chgData name="Kebba Jeng" userId="fe4cc296-ba7d-48a2-8799-89b58d218255" providerId="ADAL" clId="{FCBD5683-BE61-41A3-82A3-992D8F76D308}" dt="2022-04-08T06:30:31.264" v="434"/>
          <ac:spMkLst>
            <pc:docMk/>
            <pc:sldMk cId="0" sldId="260"/>
            <ac:spMk id="182" creationId="{B469EAFD-9BB9-4BF4-8683-2FA070E2139B}"/>
          </ac:spMkLst>
        </pc:spChg>
        <pc:spChg chg="add del mod">
          <ac:chgData name="Kebba Jeng" userId="fe4cc296-ba7d-48a2-8799-89b58d218255" providerId="ADAL" clId="{FCBD5683-BE61-41A3-82A3-992D8F76D308}" dt="2022-04-08T06:30:31.264" v="434"/>
          <ac:spMkLst>
            <pc:docMk/>
            <pc:sldMk cId="0" sldId="260"/>
            <ac:spMk id="183" creationId="{3D6D760C-38E1-4DFE-BBD0-6C29BCF372AF}"/>
          </ac:spMkLst>
        </pc:spChg>
        <pc:spChg chg="add del mod">
          <ac:chgData name="Kebba Jeng" userId="fe4cc296-ba7d-48a2-8799-89b58d218255" providerId="ADAL" clId="{FCBD5683-BE61-41A3-82A3-992D8F76D308}" dt="2022-04-08T06:30:31.264" v="434"/>
          <ac:spMkLst>
            <pc:docMk/>
            <pc:sldMk cId="0" sldId="260"/>
            <ac:spMk id="184" creationId="{25BCE871-9CAE-4622-9CB0-58B994589AE0}"/>
          </ac:spMkLst>
        </pc:spChg>
        <pc:spChg chg="add del mod">
          <ac:chgData name="Kebba Jeng" userId="fe4cc296-ba7d-48a2-8799-89b58d218255" providerId="ADAL" clId="{FCBD5683-BE61-41A3-82A3-992D8F76D308}" dt="2022-04-08T06:30:31.264" v="434"/>
          <ac:spMkLst>
            <pc:docMk/>
            <pc:sldMk cId="0" sldId="260"/>
            <ac:spMk id="185" creationId="{88D2E24B-58E9-45A2-AC5A-F5BC71ECD40D}"/>
          </ac:spMkLst>
        </pc:spChg>
        <pc:spChg chg="add del mod">
          <ac:chgData name="Kebba Jeng" userId="fe4cc296-ba7d-48a2-8799-89b58d218255" providerId="ADAL" clId="{FCBD5683-BE61-41A3-82A3-992D8F76D308}" dt="2022-04-08T06:30:31.264" v="434"/>
          <ac:spMkLst>
            <pc:docMk/>
            <pc:sldMk cId="0" sldId="260"/>
            <ac:spMk id="186" creationId="{116CA8FF-0D17-4122-A681-38418F178A05}"/>
          </ac:spMkLst>
        </pc:spChg>
        <pc:spChg chg="add del mod">
          <ac:chgData name="Kebba Jeng" userId="fe4cc296-ba7d-48a2-8799-89b58d218255" providerId="ADAL" clId="{FCBD5683-BE61-41A3-82A3-992D8F76D308}" dt="2022-04-08T06:30:31.264" v="434"/>
          <ac:spMkLst>
            <pc:docMk/>
            <pc:sldMk cId="0" sldId="260"/>
            <ac:spMk id="187" creationId="{C83546D0-D06B-46F6-9B59-10B0D7C03CE5}"/>
          </ac:spMkLst>
        </pc:spChg>
        <pc:spChg chg="add del mod">
          <ac:chgData name="Kebba Jeng" userId="fe4cc296-ba7d-48a2-8799-89b58d218255" providerId="ADAL" clId="{FCBD5683-BE61-41A3-82A3-992D8F76D308}" dt="2022-04-08T06:30:31.264" v="434"/>
          <ac:spMkLst>
            <pc:docMk/>
            <pc:sldMk cId="0" sldId="260"/>
            <ac:spMk id="188" creationId="{B0186D32-C718-457D-9402-D2B917D58E47}"/>
          </ac:spMkLst>
        </pc:spChg>
        <pc:spChg chg="add del mod">
          <ac:chgData name="Kebba Jeng" userId="fe4cc296-ba7d-48a2-8799-89b58d218255" providerId="ADAL" clId="{FCBD5683-BE61-41A3-82A3-992D8F76D308}" dt="2022-04-08T06:30:31.264" v="434"/>
          <ac:spMkLst>
            <pc:docMk/>
            <pc:sldMk cId="0" sldId="260"/>
            <ac:spMk id="189" creationId="{5A85FFCC-24C8-4926-9B82-E777FABE49B3}"/>
          </ac:spMkLst>
        </pc:spChg>
        <pc:spChg chg="add del mod">
          <ac:chgData name="Kebba Jeng" userId="fe4cc296-ba7d-48a2-8799-89b58d218255" providerId="ADAL" clId="{FCBD5683-BE61-41A3-82A3-992D8F76D308}" dt="2022-04-08T06:30:31.264" v="434"/>
          <ac:spMkLst>
            <pc:docMk/>
            <pc:sldMk cId="0" sldId="260"/>
            <ac:spMk id="190" creationId="{DE27C919-680F-4E70-8430-912D0D22D91C}"/>
          </ac:spMkLst>
        </pc:spChg>
        <pc:spChg chg="add del mod">
          <ac:chgData name="Kebba Jeng" userId="fe4cc296-ba7d-48a2-8799-89b58d218255" providerId="ADAL" clId="{FCBD5683-BE61-41A3-82A3-992D8F76D308}" dt="2022-04-08T06:30:31.264" v="434"/>
          <ac:spMkLst>
            <pc:docMk/>
            <pc:sldMk cId="0" sldId="260"/>
            <ac:spMk id="191" creationId="{D87D4FE7-007E-4364-A65E-50B2416451AA}"/>
          </ac:spMkLst>
        </pc:spChg>
        <pc:spChg chg="add del mod">
          <ac:chgData name="Kebba Jeng" userId="fe4cc296-ba7d-48a2-8799-89b58d218255" providerId="ADAL" clId="{FCBD5683-BE61-41A3-82A3-992D8F76D308}" dt="2022-04-08T06:30:31.264" v="434"/>
          <ac:spMkLst>
            <pc:docMk/>
            <pc:sldMk cId="0" sldId="260"/>
            <ac:spMk id="192" creationId="{8F675633-2729-4557-BCF2-1E82C8CD1D8F}"/>
          </ac:spMkLst>
        </pc:spChg>
        <pc:spChg chg="add del mod">
          <ac:chgData name="Kebba Jeng" userId="fe4cc296-ba7d-48a2-8799-89b58d218255" providerId="ADAL" clId="{FCBD5683-BE61-41A3-82A3-992D8F76D308}" dt="2022-04-08T06:30:31.264" v="434"/>
          <ac:spMkLst>
            <pc:docMk/>
            <pc:sldMk cId="0" sldId="260"/>
            <ac:spMk id="193" creationId="{8B611F15-8C41-456A-8017-5299604A8887}"/>
          </ac:spMkLst>
        </pc:spChg>
        <pc:spChg chg="add del mod">
          <ac:chgData name="Kebba Jeng" userId="fe4cc296-ba7d-48a2-8799-89b58d218255" providerId="ADAL" clId="{FCBD5683-BE61-41A3-82A3-992D8F76D308}" dt="2022-04-08T06:30:31.264" v="434"/>
          <ac:spMkLst>
            <pc:docMk/>
            <pc:sldMk cId="0" sldId="260"/>
            <ac:spMk id="194" creationId="{74A240AF-D7AB-4977-9D78-11E7BBF417AF}"/>
          </ac:spMkLst>
        </pc:spChg>
        <pc:spChg chg="add del mod">
          <ac:chgData name="Kebba Jeng" userId="fe4cc296-ba7d-48a2-8799-89b58d218255" providerId="ADAL" clId="{FCBD5683-BE61-41A3-82A3-992D8F76D308}" dt="2022-04-08T06:30:31.264" v="434"/>
          <ac:spMkLst>
            <pc:docMk/>
            <pc:sldMk cId="0" sldId="260"/>
            <ac:spMk id="195" creationId="{6A6B4D21-AD62-465A-AE81-CE7A99CAEBEA}"/>
          </ac:spMkLst>
        </pc:spChg>
        <pc:spChg chg="add del mod">
          <ac:chgData name="Kebba Jeng" userId="fe4cc296-ba7d-48a2-8799-89b58d218255" providerId="ADAL" clId="{FCBD5683-BE61-41A3-82A3-992D8F76D308}" dt="2022-04-08T06:30:31.264" v="434"/>
          <ac:spMkLst>
            <pc:docMk/>
            <pc:sldMk cId="0" sldId="260"/>
            <ac:spMk id="196" creationId="{F10A8A6D-D673-4BF1-B9EA-04D287CF22E6}"/>
          </ac:spMkLst>
        </pc:spChg>
        <pc:spChg chg="add del mod">
          <ac:chgData name="Kebba Jeng" userId="fe4cc296-ba7d-48a2-8799-89b58d218255" providerId="ADAL" clId="{FCBD5683-BE61-41A3-82A3-992D8F76D308}" dt="2022-04-08T06:30:31.264" v="434"/>
          <ac:spMkLst>
            <pc:docMk/>
            <pc:sldMk cId="0" sldId="260"/>
            <ac:spMk id="197" creationId="{804B0E0F-BA50-484B-B56C-732B509A80C6}"/>
          </ac:spMkLst>
        </pc:spChg>
        <pc:spChg chg="add del mod">
          <ac:chgData name="Kebba Jeng" userId="fe4cc296-ba7d-48a2-8799-89b58d218255" providerId="ADAL" clId="{FCBD5683-BE61-41A3-82A3-992D8F76D308}" dt="2022-04-08T06:30:31.264" v="434"/>
          <ac:spMkLst>
            <pc:docMk/>
            <pc:sldMk cId="0" sldId="260"/>
            <ac:spMk id="198" creationId="{2FBFBF93-ADFB-4CD0-8D4E-C033243FE9D7}"/>
          </ac:spMkLst>
        </pc:spChg>
        <pc:spChg chg="add del mod">
          <ac:chgData name="Kebba Jeng" userId="fe4cc296-ba7d-48a2-8799-89b58d218255" providerId="ADAL" clId="{FCBD5683-BE61-41A3-82A3-992D8F76D308}" dt="2022-04-08T06:30:31.264" v="434"/>
          <ac:spMkLst>
            <pc:docMk/>
            <pc:sldMk cId="0" sldId="260"/>
            <ac:spMk id="199" creationId="{8064654E-0744-477B-9E33-72D65B5FD484}"/>
          </ac:spMkLst>
        </pc:spChg>
        <pc:spChg chg="add del mod">
          <ac:chgData name="Kebba Jeng" userId="fe4cc296-ba7d-48a2-8799-89b58d218255" providerId="ADAL" clId="{FCBD5683-BE61-41A3-82A3-992D8F76D308}" dt="2022-04-08T06:30:31.264" v="434"/>
          <ac:spMkLst>
            <pc:docMk/>
            <pc:sldMk cId="0" sldId="260"/>
            <ac:spMk id="200" creationId="{D9999F7C-1F2E-4705-BB2C-EA2B65F7FEF5}"/>
          </ac:spMkLst>
        </pc:spChg>
        <pc:spChg chg="add del mod">
          <ac:chgData name="Kebba Jeng" userId="fe4cc296-ba7d-48a2-8799-89b58d218255" providerId="ADAL" clId="{FCBD5683-BE61-41A3-82A3-992D8F76D308}" dt="2022-04-08T06:30:31.264" v="434"/>
          <ac:spMkLst>
            <pc:docMk/>
            <pc:sldMk cId="0" sldId="260"/>
            <ac:spMk id="201" creationId="{9628475E-C147-4041-870C-54ACCFA90F98}"/>
          </ac:spMkLst>
        </pc:spChg>
        <pc:spChg chg="del">
          <ac:chgData name="Kebba Jeng" userId="fe4cc296-ba7d-48a2-8799-89b58d218255" providerId="ADAL" clId="{FCBD5683-BE61-41A3-82A3-992D8F76D308}" dt="2022-04-01T17:07:30.093" v="7" actId="478"/>
          <ac:spMkLst>
            <pc:docMk/>
            <pc:sldMk cId="0" sldId="260"/>
            <ac:spMk id="523" creationId="{00000000-0000-0000-0000-000000000000}"/>
          </ac:spMkLst>
        </pc:spChg>
        <pc:picChg chg="add mod ord">
          <ac:chgData name="Kebba Jeng" userId="fe4cc296-ba7d-48a2-8799-89b58d218255" providerId="ADAL" clId="{FCBD5683-BE61-41A3-82A3-992D8F76D308}" dt="2022-04-08T06:30:46.500" v="440" actId="1076"/>
          <ac:picMkLst>
            <pc:docMk/>
            <pc:sldMk cId="0" sldId="260"/>
            <ac:picMk id="2" creationId="{2BCE666D-2249-4405-B933-BBFFB254E7D2}"/>
          </ac:picMkLst>
        </pc:picChg>
        <pc:picChg chg="del mod">
          <ac:chgData name="Kebba Jeng" userId="fe4cc296-ba7d-48a2-8799-89b58d218255" providerId="ADAL" clId="{FCBD5683-BE61-41A3-82A3-992D8F76D308}" dt="2022-04-08T06:30:41.583" v="438" actId="478"/>
          <ac:picMkLst>
            <pc:docMk/>
            <pc:sldMk cId="0" sldId="260"/>
            <ac:picMk id="6" creationId="{548DCB64-C9C2-4428-981A-5CEF2F9FBE93}"/>
          </ac:picMkLst>
        </pc:picChg>
        <pc:picChg chg="mod">
          <ac:chgData name="Kebba Jeng" userId="fe4cc296-ba7d-48a2-8799-89b58d218255" providerId="ADAL" clId="{FCBD5683-BE61-41A3-82A3-992D8F76D308}" dt="2022-04-01T17:07:51.848" v="15" actId="1076"/>
          <ac:picMkLst>
            <pc:docMk/>
            <pc:sldMk cId="0" sldId="260"/>
            <ac:picMk id="522" creationId="{00000000-0000-0000-0000-000000000000}"/>
          </ac:picMkLst>
        </pc:picChg>
      </pc:sldChg>
      <pc:sldChg chg="addSp delSp modSp del mod modNotesTx">
        <pc:chgData name="Kebba Jeng" userId="fe4cc296-ba7d-48a2-8799-89b58d218255" providerId="ADAL" clId="{FCBD5683-BE61-41A3-82A3-992D8F76D308}" dt="2022-04-01T17:25:00.713" v="159" actId="47"/>
        <pc:sldMkLst>
          <pc:docMk/>
          <pc:sldMk cId="0" sldId="261"/>
        </pc:sldMkLst>
        <pc:spChg chg="del">
          <ac:chgData name="Kebba Jeng" userId="fe4cc296-ba7d-48a2-8799-89b58d218255" providerId="ADAL" clId="{FCBD5683-BE61-41A3-82A3-992D8F76D308}" dt="2022-04-01T17:08:15.813" v="20" actId="478"/>
          <ac:spMkLst>
            <pc:docMk/>
            <pc:sldMk cId="0" sldId="261"/>
            <ac:spMk id="2" creationId="{CD937EA4-3F52-4E64-992E-36C9D2E6779F}"/>
          </ac:spMkLst>
        </pc:spChg>
        <pc:spChg chg="mod">
          <ac:chgData name="Kebba Jeng" userId="fe4cc296-ba7d-48a2-8799-89b58d218255" providerId="ADAL" clId="{FCBD5683-BE61-41A3-82A3-992D8F76D308}" dt="2022-04-01T17:09:12.156" v="58" actId="1076"/>
          <ac:spMkLst>
            <pc:docMk/>
            <pc:sldMk cId="0" sldId="261"/>
            <ac:spMk id="8" creationId="{74647358-158C-46FD-9C13-7E35AC243095}"/>
          </ac:spMkLst>
        </pc:spChg>
        <pc:spChg chg="mod">
          <ac:chgData name="Kebba Jeng" userId="fe4cc296-ba7d-48a2-8799-89b58d218255" providerId="ADAL" clId="{FCBD5683-BE61-41A3-82A3-992D8F76D308}" dt="2022-04-01T17:09:12.156" v="58" actId="1076"/>
          <ac:spMkLst>
            <pc:docMk/>
            <pc:sldMk cId="0" sldId="261"/>
            <ac:spMk id="9" creationId="{C9B83C28-3B84-4DEC-B622-917B61297A29}"/>
          </ac:spMkLst>
        </pc:spChg>
        <pc:spChg chg="del mod">
          <ac:chgData name="Kebba Jeng" userId="fe4cc296-ba7d-48a2-8799-89b58d218255" providerId="ADAL" clId="{FCBD5683-BE61-41A3-82A3-992D8F76D308}" dt="2022-04-01T17:10:42.831" v="68" actId="478"/>
          <ac:spMkLst>
            <pc:docMk/>
            <pc:sldMk cId="0" sldId="261"/>
            <ac:spMk id="1112" creationId="{F14CFA2A-1C72-43E9-937D-93FCE1820995}"/>
          </ac:spMkLst>
        </pc:spChg>
        <pc:spChg chg="del mod">
          <ac:chgData name="Kebba Jeng" userId="fe4cc296-ba7d-48a2-8799-89b58d218255" providerId="ADAL" clId="{FCBD5683-BE61-41A3-82A3-992D8F76D308}" dt="2022-04-01T17:10:46.850" v="69" actId="478"/>
          <ac:spMkLst>
            <pc:docMk/>
            <pc:sldMk cId="0" sldId="261"/>
            <ac:spMk id="1113" creationId="{892717BF-3EE1-48E7-AF9C-D1059AD041E0}"/>
          </ac:spMkLst>
        </pc:spChg>
        <pc:spChg chg="del mod">
          <ac:chgData name="Kebba Jeng" userId="fe4cc296-ba7d-48a2-8799-89b58d218255" providerId="ADAL" clId="{FCBD5683-BE61-41A3-82A3-992D8F76D308}" dt="2022-04-01T17:10:37.005" v="66" actId="478"/>
          <ac:spMkLst>
            <pc:docMk/>
            <pc:sldMk cId="0" sldId="261"/>
            <ac:spMk id="1891" creationId="{9F2A9366-C2B7-4701-9311-32D822031E99}"/>
          </ac:spMkLst>
        </pc:spChg>
        <pc:spChg chg="mod">
          <ac:chgData name="Kebba Jeng" userId="fe4cc296-ba7d-48a2-8799-89b58d218255" providerId="ADAL" clId="{FCBD5683-BE61-41A3-82A3-992D8F76D308}" dt="2022-04-01T17:09:12.156" v="58" actId="1076"/>
          <ac:spMkLst>
            <pc:docMk/>
            <pc:sldMk cId="0" sldId="261"/>
            <ac:spMk id="1892" creationId="{B4DAC36F-1CBB-40E5-9DBF-9C98975C2DA7}"/>
          </ac:spMkLst>
        </pc:spChg>
        <pc:spChg chg="del mod topLvl">
          <ac:chgData name="Kebba Jeng" userId="fe4cc296-ba7d-48a2-8799-89b58d218255" providerId="ADAL" clId="{FCBD5683-BE61-41A3-82A3-992D8F76D308}" dt="2022-04-01T17:10:59.595" v="70" actId="478"/>
          <ac:spMkLst>
            <pc:docMk/>
            <pc:sldMk cId="0" sldId="261"/>
            <ac:spMk id="1893" creationId="{759EE0F5-4E97-4309-9E36-F8398C06B3A8}"/>
          </ac:spMkLst>
        </pc:spChg>
        <pc:spChg chg="del mod">
          <ac:chgData name="Kebba Jeng" userId="fe4cc296-ba7d-48a2-8799-89b58d218255" providerId="ADAL" clId="{FCBD5683-BE61-41A3-82A3-992D8F76D308}" dt="2022-04-01T17:10:59.595" v="70" actId="478"/>
          <ac:spMkLst>
            <pc:docMk/>
            <pc:sldMk cId="0" sldId="261"/>
            <ac:spMk id="1894" creationId="{E466B3DC-888E-4679-9A1B-E18944BA62AD}"/>
          </ac:spMkLst>
        </pc:spChg>
        <pc:spChg chg="del mod">
          <ac:chgData name="Kebba Jeng" userId="fe4cc296-ba7d-48a2-8799-89b58d218255" providerId="ADAL" clId="{FCBD5683-BE61-41A3-82A3-992D8F76D308}" dt="2022-04-01T17:10:59.595" v="70" actId="478"/>
          <ac:spMkLst>
            <pc:docMk/>
            <pc:sldMk cId="0" sldId="261"/>
            <ac:spMk id="1895" creationId="{4416A948-B53D-4E74-AA0D-813A57E5BF0C}"/>
          </ac:spMkLst>
        </pc:spChg>
        <pc:spChg chg="mod">
          <ac:chgData name="Kebba Jeng" userId="fe4cc296-ba7d-48a2-8799-89b58d218255" providerId="ADAL" clId="{FCBD5683-BE61-41A3-82A3-992D8F76D308}" dt="2022-04-01T17:10:24.734" v="64" actId="1076"/>
          <ac:spMkLst>
            <pc:docMk/>
            <pc:sldMk cId="0" sldId="261"/>
            <ac:spMk id="1896" creationId="{4A5937D3-B3B5-486F-AAE3-578961016B35}"/>
          </ac:spMkLst>
        </pc:spChg>
        <pc:spChg chg="mod">
          <ac:chgData name="Kebba Jeng" userId="fe4cc296-ba7d-48a2-8799-89b58d218255" providerId="ADAL" clId="{FCBD5683-BE61-41A3-82A3-992D8F76D308}" dt="2022-04-01T17:10:24.734" v="64" actId="1076"/>
          <ac:spMkLst>
            <pc:docMk/>
            <pc:sldMk cId="0" sldId="261"/>
            <ac:spMk id="1897" creationId="{671D742B-2FFD-4344-9250-71A059C11927}"/>
          </ac:spMkLst>
        </pc:spChg>
        <pc:spChg chg="mod">
          <ac:chgData name="Kebba Jeng" userId="fe4cc296-ba7d-48a2-8799-89b58d218255" providerId="ADAL" clId="{FCBD5683-BE61-41A3-82A3-992D8F76D308}" dt="2022-04-01T17:10:24.734" v="64" actId="1076"/>
          <ac:spMkLst>
            <pc:docMk/>
            <pc:sldMk cId="0" sldId="261"/>
            <ac:spMk id="1898" creationId="{9965CFE3-F405-4532-A9AD-DBF78C38C08F}"/>
          </ac:spMkLst>
        </pc:spChg>
        <pc:grpChg chg="add del mod">
          <ac:chgData name="Kebba Jeng" userId="fe4cc296-ba7d-48a2-8799-89b58d218255" providerId="ADAL" clId="{FCBD5683-BE61-41A3-82A3-992D8F76D308}" dt="2022-04-01T17:10:59.595" v="70" actId="478"/>
          <ac:grpSpMkLst>
            <pc:docMk/>
            <pc:sldMk cId="0" sldId="261"/>
            <ac:grpSpMk id="4" creationId="{E852C40F-55E4-4ABC-A318-1277D6EB94A8}"/>
          </ac:grpSpMkLst>
        </pc:grpChg>
        <pc:picChg chg="mod">
          <ac:chgData name="Kebba Jeng" userId="fe4cc296-ba7d-48a2-8799-89b58d218255" providerId="ADAL" clId="{FCBD5683-BE61-41A3-82A3-992D8F76D308}" dt="2022-04-01T17:09:12.156" v="58" actId="1076"/>
          <ac:picMkLst>
            <pc:docMk/>
            <pc:sldMk cId="0" sldId="261"/>
            <ac:picMk id="5" creationId="{4B0810EB-FF18-46B7-8B00-8AC6D9C4AF79}"/>
          </ac:picMkLst>
        </pc:picChg>
        <pc:picChg chg="mod topLvl">
          <ac:chgData name="Kebba Jeng" userId="fe4cc296-ba7d-48a2-8799-89b58d218255" providerId="ADAL" clId="{FCBD5683-BE61-41A3-82A3-992D8F76D308}" dt="2022-04-01T17:10:59.595" v="70" actId="478"/>
          <ac:picMkLst>
            <pc:docMk/>
            <pc:sldMk cId="0" sldId="261"/>
            <ac:picMk id="6" creationId="{0EBFF919-8803-4A9C-A014-4026BA78917D}"/>
          </ac:picMkLst>
        </pc:picChg>
        <pc:picChg chg="mod">
          <ac:chgData name="Kebba Jeng" userId="fe4cc296-ba7d-48a2-8799-89b58d218255" providerId="ADAL" clId="{FCBD5683-BE61-41A3-82A3-992D8F76D308}" dt="2022-04-01T17:10:24.734" v="64" actId="1076"/>
          <ac:picMkLst>
            <pc:docMk/>
            <pc:sldMk cId="0" sldId="261"/>
            <ac:picMk id="7" creationId="{D0CEEC6D-920A-4BEB-8B28-6610031F589F}"/>
          </ac:picMkLst>
        </pc:picChg>
      </pc:sldChg>
      <pc:sldChg chg="addSp modSp mod">
        <pc:chgData name="Kebba Jeng" userId="fe4cc296-ba7d-48a2-8799-89b58d218255" providerId="ADAL" clId="{FCBD5683-BE61-41A3-82A3-992D8F76D308}" dt="2022-04-07T18:26:09.885" v="325" actId="1076"/>
        <pc:sldMkLst>
          <pc:docMk/>
          <pc:sldMk cId="0" sldId="265"/>
        </pc:sldMkLst>
        <pc:spChg chg="add mod">
          <ac:chgData name="Kebba Jeng" userId="fe4cc296-ba7d-48a2-8799-89b58d218255" providerId="ADAL" clId="{FCBD5683-BE61-41A3-82A3-992D8F76D308}" dt="2022-04-07T18:26:07.444" v="323" actId="164"/>
          <ac:spMkLst>
            <pc:docMk/>
            <pc:sldMk cId="0" sldId="265"/>
            <ac:spMk id="2" creationId="{58A0A1B2-8E86-4738-8987-4CE8CAB98574}"/>
          </ac:spMkLst>
        </pc:spChg>
        <pc:spChg chg="add mod">
          <ac:chgData name="Kebba Jeng" userId="fe4cc296-ba7d-48a2-8799-89b58d218255" providerId="ADAL" clId="{FCBD5683-BE61-41A3-82A3-992D8F76D308}" dt="2022-04-07T18:26:07.444" v="323" actId="164"/>
          <ac:spMkLst>
            <pc:docMk/>
            <pc:sldMk cId="0" sldId="265"/>
            <ac:spMk id="4" creationId="{9B26D3DB-23F3-433D-9AEE-8587786AB9DF}"/>
          </ac:spMkLst>
        </pc:spChg>
        <pc:grpChg chg="add mod">
          <ac:chgData name="Kebba Jeng" userId="fe4cc296-ba7d-48a2-8799-89b58d218255" providerId="ADAL" clId="{FCBD5683-BE61-41A3-82A3-992D8F76D308}" dt="2022-04-07T18:26:09.885" v="325" actId="1076"/>
          <ac:grpSpMkLst>
            <pc:docMk/>
            <pc:sldMk cId="0" sldId="265"/>
            <ac:grpSpMk id="5" creationId="{4D71530D-0C54-4528-8B60-CA2DB9F73E9B}"/>
          </ac:grpSpMkLst>
        </pc:grpChg>
        <pc:picChg chg="mod">
          <ac:chgData name="Kebba Jeng" userId="fe4cc296-ba7d-48a2-8799-89b58d218255" providerId="ADAL" clId="{FCBD5683-BE61-41A3-82A3-992D8F76D308}" dt="2022-04-07T18:26:07.444" v="323" actId="164"/>
          <ac:picMkLst>
            <pc:docMk/>
            <pc:sldMk cId="0" sldId="265"/>
            <ac:picMk id="3" creationId="{4BDFF86A-3ECB-492F-A1C6-3DC21A864F06}"/>
          </ac:picMkLst>
        </pc:picChg>
      </pc:sldChg>
      <pc:sldChg chg="delSp modSp mod modNotesTx">
        <pc:chgData name="Kebba Jeng" userId="fe4cc296-ba7d-48a2-8799-89b58d218255" providerId="ADAL" clId="{FCBD5683-BE61-41A3-82A3-992D8F76D308}" dt="2022-04-03T13:41:37.245" v="224" actId="14100"/>
        <pc:sldMkLst>
          <pc:docMk/>
          <pc:sldMk cId="0" sldId="266"/>
        </pc:sldMkLst>
        <pc:spChg chg="del">
          <ac:chgData name="Kebba Jeng" userId="fe4cc296-ba7d-48a2-8799-89b58d218255" providerId="ADAL" clId="{FCBD5683-BE61-41A3-82A3-992D8F76D308}" dt="2022-04-03T13:41:29.610" v="222" actId="478"/>
          <ac:spMkLst>
            <pc:docMk/>
            <pc:sldMk cId="0" sldId="266"/>
            <ac:spMk id="398" creationId="{0B2DA253-2B6E-4C8A-9F57-C5AFC7D3A056}"/>
          </ac:spMkLst>
        </pc:spChg>
        <pc:picChg chg="mod">
          <ac:chgData name="Kebba Jeng" userId="fe4cc296-ba7d-48a2-8799-89b58d218255" providerId="ADAL" clId="{FCBD5683-BE61-41A3-82A3-992D8F76D308}" dt="2022-04-03T13:41:37.245" v="224" actId="14100"/>
          <ac:picMkLst>
            <pc:docMk/>
            <pc:sldMk cId="0" sldId="266"/>
            <ac:picMk id="22" creationId="{400BC747-FD88-464F-83C2-9E2E9D48AF55}"/>
          </ac:picMkLst>
        </pc:picChg>
      </pc:sldChg>
      <pc:sldChg chg="modSp mod ord">
        <pc:chgData name="Kebba Jeng" userId="fe4cc296-ba7d-48a2-8799-89b58d218255" providerId="ADAL" clId="{FCBD5683-BE61-41A3-82A3-992D8F76D308}" dt="2022-04-07T18:26:26.864" v="327"/>
        <pc:sldMkLst>
          <pc:docMk/>
          <pc:sldMk cId="0" sldId="268"/>
        </pc:sldMkLst>
        <pc:spChg chg="mod">
          <ac:chgData name="Kebba Jeng" userId="fe4cc296-ba7d-48a2-8799-89b58d218255" providerId="ADAL" clId="{FCBD5683-BE61-41A3-82A3-992D8F76D308}" dt="2022-04-07T18:24:59.630" v="301" actId="20577"/>
          <ac:spMkLst>
            <pc:docMk/>
            <pc:sldMk cId="0" sldId="268"/>
            <ac:spMk id="1933" creationId="{00000000-0000-0000-0000-000000000000}"/>
          </ac:spMkLst>
        </pc:spChg>
      </pc:sldChg>
      <pc:sldChg chg="ord">
        <pc:chgData name="Kebba Jeng" userId="fe4cc296-ba7d-48a2-8799-89b58d218255" providerId="ADAL" clId="{FCBD5683-BE61-41A3-82A3-992D8F76D308}" dt="2022-04-08T07:16:43.700" v="493"/>
        <pc:sldMkLst>
          <pc:docMk/>
          <pc:sldMk cId="2429919112" sldId="270"/>
        </pc:sldMkLst>
      </pc:sldChg>
      <pc:sldChg chg="delSp modSp mod modAnim">
        <pc:chgData name="Kebba Jeng" userId="fe4cc296-ba7d-48a2-8799-89b58d218255" providerId="ADAL" clId="{FCBD5683-BE61-41A3-82A3-992D8F76D308}" dt="2022-04-08T06:37:19.320" v="475"/>
        <pc:sldMkLst>
          <pc:docMk/>
          <pc:sldMk cId="3958965365" sldId="2134803539"/>
        </pc:sldMkLst>
        <pc:spChg chg="mod">
          <ac:chgData name="Kebba Jeng" userId="fe4cc296-ba7d-48a2-8799-89b58d218255" providerId="ADAL" clId="{FCBD5683-BE61-41A3-82A3-992D8F76D308}" dt="2022-04-07T18:04:23.272" v="236" actId="165"/>
          <ac:spMkLst>
            <pc:docMk/>
            <pc:sldMk cId="3958965365" sldId="2134803539"/>
            <ac:spMk id="4" creationId="{1822B14F-87E7-4C5D-A492-B22C4CFA35D7}"/>
          </ac:spMkLst>
        </pc:spChg>
        <pc:spChg chg="mod topLvl">
          <ac:chgData name="Kebba Jeng" userId="fe4cc296-ba7d-48a2-8799-89b58d218255" providerId="ADAL" clId="{FCBD5683-BE61-41A3-82A3-992D8F76D308}" dt="2022-04-07T18:04:23.272" v="236" actId="165"/>
          <ac:spMkLst>
            <pc:docMk/>
            <pc:sldMk cId="3958965365" sldId="2134803539"/>
            <ac:spMk id="5" creationId="{B44510C5-883B-4C3C-A349-A70D813AB333}"/>
          </ac:spMkLst>
        </pc:spChg>
        <pc:spChg chg="mod topLvl">
          <ac:chgData name="Kebba Jeng" userId="fe4cc296-ba7d-48a2-8799-89b58d218255" providerId="ADAL" clId="{FCBD5683-BE61-41A3-82A3-992D8F76D308}" dt="2022-04-07T18:04:23.272" v="236" actId="165"/>
          <ac:spMkLst>
            <pc:docMk/>
            <pc:sldMk cId="3958965365" sldId="2134803539"/>
            <ac:spMk id="14" creationId="{B879B74E-7175-4F6E-977B-C032CA2CCA8D}"/>
          </ac:spMkLst>
        </pc:spChg>
        <pc:spChg chg="mod topLvl">
          <ac:chgData name="Kebba Jeng" userId="fe4cc296-ba7d-48a2-8799-89b58d218255" providerId="ADAL" clId="{FCBD5683-BE61-41A3-82A3-992D8F76D308}" dt="2022-04-07T18:04:23.272" v="236" actId="165"/>
          <ac:spMkLst>
            <pc:docMk/>
            <pc:sldMk cId="3958965365" sldId="2134803539"/>
            <ac:spMk id="16" creationId="{2B4C7D23-844E-4200-9E91-1F40B538E330}"/>
          </ac:spMkLst>
        </pc:spChg>
        <pc:spChg chg="mod topLvl">
          <ac:chgData name="Kebba Jeng" userId="fe4cc296-ba7d-48a2-8799-89b58d218255" providerId="ADAL" clId="{FCBD5683-BE61-41A3-82A3-992D8F76D308}" dt="2022-04-07T18:04:23.272" v="236" actId="165"/>
          <ac:spMkLst>
            <pc:docMk/>
            <pc:sldMk cId="3958965365" sldId="2134803539"/>
            <ac:spMk id="17" creationId="{A91D31C5-1A6E-410A-965F-90DAF66C7CED}"/>
          </ac:spMkLst>
        </pc:spChg>
        <pc:spChg chg="mod topLvl">
          <ac:chgData name="Kebba Jeng" userId="fe4cc296-ba7d-48a2-8799-89b58d218255" providerId="ADAL" clId="{FCBD5683-BE61-41A3-82A3-992D8F76D308}" dt="2022-04-07T18:04:23.272" v="236" actId="165"/>
          <ac:spMkLst>
            <pc:docMk/>
            <pc:sldMk cId="3958965365" sldId="2134803539"/>
            <ac:spMk id="18" creationId="{F9B4F7AC-7FDF-42C6-9FC5-1C0851B671E5}"/>
          </ac:spMkLst>
        </pc:spChg>
        <pc:spChg chg="mod topLvl">
          <ac:chgData name="Kebba Jeng" userId="fe4cc296-ba7d-48a2-8799-89b58d218255" providerId="ADAL" clId="{FCBD5683-BE61-41A3-82A3-992D8F76D308}" dt="2022-04-07T18:04:23.272" v="236" actId="165"/>
          <ac:spMkLst>
            <pc:docMk/>
            <pc:sldMk cId="3958965365" sldId="2134803539"/>
            <ac:spMk id="21" creationId="{1FCC0068-190F-4EC9-8F0C-873B8537F161}"/>
          </ac:spMkLst>
        </pc:spChg>
        <pc:spChg chg="mod topLvl">
          <ac:chgData name="Kebba Jeng" userId="fe4cc296-ba7d-48a2-8799-89b58d218255" providerId="ADAL" clId="{FCBD5683-BE61-41A3-82A3-992D8F76D308}" dt="2022-04-07T18:04:23.272" v="236" actId="165"/>
          <ac:spMkLst>
            <pc:docMk/>
            <pc:sldMk cId="3958965365" sldId="2134803539"/>
            <ac:spMk id="22" creationId="{3A6BA24F-F4FC-41A6-990D-F75847652687}"/>
          </ac:spMkLst>
        </pc:spChg>
        <pc:spChg chg="mod topLvl">
          <ac:chgData name="Kebba Jeng" userId="fe4cc296-ba7d-48a2-8799-89b58d218255" providerId="ADAL" clId="{FCBD5683-BE61-41A3-82A3-992D8F76D308}" dt="2022-04-07T18:04:23.272" v="236" actId="165"/>
          <ac:spMkLst>
            <pc:docMk/>
            <pc:sldMk cId="3958965365" sldId="2134803539"/>
            <ac:spMk id="23" creationId="{7F4AEC53-CFD0-440F-9BAC-C5F387A50088}"/>
          </ac:spMkLst>
        </pc:spChg>
        <pc:spChg chg="mod topLvl">
          <ac:chgData name="Kebba Jeng" userId="fe4cc296-ba7d-48a2-8799-89b58d218255" providerId="ADAL" clId="{FCBD5683-BE61-41A3-82A3-992D8F76D308}" dt="2022-04-07T18:04:23.272" v="236" actId="165"/>
          <ac:spMkLst>
            <pc:docMk/>
            <pc:sldMk cId="3958965365" sldId="2134803539"/>
            <ac:spMk id="26" creationId="{F690973C-5A3E-42AF-A17A-7B0535BB6F26}"/>
          </ac:spMkLst>
        </pc:spChg>
        <pc:grpChg chg="mod topLvl">
          <ac:chgData name="Kebba Jeng" userId="fe4cc296-ba7d-48a2-8799-89b58d218255" providerId="ADAL" clId="{FCBD5683-BE61-41A3-82A3-992D8F76D308}" dt="2022-04-07T18:04:23.272" v="236" actId="165"/>
          <ac:grpSpMkLst>
            <pc:docMk/>
            <pc:sldMk cId="3958965365" sldId="2134803539"/>
            <ac:grpSpMk id="2" creationId="{E55C5BDF-72B4-4C4A-8048-776DEB9CF0AE}"/>
          </ac:grpSpMkLst>
        </pc:grpChg>
        <pc:grpChg chg="del">
          <ac:chgData name="Kebba Jeng" userId="fe4cc296-ba7d-48a2-8799-89b58d218255" providerId="ADAL" clId="{FCBD5683-BE61-41A3-82A3-992D8F76D308}" dt="2022-04-07T18:04:23.272" v="236" actId="165"/>
          <ac:grpSpMkLst>
            <pc:docMk/>
            <pc:sldMk cId="3958965365" sldId="2134803539"/>
            <ac:grpSpMk id="6" creationId="{B61A53BC-5986-4864-B22A-85CFCA22738B}"/>
          </ac:grpSpMkLst>
        </pc:grpChg>
        <pc:picChg chg="mod">
          <ac:chgData name="Kebba Jeng" userId="fe4cc296-ba7d-48a2-8799-89b58d218255" providerId="ADAL" clId="{FCBD5683-BE61-41A3-82A3-992D8F76D308}" dt="2022-04-07T18:04:23.272" v="236" actId="165"/>
          <ac:picMkLst>
            <pc:docMk/>
            <pc:sldMk cId="3958965365" sldId="2134803539"/>
            <ac:picMk id="11" creationId="{C43F16AE-59B8-4B32-97E9-A00929418665}"/>
          </ac:picMkLst>
        </pc:picChg>
        <pc:cxnChg chg="mod topLvl">
          <ac:chgData name="Kebba Jeng" userId="fe4cc296-ba7d-48a2-8799-89b58d218255" providerId="ADAL" clId="{FCBD5683-BE61-41A3-82A3-992D8F76D308}" dt="2022-04-07T18:04:23.272" v="236" actId="165"/>
          <ac:cxnSpMkLst>
            <pc:docMk/>
            <pc:sldMk cId="3958965365" sldId="2134803539"/>
            <ac:cxnSpMk id="30" creationId="{95D4AEAC-589F-4122-8A76-544A06CDC38C}"/>
          </ac:cxnSpMkLst>
        </pc:cxnChg>
        <pc:cxnChg chg="mod topLvl">
          <ac:chgData name="Kebba Jeng" userId="fe4cc296-ba7d-48a2-8799-89b58d218255" providerId="ADAL" clId="{FCBD5683-BE61-41A3-82A3-992D8F76D308}" dt="2022-04-07T18:04:23.272" v="236" actId="165"/>
          <ac:cxnSpMkLst>
            <pc:docMk/>
            <pc:sldMk cId="3958965365" sldId="2134803539"/>
            <ac:cxnSpMk id="41" creationId="{C92A0887-DE97-4DEA-81EA-F6DDA5408D67}"/>
          </ac:cxnSpMkLst>
        </pc:cxnChg>
        <pc:cxnChg chg="mod topLvl">
          <ac:chgData name="Kebba Jeng" userId="fe4cc296-ba7d-48a2-8799-89b58d218255" providerId="ADAL" clId="{FCBD5683-BE61-41A3-82A3-992D8F76D308}" dt="2022-04-07T18:04:23.272" v="236" actId="165"/>
          <ac:cxnSpMkLst>
            <pc:docMk/>
            <pc:sldMk cId="3958965365" sldId="2134803539"/>
            <ac:cxnSpMk id="43" creationId="{1A2B585C-8785-4BC8-85B6-91420078FD42}"/>
          </ac:cxnSpMkLst>
        </pc:cxnChg>
        <pc:cxnChg chg="mod topLvl">
          <ac:chgData name="Kebba Jeng" userId="fe4cc296-ba7d-48a2-8799-89b58d218255" providerId="ADAL" clId="{FCBD5683-BE61-41A3-82A3-992D8F76D308}" dt="2022-04-07T18:04:23.272" v="236" actId="165"/>
          <ac:cxnSpMkLst>
            <pc:docMk/>
            <pc:sldMk cId="3958965365" sldId="2134803539"/>
            <ac:cxnSpMk id="44" creationId="{90C2235B-6F80-4F11-91EA-ECBAE1F2AD9F}"/>
          </ac:cxnSpMkLst>
        </pc:cxnChg>
        <pc:cxnChg chg="mod topLvl">
          <ac:chgData name="Kebba Jeng" userId="fe4cc296-ba7d-48a2-8799-89b58d218255" providerId="ADAL" clId="{FCBD5683-BE61-41A3-82A3-992D8F76D308}" dt="2022-04-07T18:04:23.272" v="236" actId="165"/>
          <ac:cxnSpMkLst>
            <pc:docMk/>
            <pc:sldMk cId="3958965365" sldId="2134803539"/>
            <ac:cxnSpMk id="46" creationId="{3B4EADDA-ECF5-4BEB-BC97-D4A92E777C29}"/>
          </ac:cxnSpMkLst>
        </pc:cxnChg>
        <pc:cxnChg chg="mod topLvl">
          <ac:chgData name="Kebba Jeng" userId="fe4cc296-ba7d-48a2-8799-89b58d218255" providerId="ADAL" clId="{FCBD5683-BE61-41A3-82A3-992D8F76D308}" dt="2022-04-07T18:04:23.272" v="236" actId="165"/>
          <ac:cxnSpMkLst>
            <pc:docMk/>
            <pc:sldMk cId="3958965365" sldId="2134803539"/>
            <ac:cxnSpMk id="47" creationId="{775C2F69-66ED-45C4-9544-3F1D9B640112}"/>
          </ac:cxnSpMkLst>
        </pc:cxnChg>
        <pc:cxnChg chg="mod topLvl">
          <ac:chgData name="Kebba Jeng" userId="fe4cc296-ba7d-48a2-8799-89b58d218255" providerId="ADAL" clId="{FCBD5683-BE61-41A3-82A3-992D8F76D308}" dt="2022-04-07T18:04:23.272" v="236" actId="165"/>
          <ac:cxnSpMkLst>
            <pc:docMk/>
            <pc:sldMk cId="3958965365" sldId="2134803539"/>
            <ac:cxnSpMk id="51" creationId="{1FD70682-28A8-4248-9572-1DF7E7DBC0C4}"/>
          </ac:cxnSpMkLst>
        </pc:cxnChg>
        <pc:cxnChg chg="mod topLvl">
          <ac:chgData name="Kebba Jeng" userId="fe4cc296-ba7d-48a2-8799-89b58d218255" providerId="ADAL" clId="{FCBD5683-BE61-41A3-82A3-992D8F76D308}" dt="2022-04-07T18:04:23.272" v="236" actId="165"/>
          <ac:cxnSpMkLst>
            <pc:docMk/>
            <pc:sldMk cId="3958965365" sldId="2134803539"/>
            <ac:cxnSpMk id="52" creationId="{73AE0404-01E9-47E9-BE83-08C2AE1533FF}"/>
          </ac:cxnSpMkLst>
        </pc:cxnChg>
        <pc:cxnChg chg="mod topLvl">
          <ac:chgData name="Kebba Jeng" userId="fe4cc296-ba7d-48a2-8799-89b58d218255" providerId="ADAL" clId="{FCBD5683-BE61-41A3-82A3-992D8F76D308}" dt="2022-04-07T18:04:23.272" v="236" actId="165"/>
          <ac:cxnSpMkLst>
            <pc:docMk/>
            <pc:sldMk cId="3958965365" sldId="2134803539"/>
            <ac:cxnSpMk id="54" creationId="{1EEF3487-C450-4906-8999-D19BFE7FAD0A}"/>
          </ac:cxnSpMkLst>
        </pc:cxnChg>
      </pc:sldChg>
      <pc:sldChg chg="modSp del mod">
        <pc:chgData name="Kebba Jeng" userId="fe4cc296-ba7d-48a2-8799-89b58d218255" providerId="ADAL" clId="{FCBD5683-BE61-41A3-82A3-992D8F76D308}" dt="2022-04-01T17:28:32.697" v="200" actId="47"/>
        <pc:sldMkLst>
          <pc:docMk/>
          <pc:sldMk cId="2881810783" sldId="2134803541"/>
        </pc:sldMkLst>
        <pc:picChg chg="mod">
          <ac:chgData name="Kebba Jeng" userId="fe4cc296-ba7d-48a2-8799-89b58d218255" providerId="ADAL" clId="{FCBD5683-BE61-41A3-82A3-992D8F76D308}" dt="2022-04-01T17:25:10.388" v="160" actId="1076"/>
          <ac:picMkLst>
            <pc:docMk/>
            <pc:sldMk cId="2881810783" sldId="2134803541"/>
            <ac:picMk id="21" creationId="{1D220B4F-8EC2-459E-AF14-248361159576}"/>
          </ac:picMkLst>
        </pc:picChg>
      </pc:sldChg>
      <pc:sldChg chg="modSp mod">
        <pc:chgData name="Kebba Jeng" userId="fe4cc296-ba7d-48a2-8799-89b58d218255" providerId="ADAL" clId="{FCBD5683-BE61-41A3-82A3-992D8F76D308}" dt="2022-04-08T06:24:39.751" v="412" actId="207"/>
        <pc:sldMkLst>
          <pc:docMk/>
          <pc:sldMk cId="2255173003" sldId="2134803544"/>
        </pc:sldMkLst>
        <pc:spChg chg="mod">
          <ac:chgData name="Kebba Jeng" userId="fe4cc296-ba7d-48a2-8799-89b58d218255" providerId="ADAL" clId="{FCBD5683-BE61-41A3-82A3-992D8F76D308}" dt="2022-04-03T14:28:10.805" v="228" actId="207"/>
          <ac:spMkLst>
            <pc:docMk/>
            <pc:sldMk cId="2255173003" sldId="2134803544"/>
            <ac:spMk id="1749" creationId="{00000000-0000-0000-0000-000000000000}"/>
          </ac:spMkLst>
        </pc:spChg>
        <pc:spChg chg="mod">
          <ac:chgData name="Kebba Jeng" userId="fe4cc296-ba7d-48a2-8799-89b58d218255" providerId="ADAL" clId="{FCBD5683-BE61-41A3-82A3-992D8F76D308}" dt="2022-04-03T14:28:10.805" v="228" actId="207"/>
          <ac:spMkLst>
            <pc:docMk/>
            <pc:sldMk cId="2255173003" sldId="2134803544"/>
            <ac:spMk id="1750" creationId="{00000000-0000-0000-0000-000000000000}"/>
          </ac:spMkLst>
        </pc:spChg>
        <pc:spChg chg="mod">
          <ac:chgData name="Kebba Jeng" userId="fe4cc296-ba7d-48a2-8799-89b58d218255" providerId="ADAL" clId="{FCBD5683-BE61-41A3-82A3-992D8F76D308}" dt="2022-04-08T06:24:08.581" v="408" actId="207"/>
          <ac:spMkLst>
            <pc:docMk/>
            <pc:sldMk cId="2255173003" sldId="2134803544"/>
            <ac:spMk id="1754" creationId="{00000000-0000-0000-0000-000000000000}"/>
          </ac:spMkLst>
        </pc:spChg>
        <pc:spChg chg="mod">
          <ac:chgData name="Kebba Jeng" userId="fe4cc296-ba7d-48a2-8799-89b58d218255" providerId="ADAL" clId="{FCBD5683-BE61-41A3-82A3-992D8F76D308}" dt="2022-04-08T06:24:08.581" v="408" actId="207"/>
          <ac:spMkLst>
            <pc:docMk/>
            <pc:sldMk cId="2255173003" sldId="2134803544"/>
            <ac:spMk id="1755" creationId="{00000000-0000-0000-0000-000000000000}"/>
          </ac:spMkLst>
        </pc:spChg>
        <pc:spChg chg="mod">
          <ac:chgData name="Kebba Jeng" userId="fe4cc296-ba7d-48a2-8799-89b58d218255" providerId="ADAL" clId="{FCBD5683-BE61-41A3-82A3-992D8F76D308}" dt="2022-04-08T06:23:58.970" v="407" actId="207"/>
          <ac:spMkLst>
            <pc:docMk/>
            <pc:sldMk cId="2255173003" sldId="2134803544"/>
            <ac:spMk id="1764" creationId="{00000000-0000-0000-0000-000000000000}"/>
          </ac:spMkLst>
        </pc:spChg>
        <pc:spChg chg="mod">
          <ac:chgData name="Kebba Jeng" userId="fe4cc296-ba7d-48a2-8799-89b58d218255" providerId="ADAL" clId="{FCBD5683-BE61-41A3-82A3-992D8F76D308}" dt="2022-04-08T06:24:08.581" v="408" actId="207"/>
          <ac:spMkLst>
            <pc:docMk/>
            <pc:sldMk cId="2255173003" sldId="2134803544"/>
            <ac:spMk id="1804" creationId="{00000000-0000-0000-0000-000000000000}"/>
          </ac:spMkLst>
        </pc:spChg>
        <pc:spChg chg="mod">
          <ac:chgData name="Kebba Jeng" userId="fe4cc296-ba7d-48a2-8799-89b58d218255" providerId="ADAL" clId="{FCBD5683-BE61-41A3-82A3-992D8F76D308}" dt="2022-04-08T06:24:08.581" v="408" actId="207"/>
          <ac:spMkLst>
            <pc:docMk/>
            <pc:sldMk cId="2255173003" sldId="2134803544"/>
            <ac:spMk id="1812" creationId="{00000000-0000-0000-0000-000000000000}"/>
          </ac:spMkLst>
        </pc:spChg>
        <pc:spChg chg="mod">
          <ac:chgData name="Kebba Jeng" userId="fe4cc296-ba7d-48a2-8799-89b58d218255" providerId="ADAL" clId="{FCBD5683-BE61-41A3-82A3-992D8F76D308}" dt="2022-04-08T06:24:08.581" v="408" actId="207"/>
          <ac:spMkLst>
            <pc:docMk/>
            <pc:sldMk cId="2255173003" sldId="2134803544"/>
            <ac:spMk id="1813" creationId="{00000000-0000-0000-0000-000000000000}"/>
          </ac:spMkLst>
        </pc:spChg>
        <pc:spChg chg="mod">
          <ac:chgData name="Kebba Jeng" userId="fe4cc296-ba7d-48a2-8799-89b58d218255" providerId="ADAL" clId="{FCBD5683-BE61-41A3-82A3-992D8F76D308}" dt="2022-04-03T14:34:59.056" v="229" actId="207"/>
          <ac:spMkLst>
            <pc:docMk/>
            <pc:sldMk cId="2255173003" sldId="2134803544"/>
            <ac:spMk id="1827" creationId="{00000000-0000-0000-0000-000000000000}"/>
          </ac:spMkLst>
        </pc:spChg>
        <pc:spChg chg="mod">
          <ac:chgData name="Kebba Jeng" userId="fe4cc296-ba7d-48a2-8799-89b58d218255" providerId="ADAL" clId="{FCBD5683-BE61-41A3-82A3-992D8F76D308}" dt="2022-04-08T06:24:39.751" v="412" actId="207"/>
          <ac:spMkLst>
            <pc:docMk/>
            <pc:sldMk cId="2255173003" sldId="2134803544"/>
            <ac:spMk id="1828" creationId="{00000000-0000-0000-0000-000000000000}"/>
          </ac:spMkLst>
        </pc:spChg>
        <pc:spChg chg="mod">
          <ac:chgData name="Kebba Jeng" userId="fe4cc296-ba7d-48a2-8799-89b58d218255" providerId="ADAL" clId="{FCBD5683-BE61-41A3-82A3-992D8F76D308}" dt="2022-04-08T06:24:39.751" v="412" actId="207"/>
          <ac:spMkLst>
            <pc:docMk/>
            <pc:sldMk cId="2255173003" sldId="2134803544"/>
            <ac:spMk id="1829" creationId="{00000000-0000-0000-0000-000000000000}"/>
          </ac:spMkLst>
        </pc:spChg>
        <pc:spChg chg="mod">
          <ac:chgData name="Kebba Jeng" userId="fe4cc296-ba7d-48a2-8799-89b58d218255" providerId="ADAL" clId="{FCBD5683-BE61-41A3-82A3-992D8F76D308}" dt="2022-04-08T06:24:16.315" v="409" actId="207"/>
          <ac:spMkLst>
            <pc:docMk/>
            <pc:sldMk cId="2255173003" sldId="2134803544"/>
            <ac:spMk id="1834" creationId="{00000000-0000-0000-0000-000000000000}"/>
          </ac:spMkLst>
        </pc:spChg>
        <pc:spChg chg="mod">
          <ac:chgData name="Kebba Jeng" userId="fe4cc296-ba7d-48a2-8799-89b58d218255" providerId="ADAL" clId="{FCBD5683-BE61-41A3-82A3-992D8F76D308}" dt="2022-04-08T06:24:39.751" v="412" actId="207"/>
          <ac:spMkLst>
            <pc:docMk/>
            <pc:sldMk cId="2255173003" sldId="2134803544"/>
            <ac:spMk id="1836" creationId="{00000000-0000-0000-0000-000000000000}"/>
          </ac:spMkLst>
        </pc:spChg>
        <pc:spChg chg="mod">
          <ac:chgData name="Kebba Jeng" userId="fe4cc296-ba7d-48a2-8799-89b58d218255" providerId="ADAL" clId="{FCBD5683-BE61-41A3-82A3-992D8F76D308}" dt="2022-04-08T06:24:39.751" v="412" actId="207"/>
          <ac:spMkLst>
            <pc:docMk/>
            <pc:sldMk cId="2255173003" sldId="2134803544"/>
            <ac:spMk id="1837" creationId="{00000000-0000-0000-0000-000000000000}"/>
          </ac:spMkLst>
        </pc:spChg>
        <pc:spChg chg="mod">
          <ac:chgData name="Kebba Jeng" userId="fe4cc296-ba7d-48a2-8799-89b58d218255" providerId="ADAL" clId="{FCBD5683-BE61-41A3-82A3-992D8F76D308}" dt="2022-04-08T06:24:16.315" v="409" actId="207"/>
          <ac:spMkLst>
            <pc:docMk/>
            <pc:sldMk cId="2255173003" sldId="2134803544"/>
            <ac:spMk id="1842" creationId="{00000000-0000-0000-0000-000000000000}"/>
          </ac:spMkLst>
        </pc:spChg>
        <pc:spChg chg="mod">
          <ac:chgData name="Kebba Jeng" userId="fe4cc296-ba7d-48a2-8799-89b58d218255" providerId="ADAL" clId="{FCBD5683-BE61-41A3-82A3-992D8F76D308}" dt="2022-04-08T06:24:26.266" v="411" actId="207"/>
          <ac:spMkLst>
            <pc:docMk/>
            <pc:sldMk cId="2255173003" sldId="2134803544"/>
            <ac:spMk id="1892" creationId="{00000000-0000-0000-0000-000000000000}"/>
          </ac:spMkLst>
        </pc:spChg>
        <pc:spChg chg="mod">
          <ac:chgData name="Kebba Jeng" userId="fe4cc296-ba7d-48a2-8799-89b58d218255" providerId="ADAL" clId="{FCBD5683-BE61-41A3-82A3-992D8F76D308}" dt="2022-04-03T14:35:21.532" v="231" actId="207"/>
          <ac:spMkLst>
            <pc:docMk/>
            <pc:sldMk cId="2255173003" sldId="2134803544"/>
            <ac:spMk id="1893" creationId="{00000000-0000-0000-0000-000000000000}"/>
          </ac:spMkLst>
        </pc:spChg>
        <pc:spChg chg="mod">
          <ac:chgData name="Kebba Jeng" userId="fe4cc296-ba7d-48a2-8799-89b58d218255" providerId="ADAL" clId="{FCBD5683-BE61-41A3-82A3-992D8F76D308}" dt="2022-04-08T06:24:21.852" v="410" actId="207"/>
          <ac:spMkLst>
            <pc:docMk/>
            <pc:sldMk cId="2255173003" sldId="2134803544"/>
            <ac:spMk id="1907" creationId="{00000000-0000-0000-0000-000000000000}"/>
          </ac:spMkLst>
        </pc:spChg>
      </pc:sldChg>
      <pc:sldChg chg="addSp modSp mod">
        <pc:chgData name="Kebba Jeng" userId="fe4cc296-ba7d-48a2-8799-89b58d218255" providerId="ADAL" clId="{FCBD5683-BE61-41A3-82A3-992D8F76D308}" dt="2022-04-08T06:23:06.074" v="406" actId="164"/>
        <pc:sldMkLst>
          <pc:docMk/>
          <pc:sldMk cId="355669928" sldId="2134803547"/>
        </pc:sldMkLst>
        <pc:spChg chg="add mod">
          <ac:chgData name="Kebba Jeng" userId="fe4cc296-ba7d-48a2-8799-89b58d218255" providerId="ADAL" clId="{FCBD5683-BE61-41A3-82A3-992D8F76D308}" dt="2022-04-08T06:23:06.074" v="406" actId="164"/>
          <ac:spMkLst>
            <pc:docMk/>
            <pc:sldMk cId="355669928" sldId="2134803547"/>
            <ac:spMk id="2" creationId="{230A22F8-01FF-417A-855D-BD2589B11790}"/>
          </ac:spMkLst>
        </pc:spChg>
        <pc:grpChg chg="add mod">
          <ac:chgData name="Kebba Jeng" userId="fe4cc296-ba7d-48a2-8799-89b58d218255" providerId="ADAL" clId="{FCBD5683-BE61-41A3-82A3-992D8F76D308}" dt="2022-04-08T06:23:06.074" v="406" actId="164"/>
          <ac:grpSpMkLst>
            <pc:docMk/>
            <pc:sldMk cId="355669928" sldId="2134803547"/>
            <ac:grpSpMk id="3" creationId="{EDEEAD59-0A4B-48CF-9843-F98DEFBE93C1}"/>
          </ac:grpSpMkLst>
        </pc:grpChg>
        <pc:picChg chg="mod">
          <ac:chgData name="Kebba Jeng" userId="fe4cc296-ba7d-48a2-8799-89b58d218255" providerId="ADAL" clId="{FCBD5683-BE61-41A3-82A3-992D8F76D308}" dt="2022-04-08T06:23:06.074" v="406" actId="164"/>
          <ac:picMkLst>
            <pc:docMk/>
            <pc:sldMk cId="355669928" sldId="2134803547"/>
            <ac:picMk id="13" creationId="{49994EA2-AA67-44F8-8193-A7A9F25F4CBC}"/>
          </ac:picMkLst>
        </pc:picChg>
      </pc:sldChg>
      <pc:sldChg chg="delSp mod">
        <pc:chgData name="Kebba Jeng" userId="fe4cc296-ba7d-48a2-8799-89b58d218255" providerId="ADAL" clId="{FCBD5683-BE61-41A3-82A3-992D8F76D308}" dt="2022-04-03T13:42:26.307" v="225" actId="478"/>
        <pc:sldMkLst>
          <pc:docMk/>
          <pc:sldMk cId="1867343795" sldId="2134803548"/>
        </pc:sldMkLst>
        <pc:picChg chg="del">
          <ac:chgData name="Kebba Jeng" userId="fe4cc296-ba7d-48a2-8799-89b58d218255" providerId="ADAL" clId="{FCBD5683-BE61-41A3-82A3-992D8F76D308}" dt="2022-04-03T13:42:26.307" v="225" actId="478"/>
          <ac:picMkLst>
            <pc:docMk/>
            <pc:sldMk cId="1867343795" sldId="2134803548"/>
            <ac:picMk id="2" creationId="{2AAE79C2-98A1-1B31-2102-278A31E7A3FD}"/>
          </ac:picMkLst>
        </pc:picChg>
      </pc:sldChg>
      <pc:sldChg chg="modSp mod">
        <pc:chgData name="Kebba Jeng" userId="fe4cc296-ba7d-48a2-8799-89b58d218255" providerId="ADAL" clId="{FCBD5683-BE61-41A3-82A3-992D8F76D308}" dt="2022-04-07T18:20:14.435" v="288" actId="5793"/>
        <pc:sldMkLst>
          <pc:docMk/>
          <pc:sldMk cId="531401409" sldId="2134803551"/>
        </pc:sldMkLst>
        <pc:spChg chg="mod">
          <ac:chgData name="Kebba Jeng" userId="fe4cc296-ba7d-48a2-8799-89b58d218255" providerId="ADAL" clId="{FCBD5683-BE61-41A3-82A3-992D8F76D308}" dt="2022-04-07T18:20:14.435" v="288" actId="5793"/>
          <ac:spMkLst>
            <pc:docMk/>
            <pc:sldMk cId="531401409" sldId="2134803551"/>
            <ac:spMk id="398" creationId="{0B2DA253-2B6E-4C8A-9F57-C5AFC7D3A056}"/>
          </ac:spMkLst>
        </pc:spChg>
      </pc:sldChg>
      <pc:sldChg chg="delSp modSp mod">
        <pc:chgData name="Kebba Jeng" userId="fe4cc296-ba7d-48a2-8799-89b58d218255" providerId="ADAL" clId="{FCBD5683-BE61-41A3-82A3-992D8F76D308}" dt="2022-04-07T18:32:21.247" v="384" actId="255"/>
        <pc:sldMkLst>
          <pc:docMk/>
          <pc:sldMk cId="1706841322" sldId="2134803552"/>
        </pc:sldMkLst>
        <pc:spChg chg="del">
          <ac:chgData name="Kebba Jeng" userId="fe4cc296-ba7d-48a2-8799-89b58d218255" providerId="ADAL" clId="{FCBD5683-BE61-41A3-82A3-992D8F76D308}" dt="2022-04-07T18:31:39.698" v="378" actId="478"/>
          <ac:spMkLst>
            <pc:docMk/>
            <pc:sldMk cId="1706841322" sldId="2134803552"/>
            <ac:spMk id="2" creationId="{061E51BE-1BCA-49D5-AC79-CEE5493E310C}"/>
          </ac:spMkLst>
        </pc:spChg>
        <pc:spChg chg="mod">
          <ac:chgData name="Kebba Jeng" userId="fe4cc296-ba7d-48a2-8799-89b58d218255" providerId="ADAL" clId="{FCBD5683-BE61-41A3-82A3-992D8F76D308}" dt="2022-04-07T18:32:21.247" v="384" actId="255"/>
          <ac:spMkLst>
            <pc:docMk/>
            <pc:sldMk cId="1706841322" sldId="2134803552"/>
            <ac:spMk id="9" creationId="{499140DB-6BC3-4EDD-92D3-1911C8E3BD65}"/>
          </ac:spMkLst>
        </pc:spChg>
        <pc:spChg chg="del">
          <ac:chgData name="Kebba Jeng" userId="fe4cc296-ba7d-48a2-8799-89b58d218255" providerId="ADAL" clId="{FCBD5683-BE61-41A3-82A3-992D8F76D308}" dt="2022-04-07T18:31:39.698" v="378" actId="478"/>
          <ac:spMkLst>
            <pc:docMk/>
            <pc:sldMk cId="1706841322" sldId="2134803552"/>
            <ac:spMk id="10" creationId="{A390D919-707F-41BF-A570-908716377120}"/>
          </ac:spMkLst>
        </pc:spChg>
        <pc:picChg chg="del">
          <ac:chgData name="Kebba Jeng" userId="fe4cc296-ba7d-48a2-8799-89b58d218255" providerId="ADAL" clId="{FCBD5683-BE61-41A3-82A3-992D8F76D308}" dt="2022-04-07T18:31:39.698" v="378" actId="478"/>
          <ac:picMkLst>
            <pc:docMk/>
            <pc:sldMk cId="1706841322" sldId="2134803552"/>
            <ac:picMk id="11" creationId="{52BA8CCC-A424-47A5-9E4A-932C7ED4E042}"/>
          </ac:picMkLst>
        </pc:picChg>
      </pc:sldChg>
      <pc:sldChg chg="modSp mod">
        <pc:chgData name="Kebba Jeng" userId="fe4cc296-ba7d-48a2-8799-89b58d218255" providerId="ADAL" clId="{FCBD5683-BE61-41A3-82A3-992D8F76D308}" dt="2022-04-08T07:59:39.374" v="508" actId="20577"/>
        <pc:sldMkLst>
          <pc:docMk/>
          <pc:sldMk cId="1056661577" sldId="2134803553"/>
        </pc:sldMkLst>
        <pc:spChg chg="mod">
          <ac:chgData name="Kebba Jeng" userId="fe4cc296-ba7d-48a2-8799-89b58d218255" providerId="ADAL" clId="{FCBD5683-BE61-41A3-82A3-992D8F76D308}" dt="2022-04-08T07:59:39.374" v="508" actId="20577"/>
          <ac:spMkLst>
            <pc:docMk/>
            <pc:sldMk cId="1056661577" sldId="2134803553"/>
            <ac:spMk id="5" creationId="{2549C9D4-2731-49F7-B59D-A504666E86DE}"/>
          </ac:spMkLst>
        </pc:spChg>
      </pc:sldChg>
      <pc:sldChg chg="delSp modSp mod">
        <pc:chgData name="Kebba Jeng" userId="fe4cc296-ba7d-48a2-8799-89b58d218255" providerId="ADAL" clId="{FCBD5683-BE61-41A3-82A3-992D8F76D308}" dt="2022-04-07T19:07:59.323" v="401" actId="20577"/>
        <pc:sldMkLst>
          <pc:docMk/>
          <pc:sldMk cId="1188302935" sldId="2134803554"/>
        </pc:sldMkLst>
        <pc:spChg chg="mod">
          <ac:chgData name="Kebba Jeng" userId="fe4cc296-ba7d-48a2-8799-89b58d218255" providerId="ADAL" clId="{FCBD5683-BE61-41A3-82A3-992D8F76D308}" dt="2022-04-07T19:07:59.323" v="401" actId="20577"/>
          <ac:spMkLst>
            <pc:docMk/>
            <pc:sldMk cId="1188302935" sldId="2134803554"/>
            <ac:spMk id="1696" creationId="{00000000-0000-0000-0000-000000000000}"/>
          </ac:spMkLst>
        </pc:spChg>
        <pc:spChg chg="mod">
          <ac:chgData name="Kebba Jeng" userId="fe4cc296-ba7d-48a2-8799-89b58d218255" providerId="ADAL" clId="{FCBD5683-BE61-41A3-82A3-992D8F76D308}" dt="2022-04-01T17:29:25.733" v="210" actId="255"/>
          <ac:spMkLst>
            <pc:docMk/>
            <pc:sldMk cId="1188302935" sldId="2134803554"/>
            <ac:spMk id="1697" creationId="{00000000-0000-0000-0000-000000000000}"/>
          </ac:spMkLst>
        </pc:spChg>
        <pc:picChg chg="del">
          <ac:chgData name="Kebba Jeng" userId="fe4cc296-ba7d-48a2-8799-89b58d218255" providerId="ADAL" clId="{FCBD5683-BE61-41A3-82A3-992D8F76D308}" dt="2022-04-01T17:28:58.111" v="201" actId="478"/>
          <ac:picMkLst>
            <pc:docMk/>
            <pc:sldMk cId="1188302935" sldId="2134803554"/>
            <ac:picMk id="1028" creationId="{E000519A-F4CF-4CD6-91D1-841DD4C0382B}"/>
          </ac:picMkLst>
        </pc:picChg>
      </pc:sldChg>
      <pc:sldChg chg="addSp modSp mod">
        <pc:chgData name="Kebba Jeng" userId="fe4cc296-ba7d-48a2-8799-89b58d218255" providerId="ADAL" clId="{FCBD5683-BE61-41A3-82A3-992D8F76D308}" dt="2022-04-07T18:16:49.685" v="280" actId="20577"/>
        <pc:sldMkLst>
          <pc:docMk/>
          <pc:sldMk cId="3661165130" sldId="2134803555"/>
        </pc:sldMkLst>
        <pc:spChg chg="add mod">
          <ac:chgData name="Kebba Jeng" userId="fe4cc296-ba7d-48a2-8799-89b58d218255" providerId="ADAL" clId="{FCBD5683-BE61-41A3-82A3-992D8F76D308}" dt="2022-04-07T18:13:49.536" v="260" actId="2085"/>
          <ac:spMkLst>
            <pc:docMk/>
            <pc:sldMk cId="3661165130" sldId="2134803555"/>
            <ac:spMk id="3" creationId="{C575FBA5-8AF9-4434-B3A4-669D22D7B851}"/>
          </ac:spMkLst>
        </pc:spChg>
        <pc:spChg chg="add mod">
          <ac:chgData name="Kebba Jeng" userId="fe4cc296-ba7d-48a2-8799-89b58d218255" providerId="ADAL" clId="{FCBD5683-BE61-41A3-82A3-992D8F76D308}" dt="2022-04-07T18:13:55.283" v="262" actId="14100"/>
          <ac:spMkLst>
            <pc:docMk/>
            <pc:sldMk cId="3661165130" sldId="2134803555"/>
            <ac:spMk id="7" creationId="{65FE3F15-C175-488B-81CF-32A8A3E45FCE}"/>
          </ac:spMkLst>
        </pc:spChg>
        <pc:spChg chg="add mod">
          <ac:chgData name="Kebba Jeng" userId="fe4cc296-ba7d-48a2-8799-89b58d218255" providerId="ADAL" clId="{FCBD5683-BE61-41A3-82A3-992D8F76D308}" dt="2022-04-07T18:13:57.658" v="263" actId="571"/>
          <ac:spMkLst>
            <pc:docMk/>
            <pc:sldMk cId="3661165130" sldId="2134803555"/>
            <ac:spMk id="8" creationId="{F60B948D-6BD9-46E2-A9A8-870887EB5D62}"/>
          </ac:spMkLst>
        </pc:spChg>
        <pc:spChg chg="add mod">
          <ac:chgData name="Kebba Jeng" userId="fe4cc296-ba7d-48a2-8799-89b58d218255" providerId="ADAL" clId="{FCBD5683-BE61-41A3-82A3-992D8F76D308}" dt="2022-04-07T18:13:59.875" v="264" actId="571"/>
          <ac:spMkLst>
            <pc:docMk/>
            <pc:sldMk cId="3661165130" sldId="2134803555"/>
            <ac:spMk id="9" creationId="{A532F8C0-477A-44BA-85BA-336DA3F9CDCA}"/>
          </ac:spMkLst>
        </pc:spChg>
        <pc:spChg chg="mod">
          <ac:chgData name="Kebba Jeng" userId="fe4cc296-ba7d-48a2-8799-89b58d218255" providerId="ADAL" clId="{FCBD5683-BE61-41A3-82A3-992D8F76D308}" dt="2022-04-07T18:16:49.685" v="280" actId="20577"/>
          <ac:spMkLst>
            <pc:docMk/>
            <pc:sldMk cId="3661165130" sldId="2134803555"/>
            <ac:spMk id="11" creationId="{8B5F5FED-5017-454A-B9EE-B34F4561AE22}"/>
          </ac:spMkLst>
        </pc:spChg>
        <pc:spChg chg="add mod">
          <ac:chgData name="Kebba Jeng" userId="fe4cc296-ba7d-48a2-8799-89b58d218255" providerId="ADAL" clId="{FCBD5683-BE61-41A3-82A3-992D8F76D308}" dt="2022-04-07T18:14:11.946" v="269" actId="14100"/>
          <ac:spMkLst>
            <pc:docMk/>
            <pc:sldMk cId="3661165130" sldId="2134803555"/>
            <ac:spMk id="12" creationId="{43D07C01-22A1-40D4-8AF0-E374EA616FAE}"/>
          </ac:spMkLst>
        </pc:spChg>
        <pc:spChg chg="add mod">
          <ac:chgData name="Kebba Jeng" userId="fe4cc296-ba7d-48a2-8799-89b58d218255" providerId="ADAL" clId="{FCBD5683-BE61-41A3-82A3-992D8F76D308}" dt="2022-04-07T18:14:16.629" v="270" actId="571"/>
          <ac:spMkLst>
            <pc:docMk/>
            <pc:sldMk cId="3661165130" sldId="2134803555"/>
            <ac:spMk id="13" creationId="{1C3F5E55-427B-409E-A801-E7D40CAB52D7}"/>
          </ac:spMkLst>
        </pc:spChg>
        <pc:spChg chg="add mod">
          <ac:chgData name="Kebba Jeng" userId="fe4cc296-ba7d-48a2-8799-89b58d218255" providerId="ADAL" clId="{FCBD5683-BE61-41A3-82A3-992D8F76D308}" dt="2022-04-07T18:14:22.600" v="272" actId="14100"/>
          <ac:spMkLst>
            <pc:docMk/>
            <pc:sldMk cId="3661165130" sldId="2134803555"/>
            <ac:spMk id="14" creationId="{2EDBD79C-B021-4230-A3E8-42044C232141}"/>
          </ac:spMkLst>
        </pc:spChg>
        <pc:spChg chg="add mod">
          <ac:chgData name="Kebba Jeng" userId="fe4cc296-ba7d-48a2-8799-89b58d218255" providerId="ADAL" clId="{FCBD5683-BE61-41A3-82A3-992D8F76D308}" dt="2022-04-07T18:14:31.200" v="276" actId="1076"/>
          <ac:spMkLst>
            <pc:docMk/>
            <pc:sldMk cId="3661165130" sldId="2134803555"/>
            <ac:spMk id="15" creationId="{32C5FE48-4736-4336-900F-D395983591E2}"/>
          </ac:spMkLst>
        </pc:spChg>
      </pc:sldChg>
      <pc:sldChg chg="add del">
        <pc:chgData name="Kebba Jeng" userId="fe4cc296-ba7d-48a2-8799-89b58d218255" providerId="ADAL" clId="{FCBD5683-BE61-41A3-82A3-992D8F76D308}" dt="2022-04-01T17:24:57.309" v="158" actId="47"/>
        <pc:sldMkLst>
          <pc:docMk/>
          <pc:sldMk cId="1378609271" sldId="2134803556"/>
        </pc:sldMkLst>
      </pc:sldChg>
      <pc:sldChg chg="addSp delSp modSp add del mod delAnim modAnim">
        <pc:chgData name="Kebba Jeng" userId="fe4cc296-ba7d-48a2-8799-89b58d218255" providerId="ADAL" clId="{FCBD5683-BE61-41A3-82A3-992D8F76D308}" dt="2022-04-07T18:10:00.964" v="252" actId="47"/>
        <pc:sldMkLst>
          <pc:docMk/>
          <pc:sldMk cId="988814445" sldId="2134803557"/>
        </pc:sldMkLst>
        <pc:spChg chg="del">
          <ac:chgData name="Kebba Jeng" userId="fe4cc296-ba7d-48a2-8799-89b58d218255" providerId="ADAL" clId="{FCBD5683-BE61-41A3-82A3-992D8F76D308}" dt="2022-04-01T17:14:42.799" v="74" actId="478"/>
          <ac:spMkLst>
            <pc:docMk/>
            <pc:sldMk cId="988814445" sldId="2134803557"/>
            <ac:spMk id="8" creationId="{74647358-158C-46FD-9C13-7E35AC243095}"/>
          </ac:spMkLst>
        </pc:spChg>
        <pc:spChg chg="del">
          <ac:chgData name="Kebba Jeng" userId="fe4cc296-ba7d-48a2-8799-89b58d218255" providerId="ADAL" clId="{FCBD5683-BE61-41A3-82A3-992D8F76D308}" dt="2022-04-01T17:14:42.799" v="74" actId="478"/>
          <ac:spMkLst>
            <pc:docMk/>
            <pc:sldMk cId="988814445" sldId="2134803557"/>
            <ac:spMk id="9" creationId="{C9B83C28-3B84-4DEC-B622-917B61297A29}"/>
          </ac:spMkLst>
        </pc:spChg>
        <pc:spChg chg="del">
          <ac:chgData name="Kebba Jeng" userId="fe4cc296-ba7d-48a2-8799-89b58d218255" providerId="ADAL" clId="{FCBD5683-BE61-41A3-82A3-992D8F76D308}" dt="2022-04-01T17:14:42.799" v="74" actId="478"/>
          <ac:spMkLst>
            <pc:docMk/>
            <pc:sldMk cId="988814445" sldId="2134803557"/>
            <ac:spMk id="1892" creationId="{B4DAC36F-1CBB-40E5-9DBF-9C98975C2DA7}"/>
          </ac:spMkLst>
        </pc:spChg>
        <pc:spChg chg="mod">
          <ac:chgData name="Kebba Jeng" userId="fe4cc296-ba7d-48a2-8799-89b58d218255" providerId="ADAL" clId="{FCBD5683-BE61-41A3-82A3-992D8F76D308}" dt="2022-04-01T17:14:57.804" v="78" actId="164"/>
          <ac:spMkLst>
            <pc:docMk/>
            <pc:sldMk cId="988814445" sldId="2134803557"/>
            <ac:spMk id="1896" creationId="{4A5937D3-B3B5-486F-AAE3-578961016B35}"/>
          </ac:spMkLst>
        </pc:spChg>
        <pc:spChg chg="mod">
          <ac:chgData name="Kebba Jeng" userId="fe4cc296-ba7d-48a2-8799-89b58d218255" providerId="ADAL" clId="{FCBD5683-BE61-41A3-82A3-992D8F76D308}" dt="2022-04-01T17:14:57.804" v="78" actId="164"/>
          <ac:spMkLst>
            <pc:docMk/>
            <pc:sldMk cId="988814445" sldId="2134803557"/>
            <ac:spMk id="1897" creationId="{671D742B-2FFD-4344-9250-71A059C11927}"/>
          </ac:spMkLst>
        </pc:spChg>
        <pc:spChg chg="mod">
          <ac:chgData name="Kebba Jeng" userId="fe4cc296-ba7d-48a2-8799-89b58d218255" providerId="ADAL" clId="{FCBD5683-BE61-41A3-82A3-992D8F76D308}" dt="2022-04-01T17:14:57.804" v="78" actId="164"/>
          <ac:spMkLst>
            <pc:docMk/>
            <pc:sldMk cId="988814445" sldId="2134803557"/>
            <ac:spMk id="1898" creationId="{9965CFE3-F405-4532-A9AD-DBF78C38C08F}"/>
          </ac:spMkLst>
        </pc:spChg>
        <pc:grpChg chg="add mod">
          <ac:chgData name="Kebba Jeng" userId="fe4cc296-ba7d-48a2-8799-89b58d218255" providerId="ADAL" clId="{FCBD5683-BE61-41A3-82A3-992D8F76D308}" dt="2022-04-01T17:15:18.680" v="84" actId="14100"/>
          <ac:grpSpMkLst>
            <pc:docMk/>
            <pc:sldMk cId="988814445" sldId="2134803557"/>
            <ac:grpSpMk id="2" creationId="{B7CC2013-ED0C-41AB-8B3E-14B810F2010E}"/>
          </ac:grpSpMkLst>
        </pc:grpChg>
        <pc:picChg chg="del">
          <ac:chgData name="Kebba Jeng" userId="fe4cc296-ba7d-48a2-8799-89b58d218255" providerId="ADAL" clId="{FCBD5683-BE61-41A3-82A3-992D8F76D308}" dt="2022-04-01T17:14:40.870" v="73" actId="478"/>
          <ac:picMkLst>
            <pc:docMk/>
            <pc:sldMk cId="988814445" sldId="2134803557"/>
            <ac:picMk id="5" creationId="{4B0810EB-FF18-46B7-8B00-8AC6D9C4AF79}"/>
          </ac:picMkLst>
        </pc:picChg>
        <pc:picChg chg="del">
          <ac:chgData name="Kebba Jeng" userId="fe4cc296-ba7d-48a2-8799-89b58d218255" providerId="ADAL" clId="{FCBD5683-BE61-41A3-82A3-992D8F76D308}" dt="2022-04-01T17:14:40.870" v="73" actId="478"/>
          <ac:picMkLst>
            <pc:docMk/>
            <pc:sldMk cId="988814445" sldId="2134803557"/>
            <ac:picMk id="6" creationId="{0EBFF919-8803-4A9C-A014-4026BA78917D}"/>
          </ac:picMkLst>
        </pc:picChg>
        <pc:picChg chg="del mod">
          <ac:chgData name="Kebba Jeng" userId="fe4cc296-ba7d-48a2-8799-89b58d218255" providerId="ADAL" clId="{FCBD5683-BE61-41A3-82A3-992D8F76D308}" dt="2022-04-01T17:23:55.503" v="150" actId="478"/>
          <ac:picMkLst>
            <pc:docMk/>
            <pc:sldMk cId="988814445" sldId="2134803557"/>
            <ac:picMk id="7" creationId="{D0CEEC6D-920A-4BEB-8B28-6610031F589F}"/>
          </ac:picMkLst>
        </pc:picChg>
        <pc:picChg chg="add del mod">
          <ac:chgData name="Kebba Jeng" userId="fe4cc296-ba7d-48a2-8799-89b58d218255" providerId="ADAL" clId="{FCBD5683-BE61-41A3-82A3-992D8F76D308}" dt="2022-04-01T17:15:45.679" v="88" actId="21"/>
          <ac:picMkLst>
            <pc:docMk/>
            <pc:sldMk cId="988814445" sldId="2134803557"/>
            <ac:picMk id="15" creationId="{A49C234F-F446-41C9-A43B-774068A6FE19}"/>
          </ac:picMkLst>
        </pc:picChg>
        <pc:picChg chg="add del mod">
          <ac:chgData name="Kebba Jeng" userId="fe4cc296-ba7d-48a2-8799-89b58d218255" providerId="ADAL" clId="{FCBD5683-BE61-41A3-82A3-992D8F76D308}" dt="2022-04-01T17:15:50.939" v="91" actId="21"/>
          <ac:picMkLst>
            <pc:docMk/>
            <pc:sldMk cId="988814445" sldId="2134803557"/>
            <ac:picMk id="16" creationId="{D368A85B-5679-4E3D-8788-7F59A6FFBC27}"/>
          </ac:picMkLst>
        </pc:picChg>
        <pc:picChg chg="add del mod ord">
          <ac:chgData name="Kebba Jeng" userId="fe4cc296-ba7d-48a2-8799-89b58d218255" providerId="ADAL" clId="{FCBD5683-BE61-41A3-82A3-992D8F76D308}" dt="2022-04-01T17:23:56.529" v="151" actId="478"/>
          <ac:picMkLst>
            <pc:docMk/>
            <pc:sldMk cId="988814445" sldId="2134803557"/>
            <ac:picMk id="17" creationId="{C05F3E5A-E355-4F02-9B0F-D40D0F1FF2FF}"/>
          </ac:picMkLst>
        </pc:picChg>
        <pc:picChg chg="add mod ord">
          <ac:chgData name="Kebba Jeng" userId="fe4cc296-ba7d-48a2-8799-89b58d218255" providerId="ADAL" clId="{FCBD5683-BE61-41A3-82A3-992D8F76D308}" dt="2022-04-01T17:20:00.296" v="135" actId="1076"/>
          <ac:picMkLst>
            <pc:docMk/>
            <pc:sldMk cId="988814445" sldId="2134803557"/>
            <ac:picMk id="18" creationId="{181723FA-8633-4E01-B676-D4484386DE2C}"/>
          </ac:picMkLst>
        </pc:picChg>
        <pc:picChg chg="add del mod">
          <ac:chgData name="Kebba Jeng" userId="fe4cc296-ba7d-48a2-8799-89b58d218255" providerId="ADAL" clId="{FCBD5683-BE61-41A3-82A3-992D8F76D308}" dt="2022-04-01T17:25:28.068" v="164" actId="21"/>
          <ac:picMkLst>
            <pc:docMk/>
            <pc:sldMk cId="988814445" sldId="2134803557"/>
            <ac:picMk id="19" creationId="{565E206C-7F58-4B60-B789-D41C1227F278}"/>
          </ac:picMkLst>
        </pc:picChg>
      </pc:sldChg>
      <pc:sldChg chg="delSp modSp add del mod delAnim modAnim">
        <pc:chgData name="Kebba Jeng" userId="fe4cc296-ba7d-48a2-8799-89b58d218255" providerId="ADAL" clId="{FCBD5683-BE61-41A3-82A3-992D8F76D308}" dt="2022-04-07T18:10:08.123" v="253" actId="47"/>
        <pc:sldMkLst>
          <pc:docMk/>
          <pc:sldMk cId="1905774308" sldId="2134803558"/>
        </pc:sldMkLst>
        <pc:picChg chg="del">
          <ac:chgData name="Kebba Jeng" userId="fe4cc296-ba7d-48a2-8799-89b58d218255" providerId="ADAL" clId="{FCBD5683-BE61-41A3-82A3-992D8F76D308}" dt="2022-04-01T17:23:46.031" v="147" actId="478"/>
          <ac:picMkLst>
            <pc:docMk/>
            <pc:sldMk cId="1905774308" sldId="2134803558"/>
            <ac:picMk id="7" creationId="{D0CEEC6D-920A-4BEB-8B28-6610031F589F}"/>
          </ac:picMkLst>
        </pc:picChg>
        <pc:picChg chg="ord">
          <ac:chgData name="Kebba Jeng" userId="fe4cc296-ba7d-48a2-8799-89b58d218255" providerId="ADAL" clId="{FCBD5683-BE61-41A3-82A3-992D8F76D308}" dt="2022-04-01T17:23:49.832" v="148" actId="167"/>
          <ac:picMkLst>
            <pc:docMk/>
            <pc:sldMk cId="1905774308" sldId="2134803558"/>
            <ac:picMk id="17" creationId="{C05F3E5A-E355-4F02-9B0F-D40D0F1FF2FF}"/>
          </ac:picMkLst>
        </pc:picChg>
        <pc:picChg chg="del">
          <ac:chgData name="Kebba Jeng" userId="fe4cc296-ba7d-48a2-8799-89b58d218255" providerId="ADAL" clId="{FCBD5683-BE61-41A3-82A3-992D8F76D308}" dt="2022-04-01T17:23:51.609" v="149" actId="478"/>
          <ac:picMkLst>
            <pc:docMk/>
            <pc:sldMk cId="1905774308" sldId="2134803558"/>
            <ac:picMk id="18" creationId="{181723FA-8633-4E01-B676-D4484386DE2C}"/>
          </ac:picMkLst>
        </pc:picChg>
      </pc:sldChg>
      <pc:sldChg chg="delSp modSp add del mod delAnim modAnim">
        <pc:chgData name="Kebba Jeng" userId="fe4cc296-ba7d-48a2-8799-89b58d218255" providerId="ADAL" clId="{FCBD5683-BE61-41A3-82A3-992D8F76D308}" dt="2022-04-07T18:10:09.651" v="254" actId="47"/>
        <pc:sldMkLst>
          <pc:docMk/>
          <pc:sldMk cId="491394412" sldId="2134803559"/>
        </pc:sldMkLst>
        <pc:spChg chg="mod">
          <ac:chgData name="Kebba Jeng" userId="fe4cc296-ba7d-48a2-8799-89b58d218255" providerId="ADAL" clId="{FCBD5683-BE61-41A3-82A3-992D8F76D308}" dt="2022-04-01T17:28:27.175" v="199" actId="207"/>
          <ac:spMkLst>
            <pc:docMk/>
            <pc:sldMk cId="491394412" sldId="2134803559"/>
            <ac:spMk id="1898" creationId="{9965CFE3-F405-4532-A9AD-DBF78C38C08F}"/>
          </ac:spMkLst>
        </pc:spChg>
        <pc:picChg chg="mod ord">
          <ac:chgData name="Kebba Jeng" userId="fe4cc296-ba7d-48a2-8799-89b58d218255" providerId="ADAL" clId="{FCBD5683-BE61-41A3-82A3-992D8F76D308}" dt="2022-04-01T17:23:38.903" v="145" actId="167"/>
          <ac:picMkLst>
            <pc:docMk/>
            <pc:sldMk cId="491394412" sldId="2134803559"/>
            <ac:picMk id="7" creationId="{D0CEEC6D-920A-4BEB-8B28-6610031F589F}"/>
          </ac:picMkLst>
        </pc:picChg>
        <pc:picChg chg="del">
          <ac:chgData name="Kebba Jeng" userId="fe4cc296-ba7d-48a2-8799-89b58d218255" providerId="ADAL" clId="{FCBD5683-BE61-41A3-82A3-992D8F76D308}" dt="2022-04-01T17:23:34.230" v="143" actId="478"/>
          <ac:picMkLst>
            <pc:docMk/>
            <pc:sldMk cId="491394412" sldId="2134803559"/>
            <ac:picMk id="17" creationId="{C05F3E5A-E355-4F02-9B0F-D40D0F1FF2FF}"/>
          </ac:picMkLst>
        </pc:picChg>
        <pc:picChg chg="del">
          <ac:chgData name="Kebba Jeng" userId="fe4cc296-ba7d-48a2-8799-89b58d218255" providerId="ADAL" clId="{FCBD5683-BE61-41A3-82A3-992D8F76D308}" dt="2022-04-01T17:23:40.707" v="146" actId="478"/>
          <ac:picMkLst>
            <pc:docMk/>
            <pc:sldMk cId="491394412" sldId="2134803559"/>
            <ac:picMk id="18" creationId="{181723FA-8633-4E01-B676-D4484386DE2C}"/>
          </ac:picMkLst>
        </pc:picChg>
      </pc:sldChg>
      <pc:sldChg chg="addSp delSp modSp add mod modNotesTx">
        <pc:chgData name="Kebba Jeng" userId="fe4cc296-ba7d-48a2-8799-89b58d218255" providerId="ADAL" clId="{FCBD5683-BE61-41A3-82A3-992D8F76D308}" dt="2022-04-08T06:31:38.787" v="448" actId="478"/>
        <pc:sldMkLst>
          <pc:docMk/>
          <pc:sldMk cId="3326962967" sldId="2134803560"/>
        </pc:sldMkLst>
        <pc:spChg chg="add del mod">
          <ac:chgData name="Kebba Jeng" userId="fe4cc296-ba7d-48a2-8799-89b58d218255" providerId="ADAL" clId="{FCBD5683-BE61-41A3-82A3-992D8F76D308}" dt="2022-04-08T06:31:25.774" v="442"/>
          <ac:spMkLst>
            <pc:docMk/>
            <pc:sldMk cId="3326962967" sldId="2134803560"/>
            <ac:spMk id="11" creationId="{13B3EE46-2B56-46BB-8AB5-9E80A32648F8}"/>
          </ac:spMkLst>
        </pc:spChg>
        <pc:spChg chg="add del mod">
          <ac:chgData name="Kebba Jeng" userId="fe4cc296-ba7d-48a2-8799-89b58d218255" providerId="ADAL" clId="{FCBD5683-BE61-41A3-82A3-992D8F76D308}" dt="2022-04-08T06:31:25.774" v="442"/>
          <ac:spMkLst>
            <pc:docMk/>
            <pc:sldMk cId="3326962967" sldId="2134803560"/>
            <ac:spMk id="12" creationId="{84D9A893-69F3-4A36-B673-03D6224B81BD}"/>
          </ac:spMkLst>
        </pc:spChg>
        <pc:spChg chg="add del mod">
          <ac:chgData name="Kebba Jeng" userId="fe4cc296-ba7d-48a2-8799-89b58d218255" providerId="ADAL" clId="{FCBD5683-BE61-41A3-82A3-992D8F76D308}" dt="2022-04-08T06:31:25.774" v="442"/>
          <ac:spMkLst>
            <pc:docMk/>
            <pc:sldMk cId="3326962967" sldId="2134803560"/>
            <ac:spMk id="13" creationId="{8B94323D-4F2F-4FC9-AE9E-1B2E72150EBC}"/>
          </ac:spMkLst>
        </pc:spChg>
        <pc:spChg chg="add del mod">
          <ac:chgData name="Kebba Jeng" userId="fe4cc296-ba7d-48a2-8799-89b58d218255" providerId="ADAL" clId="{FCBD5683-BE61-41A3-82A3-992D8F76D308}" dt="2022-04-08T06:31:25.774" v="442"/>
          <ac:spMkLst>
            <pc:docMk/>
            <pc:sldMk cId="3326962967" sldId="2134803560"/>
            <ac:spMk id="14" creationId="{AD5DB107-AC1E-4C02-856B-2ACBF6E7F11C}"/>
          </ac:spMkLst>
        </pc:spChg>
        <pc:spChg chg="add del mod">
          <ac:chgData name="Kebba Jeng" userId="fe4cc296-ba7d-48a2-8799-89b58d218255" providerId="ADAL" clId="{FCBD5683-BE61-41A3-82A3-992D8F76D308}" dt="2022-04-08T06:31:25.774" v="442"/>
          <ac:spMkLst>
            <pc:docMk/>
            <pc:sldMk cId="3326962967" sldId="2134803560"/>
            <ac:spMk id="15" creationId="{B14946B1-F11C-4D31-ACB2-94A6D6A5AD5D}"/>
          </ac:spMkLst>
        </pc:spChg>
        <pc:spChg chg="add del mod">
          <ac:chgData name="Kebba Jeng" userId="fe4cc296-ba7d-48a2-8799-89b58d218255" providerId="ADAL" clId="{FCBD5683-BE61-41A3-82A3-992D8F76D308}" dt="2022-04-08T06:31:25.774" v="442"/>
          <ac:spMkLst>
            <pc:docMk/>
            <pc:sldMk cId="3326962967" sldId="2134803560"/>
            <ac:spMk id="16" creationId="{A3235380-B320-4893-BDF6-C523E3C2BA52}"/>
          </ac:spMkLst>
        </pc:spChg>
        <pc:spChg chg="add del mod">
          <ac:chgData name="Kebba Jeng" userId="fe4cc296-ba7d-48a2-8799-89b58d218255" providerId="ADAL" clId="{FCBD5683-BE61-41A3-82A3-992D8F76D308}" dt="2022-04-08T06:31:25.774" v="442"/>
          <ac:spMkLst>
            <pc:docMk/>
            <pc:sldMk cId="3326962967" sldId="2134803560"/>
            <ac:spMk id="17" creationId="{1F4499F7-0434-4356-BF99-B19F49450EE6}"/>
          </ac:spMkLst>
        </pc:spChg>
        <pc:spChg chg="add del mod">
          <ac:chgData name="Kebba Jeng" userId="fe4cc296-ba7d-48a2-8799-89b58d218255" providerId="ADAL" clId="{FCBD5683-BE61-41A3-82A3-992D8F76D308}" dt="2022-04-08T06:31:25.774" v="442"/>
          <ac:spMkLst>
            <pc:docMk/>
            <pc:sldMk cId="3326962967" sldId="2134803560"/>
            <ac:spMk id="18" creationId="{BA756A1E-EE1A-4694-AF1D-930233178F7C}"/>
          </ac:spMkLst>
        </pc:spChg>
        <pc:spChg chg="add del mod">
          <ac:chgData name="Kebba Jeng" userId="fe4cc296-ba7d-48a2-8799-89b58d218255" providerId="ADAL" clId="{FCBD5683-BE61-41A3-82A3-992D8F76D308}" dt="2022-04-08T06:31:25.774" v="442"/>
          <ac:spMkLst>
            <pc:docMk/>
            <pc:sldMk cId="3326962967" sldId="2134803560"/>
            <ac:spMk id="19" creationId="{F739246E-6290-49F1-B084-05273C78600B}"/>
          </ac:spMkLst>
        </pc:spChg>
        <pc:spChg chg="add del mod">
          <ac:chgData name="Kebba Jeng" userId="fe4cc296-ba7d-48a2-8799-89b58d218255" providerId="ADAL" clId="{FCBD5683-BE61-41A3-82A3-992D8F76D308}" dt="2022-04-08T06:31:25.774" v="442"/>
          <ac:spMkLst>
            <pc:docMk/>
            <pc:sldMk cId="3326962967" sldId="2134803560"/>
            <ac:spMk id="20" creationId="{7920FAC5-C8DE-49A5-AE60-86E6D5EDBE9C}"/>
          </ac:spMkLst>
        </pc:spChg>
        <pc:spChg chg="add del mod">
          <ac:chgData name="Kebba Jeng" userId="fe4cc296-ba7d-48a2-8799-89b58d218255" providerId="ADAL" clId="{FCBD5683-BE61-41A3-82A3-992D8F76D308}" dt="2022-04-08T06:31:25.774" v="442"/>
          <ac:spMkLst>
            <pc:docMk/>
            <pc:sldMk cId="3326962967" sldId="2134803560"/>
            <ac:spMk id="21" creationId="{9C57D5DB-6E96-4DB2-A761-FD8358CB8379}"/>
          </ac:spMkLst>
        </pc:spChg>
        <pc:spChg chg="add del mod">
          <ac:chgData name="Kebba Jeng" userId="fe4cc296-ba7d-48a2-8799-89b58d218255" providerId="ADAL" clId="{FCBD5683-BE61-41A3-82A3-992D8F76D308}" dt="2022-04-08T06:31:25.774" v="442"/>
          <ac:spMkLst>
            <pc:docMk/>
            <pc:sldMk cId="3326962967" sldId="2134803560"/>
            <ac:spMk id="22" creationId="{0578DDA0-DE1E-476C-9E59-FB53AE31533A}"/>
          </ac:spMkLst>
        </pc:spChg>
        <pc:spChg chg="add del mod">
          <ac:chgData name="Kebba Jeng" userId="fe4cc296-ba7d-48a2-8799-89b58d218255" providerId="ADAL" clId="{FCBD5683-BE61-41A3-82A3-992D8F76D308}" dt="2022-04-08T06:31:25.774" v="442"/>
          <ac:spMkLst>
            <pc:docMk/>
            <pc:sldMk cId="3326962967" sldId="2134803560"/>
            <ac:spMk id="23" creationId="{AD3C427E-33D1-42D3-933A-671ABDCE6BB4}"/>
          </ac:spMkLst>
        </pc:spChg>
        <pc:spChg chg="add del mod">
          <ac:chgData name="Kebba Jeng" userId="fe4cc296-ba7d-48a2-8799-89b58d218255" providerId="ADAL" clId="{FCBD5683-BE61-41A3-82A3-992D8F76D308}" dt="2022-04-08T06:31:25.774" v="442"/>
          <ac:spMkLst>
            <pc:docMk/>
            <pc:sldMk cId="3326962967" sldId="2134803560"/>
            <ac:spMk id="24" creationId="{9F5EE495-4D08-49FA-A18B-60E37EE01294}"/>
          </ac:spMkLst>
        </pc:spChg>
        <pc:spChg chg="add del mod">
          <ac:chgData name="Kebba Jeng" userId="fe4cc296-ba7d-48a2-8799-89b58d218255" providerId="ADAL" clId="{FCBD5683-BE61-41A3-82A3-992D8F76D308}" dt="2022-04-08T06:31:25.774" v="442"/>
          <ac:spMkLst>
            <pc:docMk/>
            <pc:sldMk cId="3326962967" sldId="2134803560"/>
            <ac:spMk id="25" creationId="{0645AA1E-9505-49B2-B4ED-EF6EFB659472}"/>
          </ac:spMkLst>
        </pc:spChg>
        <pc:spChg chg="add del mod">
          <ac:chgData name="Kebba Jeng" userId="fe4cc296-ba7d-48a2-8799-89b58d218255" providerId="ADAL" clId="{FCBD5683-BE61-41A3-82A3-992D8F76D308}" dt="2022-04-08T06:31:25.774" v="442"/>
          <ac:spMkLst>
            <pc:docMk/>
            <pc:sldMk cId="3326962967" sldId="2134803560"/>
            <ac:spMk id="26" creationId="{F96C6774-B350-4B7A-B2A0-B946429F1878}"/>
          </ac:spMkLst>
        </pc:spChg>
        <pc:spChg chg="add del mod">
          <ac:chgData name="Kebba Jeng" userId="fe4cc296-ba7d-48a2-8799-89b58d218255" providerId="ADAL" clId="{FCBD5683-BE61-41A3-82A3-992D8F76D308}" dt="2022-04-08T06:31:25.774" v="442"/>
          <ac:spMkLst>
            <pc:docMk/>
            <pc:sldMk cId="3326962967" sldId="2134803560"/>
            <ac:spMk id="27" creationId="{56D5CB04-A956-4BED-BAEC-830488B4FA96}"/>
          </ac:spMkLst>
        </pc:spChg>
        <pc:spChg chg="add del mod">
          <ac:chgData name="Kebba Jeng" userId="fe4cc296-ba7d-48a2-8799-89b58d218255" providerId="ADAL" clId="{FCBD5683-BE61-41A3-82A3-992D8F76D308}" dt="2022-04-08T06:31:25.774" v="442"/>
          <ac:spMkLst>
            <pc:docMk/>
            <pc:sldMk cId="3326962967" sldId="2134803560"/>
            <ac:spMk id="28" creationId="{85E37CCD-43FE-4DED-B8AB-B1ACA12F770E}"/>
          </ac:spMkLst>
        </pc:spChg>
        <pc:spChg chg="add del mod">
          <ac:chgData name="Kebba Jeng" userId="fe4cc296-ba7d-48a2-8799-89b58d218255" providerId="ADAL" clId="{FCBD5683-BE61-41A3-82A3-992D8F76D308}" dt="2022-04-08T06:31:25.774" v="442"/>
          <ac:spMkLst>
            <pc:docMk/>
            <pc:sldMk cId="3326962967" sldId="2134803560"/>
            <ac:spMk id="29" creationId="{EC7D5E58-E265-4647-8195-29BE3428F6C3}"/>
          </ac:spMkLst>
        </pc:spChg>
        <pc:spChg chg="add del mod">
          <ac:chgData name="Kebba Jeng" userId="fe4cc296-ba7d-48a2-8799-89b58d218255" providerId="ADAL" clId="{FCBD5683-BE61-41A3-82A3-992D8F76D308}" dt="2022-04-08T06:31:25.774" v="442"/>
          <ac:spMkLst>
            <pc:docMk/>
            <pc:sldMk cId="3326962967" sldId="2134803560"/>
            <ac:spMk id="30" creationId="{0A9CF468-F636-45EE-937E-7D6C1169F04D}"/>
          </ac:spMkLst>
        </pc:spChg>
        <pc:spChg chg="add del mod">
          <ac:chgData name="Kebba Jeng" userId="fe4cc296-ba7d-48a2-8799-89b58d218255" providerId="ADAL" clId="{FCBD5683-BE61-41A3-82A3-992D8F76D308}" dt="2022-04-08T06:31:25.774" v="442"/>
          <ac:spMkLst>
            <pc:docMk/>
            <pc:sldMk cId="3326962967" sldId="2134803560"/>
            <ac:spMk id="31" creationId="{0D554AC0-C2F1-4D80-922D-D322146BF5A0}"/>
          </ac:spMkLst>
        </pc:spChg>
        <pc:spChg chg="add del mod">
          <ac:chgData name="Kebba Jeng" userId="fe4cc296-ba7d-48a2-8799-89b58d218255" providerId="ADAL" clId="{FCBD5683-BE61-41A3-82A3-992D8F76D308}" dt="2022-04-08T06:31:25.774" v="442"/>
          <ac:spMkLst>
            <pc:docMk/>
            <pc:sldMk cId="3326962967" sldId="2134803560"/>
            <ac:spMk id="32" creationId="{57DA231E-5CD1-452F-BB66-F62B38ECDC82}"/>
          </ac:spMkLst>
        </pc:spChg>
        <pc:spChg chg="add del mod">
          <ac:chgData name="Kebba Jeng" userId="fe4cc296-ba7d-48a2-8799-89b58d218255" providerId="ADAL" clId="{FCBD5683-BE61-41A3-82A3-992D8F76D308}" dt="2022-04-08T06:31:25.774" v="442"/>
          <ac:spMkLst>
            <pc:docMk/>
            <pc:sldMk cId="3326962967" sldId="2134803560"/>
            <ac:spMk id="33" creationId="{2C09DFCF-1514-4DE6-8278-42381DF35FAB}"/>
          </ac:spMkLst>
        </pc:spChg>
        <pc:spChg chg="add del mod">
          <ac:chgData name="Kebba Jeng" userId="fe4cc296-ba7d-48a2-8799-89b58d218255" providerId="ADAL" clId="{FCBD5683-BE61-41A3-82A3-992D8F76D308}" dt="2022-04-08T06:31:25.774" v="442"/>
          <ac:spMkLst>
            <pc:docMk/>
            <pc:sldMk cId="3326962967" sldId="2134803560"/>
            <ac:spMk id="34" creationId="{EB58F8A8-0ED9-44BE-9680-E0D9BC9841A7}"/>
          </ac:spMkLst>
        </pc:spChg>
        <pc:spChg chg="add del mod">
          <ac:chgData name="Kebba Jeng" userId="fe4cc296-ba7d-48a2-8799-89b58d218255" providerId="ADAL" clId="{FCBD5683-BE61-41A3-82A3-992D8F76D308}" dt="2022-04-08T06:31:25.774" v="442"/>
          <ac:spMkLst>
            <pc:docMk/>
            <pc:sldMk cId="3326962967" sldId="2134803560"/>
            <ac:spMk id="35" creationId="{B9A90614-8720-4941-907C-970A0FDB3947}"/>
          </ac:spMkLst>
        </pc:spChg>
        <pc:spChg chg="add del mod">
          <ac:chgData name="Kebba Jeng" userId="fe4cc296-ba7d-48a2-8799-89b58d218255" providerId="ADAL" clId="{FCBD5683-BE61-41A3-82A3-992D8F76D308}" dt="2022-04-08T06:31:25.774" v="442"/>
          <ac:spMkLst>
            <pc:docMk/>
            <pc:sldMk cId="3326962967" sldId="2134803560"/>
            <ac:spMk id="36" creationId="{64FFCA6C-B737-405E-A82E-99910CEEAC50}"/>
          </ac:spMkLst>
        </pc:spChg>
        <pc:spChg chg="add del mod">
          <ac:chgData name="Kebba Jeng" userId="fe4cc296-ba7d-48a2-8799-89b58d218255" providerId="ADAL" clId="{FCBD5683-BE61-41A3-82A3-992D8F76D308}" dt="2022-04-08T06:31:25.774" v="442"/>
          <ac:spMkLst>
            <pc:docMk/>
            <pc:sldMk cId="3326962967" sldId="2134803560"/>
            <ac:spMk id="37" creationId="{704B3E2D-C371-46C9-A4BB-582242BB5D3F}"/>
          </ac:spMkLst>
        </pc:spChg>
        <pc:spChg chg="add del mod">
          <ac:chgData name="Kebba Jeng" userId="fe4cc296-ba7d-48a2-8799-89b58d218255" providerId="ADAL" clId="{FCBD5683-BE61-41A3-82A3-992D8F76D308}" dt="2022-04-08T06:31:25.774" v="442"/>
          <ac:spMkLst>
            <pc:docMk/>
            <pc:sldMk cId="3326962967" sldId="2134803560"/>
            <ac:spMk id="38" creationId="{E125E9D2-30E1-4A77-9EF1-BB194E72F84E}"/>
          </ac:spMkLst>
        </pc:spChg>
        <pc:spChg chg="add del mod">
          <ac:chgData name="Kebba Jeng" userId="fe4cc296-ba7d-48a2-8799-89b58d218255" providerId="ADAL" clId="{FCBD5683-BE61-41A3-82A3-992D8F76D308}" dt="2022-04-08T06:31:25.774" v="442"/>
          <ac:spMkLst>
            <pc:docMk/>
            <pc:sldMk cId="3326962967" sldId="2134803560"/>
            <ac:spMk id="39" creationId="{CAAC214D-3F32-462A-BBE9-3A67745BC19B}"/>
          </ac:spMkLst>
        </pc:spChg>
        <pc:spChg chg="add del mod">
          <ac:chgData name="Kebba Jeng" userId="fe4cc296-ba7d-48a2-8799-89b58d218255" providerId="ADAL" clId="{FCBD5683-BE61-41A3-82A3-992D8F76D308}" dt="2022-04-08T06:31:25.774" v="442"/>
          <ac:spMkLst>
            <pc:docMk/>
            <pc:sldMk cId="3326962967" sldId="2134803560"/>
            <ac:spMk id="40" creationId="{1DD4D9D1-ECF3-4D6D-9EF2-82594517DDC6}"/>
          </ac:spMkLst>
        </pc:spChg>
        <pc:spChg chg="add del mod">
          <ac:chgData name="Kebba Jeng" userId="fe4cc296-ba7d-48a2-8799-89b58d218255" providerId="ADAL" clId="{FCBD5683-BE61-41A3-82A3-992D8F76D308}" dt="2022-04-08T06:31:25.774" v="442"/>
          <ac:spMkLst>
            <pc:docMk/>
            <pc:sldMk cId="3326962967" sldId="2134803560"/>
            <ac:spMk id="41" creationId="{A814F93B-B356-4A52-A1F1-9A69DDACAD7A}"/>
          </ac:spMkLst>
        </pc:spChg>
        <pc:spChg chg="add del mod">
          <ac:chgData name="Kebba Jeng" userId="fe4cc296-ba7d-48a2-8799-89b58d218255" providerId="ADAL" clId="{FCBD5683-BE61-41A3-82A3-992D8F76D308}" dt="2022-04-08T06:31:25.774" v="442"/>
          <ac:spMkLst>
            <pc:docMk/>
            <pc:sldMk cId="3326962967" sldId="2134803560"/>
            <ac:spMk id="42" creationId="{1221DC90-5E75-4870-9134-2EEEAD18FAAA}"/>
          </ac:spMkLst>
        </pc:spChg>
        <pc:spChg chg="add del mod">
          <ac:chgData name="Kebba Jeng" userId="fe4cc296-ba7d-48a2-8799-89b58d218255" providerId="ADAL" clId="{FCBD5683-BE61-41A3-82A3-992D8F76D308}" dt="2022-04-08T06:31:25.774" v="442"/>
          <ac:spMkLst>
            <pc:docMk/>
            <pc:sldMk cId="3326962967" sldId="2134803560"/>
            <ac:spMk id="43" creationId="{73B9C041-F8D4-41E3-B854-F97EE8369768}"/>
          </ac:spMkLst>
        </pc:spChg>
        <pc:spChg chg="add del mod">
          <ac:chgData name="Kebba Jeng" userId="fe4cc296-ba7d-48a2-8799-89b58d218255" providerId="ADAL" clId="{FCBD5683-BE61-41A3-82A3-992D8F76D308}" dt="2022-04-08T06:31:25.774" v="442"/>
          <ac:spMkLst>
            <pc:docMk/>
            <pc:sldMk cId="3326962967" sldId="2134803560"/>
            <ac:spMk id="44" creationId="{0EE30476-B05D-44B0-98A5-4B42FBD85C8D}"/>
          </ac:spMkLst>
        </pc:spChg>
        <pc:spChg chg="add del mod">
          <ac:chgData name="Kebba Jeng" userId="fe4cc296-ba7d-48a2-8799-89b58d218255" providerId="ADAL" clId="{FCBD5683-BE61-41A3-82A3-992D8F76D308}" dt="2022-04-08T06:31:25.774" v="442"/>
          <ac:spMkLst>
            <pc:docMk/>
            <pc:sldMk cId="3326962967" sldId="2134803560"/>
            <ac:spMk id="45" creationId="{B5D24E33-6E90-4F83-854C-85BBE32DE443}"/>
          </ac:spMkLst>
        </pc:spChg>
        <pc:spChg chg="add del mod">
          <ac:chgData name="Kebba Jeng" userId="fe4cc296-ba7d-48a2-8799-89b58d218255" providerId="ADAL" clId="{FCBD5683-BE61-41A3-82A3-992D8F76D308}" dt="2022-04-08T06:31:25.774" v="442"/>
          <ac:spMkLst>
            <pc:docMk/>
            <pc:sldMk cId="3326962967" sldId="2134803560"/>
            <ac:spMk id="46" creationId="{CEDF5A64-7044-4BB5-8D92-8C78EB69B99C}"/>
          </ac:spMkLst>
        </pc:spChg>
        <pc:spChg chg="add del mod">
          <ac:chgData name="Kebba Jeng" userId="fe4cc296-ba7d-48a2-8799-89b58d218255" providerId="ADAL" clId="{FCBD5683-BE61-41A3-82A3-992D8F76D308}" dt="2022-04-08T06:31:25.774" v="442"/>
          <ac:spMkLst>
            <pc:docMk/>
            <pc:sldMk cId="3326962967" sldId="2134803560"/>
            <ac:spMk id="47" creationId="{ED039B30-D20F-4C75-9962-B8C12A5A92D1}"/>
          </ac:spMkLst>
        </pc:spChg>
        <pc:spChg chg="add del mod">
          <ac:chgData name="Kebba Jeng" userId="fe4cc296-ba7d-48a2-8799-89b58d218255" providerId="ADAL" clId="{FCBD5683-BE61-41A3-82A3-992D8F76D308}" dt="2022-04-08T06:31:25.774" v="442"/>
          <ac:spMkLst>
            <pc:docMk/>
            <pc:sldMk cId="3326962967" sldId="2134803560"/>
            <ac:spMk id="48" creationId="{B35D8A01-5244-4B6B-9A1A-66343029981D}"/>
          </ac:spMkLst>
        </pc:spChg>
        <pc:spChg chg="add del mod">
          <ac:chgData name="Kebba Jeng" userId="fe4cc296-ba7d-48a2-8799-89b58d218255" providerId="ADAL" clId="{FCBD5683-BE61-41A3-82A3-992D8F76D308}" dt="2022-04-08T06:31:25.774" v="442"/>
          <ac:spMkLst>
            <pc:docMk/>
            <pc:sldMk cId="3326962967" sldId="2134803560"/>
            <ac:spMk id="49" creationId="{2F04DBC3-9A75-4CA2-84FC-DAC1812938D9}"/>
          </ac:spMkLst>
        </pc:spChg>
        <pc:spChg chg="add del mod">
          <ac:chgData name="Kebba Jeng" userId="fe4cc296-ba7d-48a2-8799-89b58d218255" providerId="ADAL" clId="{FCBD5683-BE61-41A3-82A3-992D8F76D308}" dt="2022-04-08T06:31:25.774" v="442"/>
          <ac:spMkLst>
            <pc:docMk/>
            <pc:sldMk cId="3326962967" sldId="2134803560"/>
            <ac:spMk id="50" creationId="{8824D345-4A3E-4FE3-9E6C-0EDF0E926BE2}"/>
          </ac:spMkLst>
        </pc:spChg>
        <pc:spChg chg="add del mod">
          <ac:chgData name="Kebba Jeng" userId="fe4cc296-ba7d-48a2-8799-89b58d218255" providerId="ADAL" clId="{FCBD5683-BE61-41A3-82A3-992D8F76D308}" dt="2022-04-08T06:31:25.774" v="442"/>
          <ac:spMkLst>
            <pc:docMk/>
            <pc:sldMk cId="3326962967" sldId="2134803560"/>
            <ac:spMk id="51" creationId="{4CB75BA3-E23F-4375-A3C1-E591F3F90F22}"/>
          </ac:spMkLst>
        </pc:spChg>
        <pc:spChg chg="add del mod">
          <ac:chgData name="Kebba Jeng" userId="fe4cc296-ba7d-48a2-8799-89b58d218255" providerId="ADAL" clId="{FCBD5683-BE61-41A3-82A3-992D8F76D308}" dt="2022-04-08T06:31:25.774" v="442"/>
          <ac:spMkLst>
            <pc:docMk/>
            <pc:sldMk cId="3326962967" sldId="2134803560"/>
            <ac:spMk id="52" creationId="{10CCC01C-BD1E-4BA1-AE08-A92BF9DA56A7}"/>
          </ac:spMkLst>
        </pc:spChg>
        <pc:spChg chg="add del mod">
          <ac:chgData name="Kebba Jeng" userId="fe4cc296-ba7d-48a2-8799-89b58d218255" providerId="ADAL" clId="{FCBD5683-BE61-41A3-82A3-992D8F76D308}" dt="2022-04-08T06:31:25.774" v="442"/>
          <ac:spMkLst>
            <pc:docMk/>
            <pc:sldMk cId="3326962967" sldId="2134803560"/>
            <ac:spMk id="53" creationId="{FC148809-E6C5-4B3A-BFE4-F6A3257047D8}"/>
          </ac:spMkLst>
        </pc:spChg>
        <pc:spChg chg="add del mod">
          <ac:chgData name="Kebba Jeng" userId="fe4cc296-ba7d-48a2-8799-89b58d218255" providerId="ADAL" clId="{FCBD5683-BE61-41A3-82A3-992D8F76D308}" dt="2022-04-08T06:31:25.774" v="442"/>
          <ac:spMkLst>
            <pc:docMk/>
            <pc:sldMk cId="3326962967" sldId="2134803560"/>
            <ac:spMk id="54" creationId="{4FCE3768-B2B0-433A-AAE2-1118890847DB}"/>
          </ac:spMkLst>
        </pc:spChg>
        <pc:spChg chg="add del mod">
          <ac:chgData name="Kebba Jeng" userId="fe4cc296-ba7d-48a2-8799-89b58d218255" providerId="ADAL" clId="{FCBD5683-BE61-41A3-82A3-992D8F76D308}" dt="2022-04-08T06:31:25.774" v="442"/>
          <ac:spMkLst>
            <pc:docMk/>
            <pc:sldMk cId="3326962967" sldId="2134803560"/>
            <ac:spMk id="55" creationId="{504A9466-D35E-44B7-92FC-1CBAFFFC822C}"/>
          </ac:spMkLst>
        </pc:spChg>
        <pc:spChg chg="add del mod">
          <ac:chgData name="Kebba Jeng" userId="fe4cc296-ba7d-48a2-8799-89b58d218255" providerId="ADAL" clId="{FCBD5683-BE61-41A3-82A3-992D8F76D308}" dt="2022-04-08T06:31:25.774" v="442"/>
          <ac:spMkLst>
            <pc:docMk/>
            <pc:sldMk cId="3326962967" sldId="2134803560"/>
            <ac:spMk id="56" creationId="{2CD6BCB1-EE12-452C-9BF3-6F0C311E0E40}"/>
          </ac:spMkLst>
        </pc:spChg>
        <pc:spChg chg="add del mod">
          <ac:chgData name="Kebba Jeng" userId="fe4cc296-ba7d-48a2-8799-89b58d218255" providerId="ADAL" clId="{FCBD5683-BE61-41A3-82A3-992D8F76D308}" dt="2022-04-08T06:31:25.774" v="442"/>
          <ac:spMkLst>
            <pc:docMk/>
            <pc:sldMk cId="3326962967" sldId="2134803560"/>
            <ac:spMk id="57" creationId="{7BA6CA60-8566-4C64-9538-805EF426F374}"/>
          </ac:spMkLst>
        </pc:spChg>
        <pc:spChg chg="add del mod">
          <ac:chgData name="Kebba Jeng" userId="fe4cc296-ba7d-48a2-8799-89b58d218255" providerId="ADAL" clId="{FCBD5683-BE61-41A3-82A3-992D8F76D308}" dt="2022-04-08T06:31:25.774" v="442"/>
          <ac:spMkLst>
            <pc:docMk/>
            <pc:sldMk cId="3326962967" sldId="2134803560"/>
            <ac:spMk id="58" creationId="{C54B3BEA-AF7A-4579-AC8E-E14AB519E155}"/>
          </ac:spMkLst>
        </pc:spChg>
        <pc:spChg chg="add del mod">
          <ac:chgData name="Kebba Jeng" userId="fe4cc296-ba7d-48a2-8799-89b58d218255" providerId="ADAL" clId="{FCBD5683-BE61-41A3-82A3-992D8F76D308}" dt="2022-04-08T06:31:25.774" v="442"/>
          <ac:spMkLst>
            <pc:docMk/>
            <pc:sldMk cId="3326962967" sldId="2134803560"/>
            <ac:spMk id="59" creationId="{95EBC039-14D9-4B36-B2E1-972BE3B153D3}"/>
          </ac:spMkLst>
        </pc:spChg>
        <pc:spChg chg="add del mod">
          <ac:chgData name="Kebba Jeng" userId="fe4cc296-ba7d-48a2-8799-89b58d218255" providerId="ADAL" clId="{FCBD5683-BE61-41A3-82A3-992D8F76D308}" dt="2022-04-08T06:31:25.774" v="442"/>
          <ac:spMkLst>
            <pc:docMk/>
            <pc:sldMk cId="3326962967" sldId="2134803560"/>
            <ac:spMk id="60" creationId="{C500ECC6-FDAF-4F72-9E40-C9DABAB16BB5}"/>
          </ac:spMkLst>
        </pc:spChg>
        <pc:spChg chg="add del mod">
          <ac:chgData name="Kebba Jeng" userId="fe4cc296-ba7d-48a2-8799-89b58d218255" providerId="ADAL" clId="{FCBD5683-BE61-41A3-82A3-992D8F76D308}" dt="2022-04-08T06:31:25.774" v="442"/>
          <ac:spMkLst>
            <pc:docMk/>
            <pc:sldMk cId="3326962967" sldId="2134803560"/>
            <ac:spMk id="61" creationId="{8CDF9FF2-CDF6-4D82-8090-76C0BEF1B674}"/>
          </ac:spMkLst>
        </pc:spChg>
        <pc:spChg chg="add del mod">
          <ac:chgData name="Kebba Jeng" userId="fe4cc296-ba7d-48a2-8799-89b58d218255" providerId="ADAL" clId="{FCBD5683-BE61-41A3-82A3-992D8F76D308}" dt="2022-04-08T06:31:25.774" v="442"/>
          <ac:spMkLst>
            <pc:docMk/>
            <pc:sldMk cId="3326962967" sldId="2134803560"/>
            <ac:spMk id="62" creationId="{5703CD4E-01B1-4EF0-A53F-A2A703746FB4}"/>
          </ac:spMkLst>
        </pc:spChg>
        <pc:spChg chg="add del mod">
          <ac:chgData name="Kebba Jeng" userId="fe4cc296-ba7d-48a2-8799-89b58d218255" providerId="ADAL" clId="{FCBD5683-BE61-41A3-82A3-992D8F76D308}" dt="2022-04-08T06:31:25.774" v="442"/>
          <ac:spMkLst>
            <pc:docMk/>
            <pc:sldMk cId="3326962967" sldId="2134803560"/>
            <ac:spMk id="63" creationId="{E05377CD-6A46-4F97-B6E7-7C55A8F029D4}"/>
          </ac:spMkLst>
        </pc:spChg>
        <pc:spChg chg="add del mod">
          <ac:chgData name="Kebba Jeng" userId="fe4cc296-ba7d-48a2-8799-89b58d218255" providerId="ADAL" clId="{FCBD5683-BE61-41A3-82A3-992D8F76D308}" dt="2022-04-08T06:31:25.774" v="442"/>
          <ac:spMkLst>
            <pc:docMk/>
            <pc:sldMk cId="3326962967" sldId="2134803560"/>
            <ac:spMk id="64" creationId="{DA4D7FAF-C73E-463B-BAE8-4F3C81B55D5D}"/>
          </ac:spMkLst>
        </pc:spChg>
        <pc:spChg chg="add del mod">
          <ac:chgData name="Kebba Jeng" userId="fe4cc296-ba7d-48a2-8799-89b58d218255" providerId="ADAL" clId="{FCBD5683-BE61-41A3-82A3-992D8F76D308}" dt="2022-04-08T06:31:25.774" v="442"/>
          <ac:spMkLst>
            <pc:docMk/>
            <pc:sldMk cId="3326962967" sldId="2134803560"/>
            <ac:spMk id="65" creationId="{ECB1E4F1-78A9-4595-94F9-DB5D33C80550}"/>
          </ac:spMkLst>
        </pc:spChg>
        <pc:spChg chg="add del mod">
          <ac:chgData name="Kebba Jeng" userId="fe4cc296-ba7d-48a2-8799-89b58d218255" providerId="ADAL" clId="{FCBD5683-BE61-41A3-82A3-992D8F76D308}" dt="2022-04-08T06:31:25.774" v="442"/>
          <ac:spMkLst>
            <pc:docMk/>
            <pc:sldMk cId="3326962967" sldId="2134803560"/>
            <ac:spMk id="66" creationId="{10BB6E23-B635-47D2-A0D3-2DF8DFC4899F}"/>
          </ac:spMkLst>
        </pc:spChg>
        <pc:spChg chg="add del mod">
          <ac:chgData name="Kebba Jeng" userId="fe4cc296-ba7d-48a2-8799-89b58d218255" providerId="ADAL" clId="{FCBD5683-BE61-41A3-82A3-992D8F76D308}" dt="2022-04-08T06:31:25.774" v="442"/>
          <ac:spMkLst>
            <pc:docMk/>
            <pc:sldMk cId="3326962967" sldId="2134803560"/>
            <ac:spMk id="67" creationId="{F943F5D1-711B-4D8C-9FC3-0B198999884B}"/>
          </ac:spMkLst>
        </pc:spChg>
        <pc:spChg chg="add del mod">
          <ac:chgData name="Kebba Jeng" userId="fe4cc296-ba7d-48a2-8799-89b58d218255" providerId="ADAL" clId="{FCBD5683-BE61-41A3-82A3-992D8F76D308}" dt="2022-04-08T06:31:25.774" v="442"/>
          <ac:spMkLst>
            <pc:docMk/>
            <pc:sldMk cId="3326962967" sldId="2134803560"/>
            <ac:spMk id="68" creationId="{B19408BA-A80D-4474-8019-85183570D20B}"/>
          </ac:spMkLst>
        </pc:spChg>
        <pc:spChg chg="add del mod">
          <ac:chgData name="Kebba Jeng" userId="fe4cc296-ba7d-48a2-8799-89b58d218255" providerId="ADAL" clId="{FCBD5683-BE61-41A3-82A3-992D8F76D308}" dt="2022-04-08T06:31:25.774" v="442"/>
          <ac:spMkLst>
            <pc:docMk/>
            <pc:sldMk cId="3326962967" sldId="2134803560"/>
            <ac:spMk id="69" creationId="{CE214FAA-6C9A-44A5-A07E-994DEC1F8F7B}"/>
          </ac:spMkLst>
        </pc:spChg>
        <pc:spChg chg="add del mod">
          <ac:chgData name="Kebba Jeng" userId="fe4cc296-ba7d-48a2-8799-89b58d218255" providerId="ADAL" clId="{FCBD5683-BE61-41A3-82A3-992D8F76D308}" dt="2022-04-08T06:31:25.774" v="442"/>
          <ac:spMkLst>
            <pc:docMk/>
            <pc:sldMk cId="3326962967" sldId="2134803560"/>
            <ac:spMk id="70" creationId="{A65E2AF3-489C-409B-8ABA-CD388F5CD3B5}"/>
          </ac:spMkLst>
        </pc:spChg>
        <pc:spChg chg="add del mod">
          <ac:chgData name="Kebba Jeng" userId="fe4cc296-ba7d-48a2-8799-89b58d218255" providerId="ADAL" clId="{FCBD5683-BE61-41A3-82A3-992D8F76D308}" dt="2022-04-08T06:31:25.774" v="442"/>
          <ac:spMkLst>
            <pc:docMk/>
            <pc:sldMk cId="3326962967" sldId="2134803560"/>
            <ac:spMk id="71" creationId="{0D367990-7E1C-4576-9945-80B2B1D106E9}"/>
          </ac:spMkLst>
        </pc:spChg>
        <pc:spChg chg="add del mod">
          <ac:chgData name="Kebba Jeng" userId="fe4cc296-ba7d-48a2-8799-89b58d218255" providerId="ADAL" clId="{FCBD5683-BE61-41A3-82A3-992D8F76D308}" dt="2022-04-08T06:31:25.774" v="442"/>
          <ac:spMkLst>
            <pc:docMk/>
            <pc:sldMk cId="3326962967" sldId="2134803560"/>
            <ac:spMk id="72" creationId="{F41198C4-A162-44CB-BF48-CD16C27D0506}"/>
          </ac:spMkLst>
        </pc:spChg>
        <pc:spChg chg="add del mod">
          <ac:chgData name="Kebba Jeng" userId="fe4cc296-ba7d-48a2-8799-89b58d218255" providerId="ADAL" clId="{FCBD5683-BE61-41A3-82A3-992D8F76D308}" dt="2022-04-08T06:31:25.774" v="442"/>
          <ac:spMkLst>
            <pc:docMk/>
            <pc:sldMk cId="3326962967" sldId="2134803560"/>
            <ac:spMk id="73" creationId="{E1E9F008-541D-49BD-B5DE-CF9CE5AD7BEA}"/>
          </ac:spMkLst>
        </pc:spChg>
        <pc:spChg chg="add del mod">
          <ac:chgData name="Kebba Jeng" userId="fe4cc296-ba7d-48a2-8799-89b58d218255" providerId="ADAL" clId="{FCBD5683-BE61-41A3-82A3-992D8F76D308}" dt="2022-04-08T06:31:25.774" v="442"/>
          <ac:spMkLst>
            <pc:docMk/>
            <pc:sldMk cId="3326962967" sldId="2134803560"/>
            <ac:spMk id="74" creationId="{94E62ED5-7F18-48BC-9782-208B243EF803}"/>
          </ac:spMkLst>
        </pc:spChg>
        <pc:spChg chg="add del mod">
          <ac:chgData name="Kebba Jeng" userId="fe4cc296-ba7d-48a2-8799-89b58d218255" providerId="ADAL" clId="{FCBD5683-BE61-41A3-82A3-992D8F76D308}" dt="2022-04-08T06:31:25.774" v="442"/>
          <ac:spMkLst>
            <pc:docMk/>
            <pc:sldMk cId="3326962967" sldId="2134803560"/>
            <ac:spMk id="75" creationId="{4156EF52-08C1-4A35-A35E-5ABE921806A7}"/>
          </ac:spMkLst>
        </pc:spChg>
        <pc:spChg chg="add del mod">
          <ac:chgData name="Kebba Jeng" userId="fe4cc296-ba7d-48a2-8799-89b58d218255" providerId="ADAL" clId="{FCBD5683-BE61-41A3-82A3-992D8F76D308}" dt="2022-04-08T06:31:25.774" v="442"/>
          <ac:spMkLst>
            <pc:docMk/>
            <pc:sldMk cId="3326962967" sldId="2134803560"/>
            <ac:spMk id="76" creationId="{DEECE17F-F614-470F-8BB3-ACDCE5F9D48B}"/>
          </ac:spMkLst>
        </pc:spChg>
        <pc:spChg chg="add del mod">
          <ac:chgData name="Kebba Jeng" userId="fe4cc296-ba7d-48a2-8799-89b58d218255" providerId="ADAL" clId="{FCBD5683-BE61-41A3-82A3-992D8F76D308}" dt="2022-04-08T06:31:25.774" v="442"/>
          <ac:spMkLst>
            <pc:docMk/>
            <pc:sldMk cId="3326962967" sldId="2134803560"/>
            <ac:spMk id="77" creationId="{BC0DAD56-A8BC-43D8-9920-7309518EE5DD}"/>
          </ac:spMkLst>
        </pc:spChg>
        <pc:spChg chg="add del mod">
          <ac:chgData name="Kebba Jeng" userId="fe4cc296-ba7d-48a2-8799-89b58d218255" providerId="ADAL" clId="{FCBD5683-BE61-41A3-82A3-992D8F76D308}" dt="2022-04-08T06:31:25.774" v="442"/>
          <ac:spMkLst>
            <pc:docMk/>
            <pc:sldMk cId="3326962967" sldId="2134803560"/>
            <ac:spMk id="78" creationId="{84FAC279-CDEF-4B56-89CA-A699762B6243}"/>
          </ac:spMkLst>
        </pc:spChg>
        <pc:spChg chg="add del mod">
          <ac:chgData name="Kebba Jeng" userId="fe4cc296-ba7d-48a2-8799-89b58d218255" providerId="ADAL" clId="{FCBD5683-BE61-41A3-82A3-992D8F76D308}" dt="2022-04-08T06:31:25.774" v="442"/>
          <ac:spMkLst>
            <pc:docMk/>
            <pc:sldMk cId="3326962967" sldId="2134803560"/>
            <ac:spMk id="79" creationId="{2492F27F-9D03-442D-A874-9529974DAF64}"/>
          </ac:spMkLst>
        </pc:spChg>
        <pc:spChg chg="add del mod">
          <ac:chgData name="Kebba Jeng" userId="fe4cc296-ba7d-48a2-8799-89b58d218255" providerId="ADAL" clId="{FCBD5683-BE61-41A3-82A3-992D8F76D308}" dt="2022-04-08T06:31:25.774" v="442"/>
          <ac:spMkLst>
            <pc:docMk/>
            <pc:sldMk cId="3326962967" sldId="2134803560"/>
            <ac:spMk id="80" creationId="{7E2058B5-9FE8-4157-80DB-5C356003780A}"/>
          </ac:spMkLst>
        </pc:spChg>
        <pc:spChg chg="add del mod">
          <ac:chgData name="Kebba Jeng" userId="fe4cc296-ba7d-48a2-8799-89b58d218255" providerId="ADAL" clId="{FCBD5683-BE61-41A3-82A3-992D8F76D308}" dt="2022-04-08T06:31:25.774" v="442"/>
          <ac:spMkLst>
            <pc:docMk/>
            <pc:sldMk cId="3326962967" sldId="2134803560"/>
            <ac:spMk id="81" creationId="{C59C4B7F-4EFD-4020-816B-760B4D4DE49B}"/>
          </ac:spMkLst>
        </pc:spChg>
        <pc:spChg chg="add del mod">
          <ac:chgData name="Kebba Jeng" userId="fe4cc296-ba7d-48a2-8799-89b58d218255" providerId="ADAL" clId="{FCBD5683-BE61-41A3-82A3-992D8F76D308}" dt="2022-04-08T06:31:25.774" v="442"/>
          <ac:spMkLst>
            <pc:docMk/>
            <pc:sldMk cId="3326962967" sldId="2134803560"/>
            <ac:spMk id="82" creationId="{B92DBDB4-9FD8-4C61-9BE4-10432AEDC950}"/>
          </ac:spMkLst>
        </pc:spChg>
        <pc:spChg chg="add del mod">
          <ac:chgData name="Kebba Jeng" userId="fe4cc296-ba7d-48a2-8799-89b58d218255" providerId="ADAL" clId="{FCBD5683-BE61-41A3-82A3-992D8F76D308}" dt="2022-04-08T06:31:25.774" v="442"/>
          <ac:spMkLst>
            <pc:docMk/>
            <pc:sldMk cId="3326962967" sldId="2134803560"/>
            <ac:spMk id="83" creationId="{2FF90F13-154D-4D6A-8E84-EFC1D389A737}"/>
          </ac:spMkLst>
        </pc:spChg>
        <pc:spChg chg="add del mod">
          <ac:chgData name="Kebba Jeng" userId="fe4cc296-ba7d-48a2-8799-89b58d218255" providerId="ADAL" clId="{FCBD5683-BE61-41A3-82A3-992D8F76D308}" dt="2022-04-08T06:31:25.774" v="442"/>
          <ac:spMkLst>
            <pc:docMk/>
            <pc:sldMk cId="3326962967" sldId="2134803560"/>
            <ac:spMk id="84" creationId="{7301FBD2-C320-4C07-A111-D11AC943DA89}"/>
          </ac:spMkLst>
        </pc:spChg>
        <pc:spChg chg="add del mod">
          <ac:chgData name="Kebba Jeng" userId="fe4cc296-ba7d-48a2-8799-89b58d218255" providerId="ADAL" clId="{FCBD5683-BE61-41A3-82A3-992D8F76D308}" dt="2022-04-08T06:31:25.774" v="442"/>
          <ac:spMkLst>
            <pc:docMk/>
            <pc:sldMk cId="3326962967" sldId="2134803560"/>
            <ac:spMk id="85" creationId="{948EE9F4-A270-4CBC-B6AB-9C9D10599E14}"/>
          </ac:spMkLst>
        </pc:spChg>
        <pc:spChg chg="add del mod">
          <ac:chgData name="Kebba Jeng" userId="fe4cc296-ba7d-48a2-8799-89b58d218255" providerId="ADAL" clId="{FCBD5683-BE61-41A3-82A3-992D8F76D308}" dt="2022-04-08T06:31:25.774" v="442"/>
          <ac:spMkLst>
            <pc:docMk/>
            <pc:sldMk cId="3326962967" sldId="2134803560"/>
            <ac:spMk id="86" creationId="{C352F468-2530-4799-B353-4B0B4789F0C9}"/>
          </ac:spMkLst>
        </pc:spChg>
        <pc:spChg chg="add del mod">
          <ac:chgData name="Kebba Jeng" userId="fe4cc296-ba7d-48a2-8799-89b58d218255" providerId="ADAL" clId="{FCBD5683-BE61-41A3-82A3-992D8F76D308}" dt="2022-04-08T06:31:25.774" v="442"/>
          <ac:spMkLst>
            <pc:docMk/>
            <pc:sldMk cId="3326962967" sldId="2134803560"/>
            <ac:spMk id="87" creationId="{90284AE1-53E8-4CA1-9970-C813E4B688C5}"/>
          </ac:spMkLst>
        </pc:spChg>
        <pc:spChg chg="add del mod">
          <ac:chgData name="Kebba Jeng" userId="fe4cc296-ba7d-48a2-8799-89b58d218255" providerId="ADAL" clId="{FCBD5683-BE61-41A3-82A3-992D8F76D308}" dt="2022-04-08T06:31:25.774" v="442"/>
          <ac:spMkLst>
            <pc:docMk/>
            <pc:sldMk cId="3326962967" sldId="2134803560"/>
            <ac:spMk id="88" creationId="{248DCEA7-1B57-4A48-9F77-36AD10C0F65F}"/>
          </ac:spMkLst>
        </pc:spChg>
        <pc:spChg chg="add del mod">
          <ac:chgData name="Kebba Jeng" userId="fe4cc296-ba7d-48a2-8799-89b58d218255" providerId="ADAL" clId="{FCBD5683-BE61-41A3-82A3-992D8F76D308}" dt="2022-04-08T06:31:25.774" v="442"/>
          <ac:spMkLst>
            <pc:docMk/>
            <pc:sldMk cId="3326962967" sldId="2134803560"/>
            <ac:spMk id="89" creationId="{F53B452F-0728-47B2-8F0F-F4A902EB901F}"/>
          </ac:spMkLst>
        </pc:spChg>
        <pc:spChg chg="add del mod">
          <ac:chgData name="Kebba Jeng" userId="fe4cc296-ba7d-48a2-8799-89b58d218255" providerId="ADAL" clId="{FCBD5683-BE61-41A3-82A3-992D8F76D308}" dt="2022-04-08T06:31:25.774" v="442"/>
          <ac:spMkLst>
            <pc:docMk/>
            <pc:sldMk cId="3326962967" sldId="2134803560"/>
            <ac:spMk id="90" creationId="{2B827237-CC2A-4DD5-B657-04E3EDF074E5}"/>
          </ac:spMkLst>
        </pc:spChg>
        <pc:spChg chg="add del mod">
          <ac:chgData name="Kebba Jeng" userId="fe4cc296-ba7d-48a2-8799-89b58d218255" providerId="ADAL" clId="{FCBD5683-BE61-41A3-82A3-992D8F76D308}" dt="2022-04-08T06:31:25.774" v="442"/>
          <ac:spMkLst>
            <pc:docMk/>
            <pc:sldMk cId="3326962967" sldId="2134803560"/>
            <ac:spMk id="91" creationId="{A2B5BFB6-0750-4B8D-A8D6-AA803DA161BD}"/>
          </ac:spMkLst>
        </pc:spChg>
        <pc:spChg chg="add del mod">
          <ac:chgData name="Kebba Jeng" userId="fe4cc296-ba7d-48a2-8799-89b58d218255" providerId="ADAL" clId="{FCBD5683-BE61-41A3-82A3-992D8F76D308}" dt="2022-04-08T06:31:25.774" v="442"/>
          <ac:spMkLst>
            <pc:docMk/>
            <pc:sldMk cId="3326962967" sldId="2134803560"/>
            <ac:spMk id="92" creationId="{06CCF038-1DCB-41BF-9B8D-7753A58C8B45}"/>
          </ac:spMkLst>
        </pc:spChg>
        <pc:spChg chg="add del mod">
          <ac:chgData name="Kebba Jeng" userId="fe4cc296-ba7d-48a2-8799-89b58d218255" providerId="ADAL" clId="{FCBD5683-BE61-41A3-82A3-992D8F76D308}" dt="2022-04-08T06:31:25.774" v="442"/>
          <ac:spMkLst>
            <pc:docMk/>
            <pc:sldMk cId="3326962967" sldId="2134803560"/>
            <ac:spMk id="93" creationId="{3A09DA74-5675-4A94-8F93-6BB76E24FE5B}"/>
          </ac:spMkLst>
        </pc:spChg>
        <pc:spChg chg="add del mod">
          <ac:chgData name="Kebba Jeng" userId="fe4cc296-ba7d-48a2-8799-89b58d218255" providerId="ADAL" clId="{FCBD5683-BE61-41A3-82A3-992D8F76D308}" dt="2022-04-08T06:31:25.774" v="442"/>
          <ac:spMkLst>
            <pc:docMk/>
            <pc:sldMk cId="3326962967" sldId="2134803560"/>
            <ac:spMk id="94" creationId="{8E1DD3E7-6AB1-47C4-B976-1C2EFA551E4F}"/>
          </ac:spMkLst>
        </pc:spChg>
        <pc:spChg chg="add del mod">
          <ac:chgData name="Kebba Jeng" userId="fe4cc296-ba7d-48a2-8799-89b58d218255" providerId="ADAL" clId="{FCBD5683-BE61-41A3-82A3-992D8F76D308}" dt="2022-04-08T06:31:25.774" v="442"/>
          <ac:spMkLst>
            <pc:docMk/>
            <pc:sldMk cId="3326962967" sldId="2134803560"/>
            <ac:spMk id="95" creationId="{2ECAA170-3CBA-4FD0-B23C-9B56AAD06F7B}"/>
          </ac:spMkLst>
        </pc:spChg>
        <pc:spChg chg="add del mod">
          <ac:chgData name="Kebba Jeng" userId="fe4cc296-ba7d-48a2-8799-89b58d218255" providerId="ADAL" clId="{FCBD5683-BE61-41A3-82A3-992D8F76D308}" dt="2022-04-08T06:31:25.774" v="442"/>
          <ac:spMkLst>
            <pc:docMk/>
            <pc:sldMk cId="3326962967" sldId="2134803560"/>
            <ac:spMk id="96" creationId="{5B551A90-584B-4C60-80B9-8971E6C800F1}"/>
          </ac:spMkLst>
        </pc:spChg>
        <pc:spChg chg="add del mod">
          <ac:chgData name="Kebba Jeng" userId="fe4cc296-ba7d-48a2-8799-89b58d218255" providerId="ADAL" clId="{FCBD5683-BE61-41A3-82A3-992D8F76D308}" dt="2022-04-08T06:31:25.774" v="442"/>
          <ac:spMkLst>
            <pc:docMk/>
            <pc:sldMk cId="3326962967" sldId="2134803560"/>
            <ac:spMk id="97" creationId="{85AA45BD-6F09-46B2-B006-7E4971015097}"/>
          </ac:spMkLst>
        </pc:spChg>
        <pc:spChg chg="add del mod">
          <ac:chgData name="Kebba Jeng" userId="fe4cc296-ba7d-48a2-8799-89b58d218255" providerId="ADAL" clId="{FCBD5683-BE61-41A3-82A3-992D8F76D308}" dt="2022-04-08T06:31:25.774" v="442"/>
          <ac:spMkLst>
            <pc:docMk/>
            <pc:sldMk cId="3326962967" sldId="2134803560"/>
            <ac:spMk id="98" creationId="{27671AE7-AE79-43C7-A152-642849E33C9F}"/>
          </ac:spMkLst>
        </pc:spChg>
        <pc:spChg chg="add del mod">
          <ac:chgData name="Kebba Jeng" userId="fe4cc296-ba7d-48a2-8799-89b58d218255" providerId="ADAL" clId="{FCBD5683-BE61-41A3-82A3-992D8F76D308}" dt="2022-04-08T06:31:25.774" v="442"/>
          <ac:spMkLst>
            <pc:docMk/>
            <pc:sldMk cId="3326962967" sldId="2134803560"/>
            <ac:spMk id="99" creationId="{8B1137B1-8039-4DEC-AE9F-DE5DF815ABF9}"/>
          </ac:spMkLst>
        </pc:spChg>
        <pc:spChg chg="add del mod">
          <ac:chgData name="Kebba Jeng" userId="fe4cc296-ba7d-48a2-8799-89b58d218255" providerId="ADAL" clId="{FCBD5683-BE61-41A3-82A3-992D8F76D308}" dt="2022-04-08T06:31:25.774" v="442"/>
          <ac:spMkLst>
            <pc:docMk/>
            <pc:sldMk cId="3326962967" sldId="2134803560"/>
            <ac:spMk id="100" creationId="{850F715B-8AD6-4FC2-911C-E677C7ECC402}"/>
          </ac:spMkLst>
        </pc:spChg>
        <pc:spChg chg="add del mod">
          <ac:chgData name="Kebba Jeng" userId="fe4cc296-ba7d-48a2-8799-89b58d218255" providerId="ADAL" clId="{FCBD5683-BE61-41A3-82A3-992D8F76D308}" dt="2022-04-08T06:31:25.774" v="442"/>
          <ac:spMkLst>
            <pc:docMk/>
            <pc:sldMk cId="3326962967" sldId="2134803560"/>
            <ac:spMk id="101" creationId="{ECDA8D93-EE9A-4941-BA39-44211DAB0B71}"/>
          </ac:spMkLst>
        </pc:spChg>
        <pc:spChg chg="add del mod">
          <ac:chgData name="Kebba Jeng" userId="fe4cc296-ba7d-48a2-8799-89b58d218255" providerId="ADAL" clId="{FCBD5683-BE61-41A3-82A3-992D8F76D308}" dt="2022-04-08T06:31:25.774" v="442"/>
          <ac:spMkLst>
            <pc:docMk/>
            <pc:sldMk cId="3326962967" sldId="2134803560"/>
            <ac:spMk id="102" creationId="{FE8F9976-AF4B-465E-BFA6-974DDED23B88}"/>
          </ac:spMkLst>
        </pc:spChg>
        <pc:spChg chg="add del mod">
          <ac:chgData name="Kebba Jeng" userId="fe4cc296-ba7d-48a2-8799-89b58d218255" providerId="ADAL" clId="{FCBD5683-BE61-41A3-82A3-992D8F76D308}" dt="2022-04-08T06:31:25.774" v="442"/>
          <ac:spMkLst>
            <pc:docMk/>
            <pc:sldMk cId="3326962967" sldId="2134803560"/>
            <ac:spMk id="103" creationId="{39A893D8-6C6A-4117-BFFE-EDAFA0BE037B}"/>
          </ac:spMkLst>
        </pc:spChg>
        <pc:spChg chg="add del mod">
          <ac:chgData name="Kebba Jeng" userId="fe4cc296-ba7d-48a2-8799-89b58d218255" providerId="ADAL" clId="{FCBD5683-BE61-41A3-82A3-992D8F76D308}" dt="2022-04-08T06:31:25.774" v="442"/>
          <ac:spMkLst>
            <pc:docMk/>
            <pc:sldMk cId="3326962967" sldId="2134803560"/>
            <ac:spMk id="104" creationId="{34089D68-4EEB-4284-B972-6E6D52446215}"/>
          </ac:spMkLst>
        </pc:spChg>
        <pc:spChg chg="add del mod">
          <ac:chgData name="Kebba Jeng" userId="fe4cc296-ba7d-48a2-8799-89b58d218255" providerId="ADAL" clId="{FCBD5683-BE61-41A3-82A3-992D8F76D308}" dt="2022-04-08T06:31:25.774" v="442"/>
          <ac:spMkLst>
            <pc:docMk/>
            <pc:sldMk cId="3326962967" sldId="2134803560"/>
            <ac:spMk id="105" creationId="{E5F5640C-507E-4A10-B6A6-4F7DF62B30AD}"/>
          </ac:spMkLst>
        </pc:spChg>
        <pc:spChg chg="add del mod">
          <ac:chgData name="Kebba Jeng" userId="fe4cc296-ba7d-48a2-8799-89b58d218255" providerId="ADAL" clId="{FCBD5683-BE61-41A3-82A3-992D8F76D308}" dt="2022-04-08T06:31:25.774" v="442"/>
          <ac:spMkLst>
            <pc:docMk/>
            <pc:sldMk cId="3326962967" sldId="2134803560"/>
            <ac:spMk id="106" creationId="{77F19730-F199-4161-B41B-FCD6CA42A10F}"/>
          </ac:spMkLst>
        </pc:spChg>
        <pc:spChg chg="add del mod">
          <ac:chgData name="Kebba Jeng" userId="fe4cc296-ba7d-48a2-8799-89b58d218255" providerId="ADAL" clId="{FCBD5683-BE61-41A3-82A3-992D8F76D308}" dt="2022-04-08T06:31:25.774" v="442"/>
          <ac:spMkLst>
            <pc:docMk/>
            <pc:sldMk cId="3326962967" sldId="2134803560"/>
            <ac:spMk id="107" creationId="{76F79B6A-EE66-42EF-8564-21DCCD1A92C4}"/>
          </ac:spMkLst>
        </pc:spChg>
        <pc:spChg chg="add del mod">
          <ac:chgData name="Kebba Jeng" userId="fe4cc296-ba7d-48a2-8799-89b58d218255" providerId="ADAL" clId="{FCBD5683-BE61-41A3-82A3-992D8F76D308}" dt="2022-04-08T06:31:25.774" v="442"/>
          <ac:spMkLst>
            <pc:docMk/>
            <pc:sldMk cId="3326962967" sldId="2134803560"/>
            <ac:spMk id="108" creationId="{18AC53E1-77BF-489A-8B51-B10CE1A0C713}"/>
          </ac:spMkLst>
        </pc:spChg>
        <pc:spChg chg="add del mod">
          <ac:chgData name="Kebba Jeng" userId="fe4cc296-ba7d-48a2-8799-89b58d218255" providerId="ADAL" clId="{FCBD5683-BE61-41A3-82A3-992D8F76D308}" dt="2022-04-08T06:31:25.774" v="442"/>
          <ac:spMkLst>
            <pc:docMk/>
            <pc:sldMk cId="3326962967" sldId="2134803560"/>
            <ac:spMk id="109" creationId="{4458E0F3-ABD7-4AFC-AC69-3415C1969F74}"/>
          </ac:spMkLst>
        </pc:spChg>
        <pc:spChg chg="add del mod">
          <ac:chgData name="Kebba Jeng" userId="fe4cc296-ba7d-48a2-8799-89b58d218255" providerId="ADAL" clId="{FCBD5683-BE61-41A3-82A3-992D8F76D308}" dt="2022-04-08T06:31:25.774" v="442"/>
          <ac:spMkLst>
            <pc:docMk/>
            <pc:sldMk cId="3326962967" sldId="2134803560"/>
            <ac:spMk id="110" creationId="{07513159-3B62-42A0-AB4B-30215C99D8ED}"/>
          </ac:spMkLst>
        </pc:spChg>
        <pc:spChg chg="add del mod">
          <ac:chgData name="Kebba Jeng" userId="fe4cc296-ba7d-48a2-8799-89b58d218255" providerId="ADAL" clId="{FCBD5683-BE61-41A3-82A3-992D8F76D308}" dt="2022-04-08T06:31:25.774" v="442"/>
          <ac:spMkLst>
            <pc:docMk/>
            <pc:sldMk cId="3326962967" sldId="2134803560"/>
            <ac:spMk id="111" creationId="{0341BAEC-8ED5-433B-8BB0-F5CC54C0AC9C}"/>
          </ac:spMkLst>
        </pc:spChg>
        <pc:spChg chg="add del mod">
          <ac:chgData name="Kebba Jeng" userId="fe4cc296-ba7d-48a2-8799-89b58d218255" providerId="ADAL" clId="{FCBD5683-BE61-41A3-82A3-992D8F76D308}" dt="2022-04-08T06:31:25.774" v="442"/>
          <ac:spMkLst>
            <pc:docMk/>
            <pc:sldMk cId="3326962967" sldId="2134803560"/>
            <ac:spMk id="112" creationId="{D7EE776C-CA03-41E6-BC8C-F34E4485900B}"/>
          </ac:spMkLst>
        </pc:spChg>
        <pc:spChg chg="add del mod">
          <ac:chgData name="Kebba Jeng" userId="fe4cc296-ba7d-48a2-8799-89b58d218255" providerId="ADAL" clId="{FCBD5683-BE61-41A3-82A3-992D8F76D308}" dt="2022-04-08T06:31:25.774" v="442"/>
          <ac:spMkLst>
            <pc:docMk/>
            <pc:sldMk cId="3326962967" sldId="2134803560"/>
            <ac:spMk id="113" creationId="{A9CCB655-AB48-492A-98E3-FE79D3F2CF52}"/>
          </ac:spMkLst>
        </pc:spChg>
        <pc:spChg chg="add del mod">
          <ac:chgData name="Kebba Jeng" userId="fe4cc296-ba7d-48a2-8799-89b58d218255" providerId="ADAL" clId="{FCBD5683-BE61-41A3-82A3-992D8F76D308}" dt="2022-04-08T06:31:25.774" v="442"/>
          <ac:spMkLst>
            <pc:docMk/>
            <pc:sldMk cId="3326962967" sldId="2134803560"/>
            <ac:spMk id="114" creationId="{55A0F616-BCCD-4C7A-984D-FA7E515BEFA7}"/>
          </ac:spMkLst>
        </pc:spChg>
        <pc:spChg chg="add del mod">
          <ac:chgData name="Kebba Jeng" userId="fe4cc296-ba7d-48a2-8799-89b58d218255" providerId="ADAL" clId="{FCBD5683-BE61-41A3-82A3-992D8F76D308}" dt="2022-04-08T06:31:25.774" v="442"/>
          <ac:spMkLst>
            <pc:docMk/>
            <pc:sldMk cId="3326962967" sldId="2134803560"/>
            <ac:spMk id="115" creationId="{C0590480-3D87-4C5A-9AEF-AE97B0906ED6}"/>
          </ac:spMkLst>
        </pc:spChg>
        <pc:spChg chg="add del mod">
          <ac:chgData name="Kebba Jeng" userId="fe4cc296-ba7d-48a2-8799-89b58d218255" providerId="ADAL" clId="{FCBD5683-BE61-41A3-82A3-992D8F76D308}" dt="2022-04-08T06:31:25.774" v="442"/>
          <ac:spMkLst>
            <pc:docMk/>
            <pc:sldMk cId="3326962967" sldId="2134803560"/>
            <ac:spMk id="116" creationId="{A4645610-BBED-4987-9E0C-ACD0A753108F}"/>
          </ac:spMkLst>
        </pc:spChg>
        <pc:spChg chg="add del mod">
          <ac:chgData name="Kebba Jeng" userId="fe4cc296-ba7d-48a2-8799-89b58d218255" providerId="ADAL" clId="{FCBD5683-BE61-41A3-82A3-992D8F76D308}" dt="2022-04-08T06:31:25.774" v="442"/>
          <ac:spMkLst>
            <pc:docMk/>
            <pc:sldMk cId="3326962967" sldId="2134803560"/>
            <ac:spMk id="117" creationId="{BE409F9C-F15F-45F1-BA1A-DC491AA835D1}"/>
          </ac:spMkLst>
        </pc:spChg>
        <pc:spChg chg="add del mod">
          <ac:chgData name="Kebba Jeng" userId="fe4cc296-ba7d-48a2-8799-89b58d218255" providerId="ADAL" clId="{FCBD5683-BE61-41A3-82A3-992D8F76D308}" dt="2022-04-08T06:31:25.774" v="442"/>
          <ac:spMkLst>
            <pc:docMk/>
            <pc:sldMk cId="3326962967" sldId="2134803560"/>
            <ac:spMk id="118" creationId="{706188AD-134B-4E67-8571-F221976829B7}"/>
          </ac:spMkLst>
        </pc:spChg>
        <pc:spChg chg="add del mod">
          <ac:chgData name="Kebba Jeng" userId="fe4cc296-ba7d-48a2-8799-89b58d218255" providerId="ADAL" clId="{FCBD5683-BE61-41A3-82A3-992D8F76D308}" dt="2022-04-08T06:31:25.774" v="442"/>
          <ac:spMkLst>
            <pc:docMk/>
            <pc:sldMk cId="3326962967" sldId="2134803560"/>
            <ac:spMk id="119" creationId="{9DCD0D37-1658-493A-AC31-805DDAD516A2}"/>
          </ac:spMkLst>
        </pc:spChg>
        <pc:spChg chg="add del mod">
          <ac:chgData name="Kebba Jeng" userId="fe4cc296-ba7d-48a2-8799-89b58d218255" providerId="ADAL" clId="{FCBD5683-BE61-41A3-82A3-992D8F76D308}" dt="2022-04-08T06:31:25.774" v="442"/>
          <ac:spMkLst>
            <pc:docMk/>
            <pc:sldMk cId="3326962967" sldId="2134803560"/>
            <ac:spMk id="120" creationId="{B69DBE64-C5E0-4345-92FC-F9BFCEFDA6A8}"/>
          </ac:spMkLst>
        </pc:spChg>
        <pc:spChg chg="add del mod">
          <ac:chgData name="Kebba Jeng" userId="fe4cc296-ba7d-48a2-8799-89b58d218255" providerId="ADAL" clId="{FCBD5683-BE61-41A3-82A3-992D8F76D308}" dt="2022-04-08T06:31:25.774" v="442"/>
          <ac:spMkLst>
            <pc:docMk/>
            <pc:sldMk cId="3326962967" sldId="2134803560"/>
            <ac:spMk id="121" creationId="{09ED3858-9C0C-4729-9129-EECC22B4A215}"/>
          </ac:spMkLst>
        </pc:spChg>
        <pc:spChg chg="add del mod">
          <ac:chgData name="Kebba Jeng" userId="fe4cc296-ba7d-48a2-8799-89b58d218255" providerId="ADAL" clId="{FCBD5683-BE61-41A3-82A3-992D8F76D308}" dt="2022-04-08T06:31:25.774" v="442"/>
          <ac:spMkLst>
            <pc:docMk/>
            <pc:sldMk cId="3326962967" sldId="2134803560"/>
            <ac:spMk id="122" creationId="{66E40692-0F07-4DD8-B8FB-C5B24A6FFADE}"/>
          </ac:spMkLst>
        </pc:spChg>
        <pc:spChg chg="add del mod">
          <ac:chgData name="Kebba Jeng" userId="fe4cc296-ba7d-48a2-8799-89b58d218255" providerId="ADAL" clId="{FCBD5683-BE61-41A3-82A3-992D8F76D308}" dt="2022-04-08T06:31:25.774" v="442"/>
          <ac:spMkLst>
            <pc:docMk/>
            <pc:sldMk cId="3326962967" sldId="2134803560"/>
            <ac:spMk id="123" creationId="{B06419B9-FB9D-4D46-B028-A8A49128508A}"/>
          </ac:spMkLst>
        </pc:spChg>
        <pc:spChg chg="add del mod">
          <ac:chgData name="Kebba Jeng" userId="fe4cc296-ba7d-48a2-8799-89b58d218255" providerId="ADAL" clId="{FCBD5683-BE61-41A3-82A3-992D8F76D308}" dt="2022-04-08T06:31:25.774" v="442"/>
          <ac:spMkLst>
            <pc:docMk/>
            <pc:sldMk cId="3326962967" sldId="2134803560"/>
            <ac:spMk id="124" creationId="{287E06AB-E5E2-447E-B949-C7DE13E3642B}"/>
          </ac:spMkLst>
        </pc:spChg>
        <pc:spChg chg="add del mod">
          <ac:chgData name="Kebba Jeng" userId="fe4cc296-ba7d-48a2-8799-89b58d218255" providerId="ADAL" clId="{FCBD5683-BE61-41A3-82A3-992D8F76D308}" dt="2022-04-08T06:31:25.774" v="442"/>
          <ac:spMkLst>
            <pc:docMk/>
            <pc:sldMk cId="3326962967" sldId="2134803560"/>
            <ac:spMk id="125" creationId="{3F1C00AE-0D96-4FE1-9148-8B816C03ADCD}"/>
          </ac:spMkLst>
        </pc:spChg>
        <pc:spChg chg="add del mod">
          <ac:chgData name="Kebba Jeng" userId="fe4cc296-ba7d-48a2-8799-89b58d218255" providerId="ADAL" clId="{FCBD5683-BE61-41A3-82A3-992D8F76D308}" dt="2022-04-08T06:31:25.774" v="442"/>
          <ac:spMkLst>
            <pc:docMk/>
            <pc:sldMk cId="3326962967" sldId="2134803560"/>
            <ac:spMk id="126" creationId="{168458DE-8A71-4EAB-9344-CE7FD042895F}"/>
          </ac:spMkLst>
        </pc:spChg>
        <pc:spChg chg="add del mod">
          <ac:chgData name="Kebba Jeng" userId="fe4cc296-ba7d-48a2-8799-89b58d218255" providerId="ADAL" clId="{FCBD5683-BE61-41A3-82A3-992D8F76D308}" dt="2022-04-08T06:31:25.774" v="442"/>
          <ac:spMkLst>
            <pc:docMk/>
            <pc:sldMk cId="3326962967" sldId="2134803560"/>
            <ac:spMk id="127" creationId="{141DD963-75EF-42B6-B106-A66F2816A412}"/>
          </ac:spMkLst>
        </pc:spChg>
        <pc:spChg chg="add del mod">
          <ac:chgData name="Kebba Jeng" userId="fe4cc296-ba7d-48a2-8799-89b58d218255" providerId="ADAL" clId="{FCBD5683-BE61-41A3-82A3-992D8F76D308}" dt="2022-04-08T06:31:25.774" v="442"/>
          <ac:spMkLst>
            <pc:docMk/>
            <pc:sldMk cId="3326962967" sldId="2134803560"/>
            <ac:spMk id="128" creationId="{14821C51-44F2-44FC-B696-73F6CCF9A9CE}"/>
          </ac:spMkLst>
        </pc:spChg>
        <pc:spChg chg="add del mod">
          <ac:chgData name="Kebba Jeng" userId="fe4cc296-ba7d-48a2-8799-89b58d218255" providerId="ADAL" clId="{FCBD5683-BE61-41A3-82A3-992D8F76D308}" dt="2022-04-08T06:31:25.774" v="442"/>
          <ac:spMkLst>
            <pc:docMk/>
            <pc:sldMk cId="3326962967" sldId="2134803560"/>
            <ac:spMk id="129" creationId="{B604F4F9-135E-46B9-AFEF-5EC4D2D520B4}"/>
          </ac:spMkLst>
        </pc:spChg>
        <pc:spChg chg="add del mod">
          <ac:chgData name="Kebba Jeng" userId="fe4cc296-ba7d-48a2-8799-89b58d218255" providerId="ADAL" clId="{FCBD5683-BE61-41A3-82A3-992D8F76D308}" dt="2022-04-08T06:31:25.774" v="442"/>
          <ac:spMkLst>
            <pc:docMk/>
            <pc:sldMk cId="3326962967" sldId="2134803560"/>
            <ac:spMk id="130" creationId="{699F8DCC-6985-4EF6-B4B2-1000201F34EA}"/>
          </ac:spMkLst>
        </pc:spChg>
        <pc:spChg chg="add del mod">
          <ac:chgData name="Kebba Jeng" userId="fe4cc296-ba7d-48a2-8799-89b58d218255" providerId="ADAL" clId="{FCBD5683-BE61-41A3-82A3-992D8F76D308}" dt="2022-04-08T06:31:25.774" v="442"/>
          <ac:spMkLst>
            <pc:docMk/>
            <pc:sldMk cId="3326962967" sldId="2134803560"/>
            <ac:spMk id="131" creationId="{E2F89C8B-58AA-40DB-9737-5C40C8E4E9A4}"/>
          </ac:spMkLst>
        </pc:spChg>
        <pc:spChg chg="add del mod">
          <ac:chgData name="Kebba Jeng" userId="fe4cc296-ba7d-48a2-8799-89b58d218255" providerId="ADAL" clId="{FCBD5683-BE61-41A3-82A3-992D8F76D308}" dt="2022-04-08T06:31:25.774" v="442"/>
          <ac:spMkLst>
            <pc:docMk/>
            <pc:sldMk cId="3326962967" sldId="2134803560"/>
            <ac:spMk id="132" creationId="{B1996A17-5191-4086-B396-425A8488C4EB}"/>
          </ac:spMkLst>
        </pc:spChg>
        <pc:spChg chg="add del mod">
          <ac:chgData name="Kebba Jeng" userId="fe4cc296-ba7d-48a2-8799-89b58d218255" providerId="ADAL" clId="{FCBD5683-BE61-41A3-82A3-992D8F76D308}" dt="2022-04-08T06:31:25.774" v="442"/>
          <ac:spMkLst>
            <pc:docMk/>
            <pc:sldMk cId="3326962967" sldId="2134803560"/>
            <ac:spMk id="133" creationId="{12FB97E8-DF69-4CF6-B57F-39910AABAB0D}"/>
          </ac:spMkLst>
        </pc:spChg>
        <pc:spChg chg="add del mod">
          <ac:chgData name="Kebba Jeng" userId="fe4cc296-ba7d-48a2-8799-89b58d218255" providerId="ADAL" clId="{FCBD5683-BE61-41A3-82A3-992D8F76D308}" dt="2022-04-08T06:31:25.774" v="442"/>
          <ac:spMkLst>
            <pc:docMk/>
            <pc:sldMk cId="3326962967" sldId="2134803560"/>
            <ac:spMk id="134" creationId="{1CF2D1B8-E17D-4427-BFD6-DEEC3CDB0EF3}"/>
          </ac:spMkLst>
        </pc:spChg>
        <pc:spChg chg="add del mod">
          <ac:chgData name="Kebba Jeng" userId="fe4cc296-ba7d-48a2-8799-89b58d218255" providerId="ADAL" clId="{FCBD5683-BE61-41A3-82A3-992D8F76D308}" dt="2022-04-08T06:31:25.774" v="442"/>
          <ac:spMkLst>
            <pc:docMk/>
            <pc:sldMk cId="3326962967" sldId="2134803560"/>
            <ac:spMk id="135" creationId="{423EF6D1-2D21-48F6-A2E2-464FB7FBDD7D}"/>
          </ac:spMkLst>
        </pc:spChg>
        <pc:spChg chg="add del mod">
          <ac:chgData name="Kebba Jeng" userId="fe4cc296-ba7d-48a2-8799-89b58d218255" providerId="ADAL" clId="{FCBD5683-BE61-41A3-82A3-992D8F76D308}" dt="2022-04-08T06:31:25.774" v="442"/>
          <ac:spMkLst>
            <pc:docMk/>
            <pc:sldMk cId="3326962967" sldId="2134803560"/>
            <ac:spMk id="136" creationId="{EA55CD49-8E08-4A36-BD1B-88C6B7B267AB}"/>
          </ac:spMkLst>
        </pc:spChg>
        <pc:spChg chg="add del mod">
          <ac:chgData name="Kebba Jeng" userId="fe4cc296-ba7d-48a2-8799-89b58d218255" providerId="ADAL" clId="{FCBD5683-BE61-41A3-82A3-992D8F76D308}" dt="2022-04-08T06:31:25.774" v="442"/>
          <ac:spMkLst>
            <pc:docMk/>
            <pc:sldMk cId="3326962967" sldId="2134803560"/>
            <ac:spMk id="137" creationId="{80D0DA1A-D751-4ECB-B2F6-320C266504EB}"/>
          </ac:spMkLst>
        </pc:spChg>
        <pc:spChg chg="add del mod">
          <ac:chgData name="Kebba Jeng" userId="fe4cc296-ba7d-48a2-8799-89b58d218255" providerId="ADAL" clId="{FCBD5683-BE61-41A3-82A3-992D8F76D308}" dt="2022-04-08T06:31:25.774" v="442"/>
          <ac:spMkLst>
            <pc:docMk/>
            <pc:sldMk cId="3326962967" sldId="2134803560"/>
            <ac:spMk id="138" creationId="{97B0B044-3305-485F-95B5-52E1EB1B978B}"/>
          </ac:spMkLst>
        </pc:spChg>
        <pc:spChg chg="add del mod">
          <ac:chgData name="Kebba Jeng" userId="fe4cc296-ba7d-48a2-8799-89b58d218255" providerId="ADAL" clId="{FCBD5683-BE61-41A3-82A3-992D8F76D308}" dt="2022-04-08T06:31:25.774" v="442"/>
          <ac:spMkLst>
            <pc:docMk/>
            <pc:sldMk cId="3326962967" sldId="2134803560"/>
            <ac:spMk id="139" creationId="{92217EB4-B1D5-45C7-B2DD-11DC5209F24A}"/>
          </ac:spMkLst>
        </pc:spChg>
        <pc:spChg chg="add del mod">
          <ac:chgData name="Kebba Jeng" userId="fe4cc296-ba7d-48a2-8799-89b58d218255" providerId="ADAL" clId="{FCBD5683-BE61-41A3-82A3-992D8F76D308}" dt="2022-04-08T06:31:25.774" v="442"/>
          <ac:spMkLst>
            <pc:docMk/>
            <pc:sldMk cId="3326962967" sldId="2134803560"/>
            <ac:spMk id="140" creationId="{90312EEA-E681-4B4E-AE61-8F567BCD2E57}"/>
          </ac:spMkLst>
        </pc:spChg>
        <pc:spChg chg="add del mod">
          <ac:chgData name="Kebba Jeng" userId="fe4cc296-ba7d-48a2-8799-89b58d218255" providerId="ADAL" clId="{FCBD5683-BE61-41A3-82A3-992D8F76D308}" dt="2022-04-08T06:31:25.774" v="442"/>
          <ac:spMkLst>
            <pc:docMk/>
            <pc:sldMk cId="3326962967" sldId="2134803560"/>
            <ac:spMk id="141" creationId="{5E3BC989-C042-47EF-8F74-F73FE9A42C70}"/>
          </ac:spMkLst>
        </pc:spChg>
        <pc:spChg chg="add del mod">
          <ac:chgData name="Kebba Jeng" userId="fe4cc296-ba7d-48a2-8799-89b58d218255" providerId="ADAL" clId="{FCBD5683-BE61-41A3-82A3-992D8F76D308}" dt="2022-04-08T06:31:25.774" v="442"/>
          <ac:spMkLst>
            <pc:docMk/>
            <pc:sldMk cId="3326962967" sldId="2134803560"/>
            <ac:spMk id="142" creationId="{DACD4BC1-B07D-4139-9043-521C5BE960D5}"/>
          </ac:spMkLst>
        </pc:spChg>
        <pc:spChg chg="add del mod">
          <ac:chgData name="Kebba Jeng" userId="fe4cc296-ba7d-48a2-8799-89b58d218255" providerId="ADAL" clId="{FCBD5683-BE61-41A3-82A3-992D8F76D308}" dt="2022-04-08T06:31:25.774" v="442"/>
          <ac:spMkLst>
            <pc:docMk/>
            <pc:sldMk cId="3326962967" sldId="2134803560"/>
            <ac:spMk id="143" creationId="{99484030-8F76-4173-9E3C-9272700EC8D1}"/>
          </ac:spMkLst>
        </pc:spChg>
        <pc:spChg chg="add del mod">
          <ac:chgData name="Kebba Jeng" userId="fe4cc296-ba7d-48a2-8799-89b58d218255" providerId="ADAL" clId="{FCBD5683-BE61-41A3-82A3-992D8F76D308}" dt="2022-04-08T06:31:25.774" v="442"/>
          <ac:spMkLst>
            <pc:docMk/>
            <pc:sldMk cId="3326962967" sldId="2134803560"/>
            <ac:spMk id="144" creationId="{10F7E0ED-7E12-4408-835F-31F5E05D8515}"/>
          </ac:spMkLst>
        </pc:spChg>
        <pc:spChg chg="add del mod">
          <ac:chgData name="Kebba Jeng" userId="fe4cc296-ba7d-48a2-8799-89b58d218255" providerId="ADAL" clId="{FCBD5683-BE61-41A3-82A3-992D8F76D308}" dt="2022-04-08T06:31:25.774" v="442"/>
          <ac:spMkLst>
            <pc:docMk/>
            <pc:sldMk cId="3326962967" sldId="2134803560"/>
            <ac:spMk id="145" creationId="{E764E80C-7AC1-4AF1-8399-9A9CCF4D1161}"/>
          </ac:spMkLst>
        </pc:spChg>
        <pc:spChg chg="add del mod">
          <ac:chgData name="Kebba Jeng" userId="fe4cc296-ba7d-48a2-8799-89b58d218255" providerId="ADAL" clId="{FCBD5683-BE61-41A3-82A3-992D8F76D308}" dt="2022-04-08T06:31:25.774" v="442"/>
          <ac:spMkLst>
            <pc:docMk/>
            <pc:sldMk cId="3326962967" sldId="2134803560"/>
            <ac:spMk id="146" creationId="{4C4D60A1-C17D-4DCC-BB30-1CB0BF7D7522}"/>
          </ac:spMkLst>
        </pc:spChg>
        <pc:spChg chg="add del mod">
          <ac:chgData name="Kebba Jeng" userId="fe4cc296-ba7d-48a2-8799-89b58d218255" providerId="ADAL" clId="{FCBD5683-BE61-41A3-82A3-992D8F76D308}" dt="2022-04-08T06:31:25.774" v="442"/>
          <ac:spMkLst>
            <pc:docMk/>
            <pc:sldMk cId="3326962967" sldId="2134803560"/>
            <ac:spMk id="147" creationId="{2938462B-93E2-4DAC-9C78-A9EC3ADD4CB5}"/>
          </ac:spMkLst>
        </pc:spChg>
        <pc:spChg chg="add del mod">
          <ac:chgData name="Kebba Jeng" userId="fe4cc296-ba7d-48a2-8799-89b58d218255" providerId="ADAL" clId="{FCBD5683-BE61-41A3-82A3-992D8F76D308}" dt="2022-04-08T06:31:25.774" v="442"/>
          <ac:spMkLst>
            <pc:docMk/>
            <pc:sldMk cId="3326962967" sldId="2134803560"/>
            <ac:spMk id="148" creationId="{E34AED4B-1E18-4D00-ACF4-52DF26C985F6}"/>
          </ac:spMkLst>
        </pc:spChg>
        <pc:spChg chg="add del mod">
          <ac:chgData name="Kebba Jeng" userId="fe4cc296-ba7d-48a2-8799-89b58d218255" providerId="ADAL" clId="{FCBD5683-BE61-41A3-82A3-992D8F76D308}" dt="2022-04-08T06:31:25.774" v="442"/>
          <ac:spMkLst>
            <pc:docMk/>
            <pc:sldMk cId="3326962967" sldId="2134803560"/>
            <ac:spMk id="149" creationId="{98024AEC-8966-4CF4-8206-10147B1B5C86}"/>
          </ac:spMkLst>
        </pc:spChg>
        <pc:spChg chg="add del mod">
          <ac:chgData name="Kebba Jeng" userId="fe4cc296-ba7d-48a2-8799-89b58d218255" providerId="ADAL" clId="{FCBD5683-BE61-41A3-82A3-992D8F76D308}" dt="2022-04-08T06:31:25.774" v="442"/>
          <ac:spMkLst>
            <pc:docMk/>
            <pc:sldMk cId="3326962967" sldId="2134803560"/>
            <ac:spMk id="150" creationId="{68398C3D-750F-49E7-A278-D92725D95776}"/>
          </ac:spMkLst>
        </pc:spChg>
        <pc:spChg chg="add del mod">
          <ac:chgData name="Kebba Jeng" userId="fe4cc296-ba7d-48a2-8799-89b58d218255" providerId="ADAL" clId="{FCBD5683-BE61-41A3-82A3-992D8F76D308}" dt="2022-04-08T06:31:25.774" v="442"/>
          <ac:spMkLst>
            <pc:docMk/>
            <pc:sldMk cId="3326962967" sldId="2134803560"/>
            <ac:spMk id="151" creationId="{F3126132-19FB-4FD6-A531-44123AA99EF6}"/>
          </ac:spMkLst>
        </pc:spChg>
        <pc:spChg chg="add del mod">
          <ac:chgData name="Kebba Jeng" userId="fe4cc296-ba7d-48a2-8799-89b58d218255" providerId="ADAL" clId="{FCBD5683-BE61-41A3-82A3-992D8F76D308}" dt="2022-04-08T06:31:25.774" v="442"/>
          <ac:spMkLst>
            <pc:docMk/>
            <pc:sldMk cId="3326962967" sldId="2134803560"/>
            <ac:spMk id="152" creationId="{EDA3D5E7-FA34-4C71-BE0D-145CBCD6BC76}"/>
          </ac:spMkLst>
        </pc:spChg>
        <pc:spChg chg="add del mod">
          <ac:chgData name="Kebba Jeng" userId="fe4cc296-ba7d-48a2-8799-89b58d218255" providerId="ADAL" clId="{FCBD5683-BE61-41A3-82A3-992D8F76D308}" dt="2022-04-08T06:31:25.774" v="442"/>
          <ac:spMkLst>
            <pc:docMk/>
            <pc:sldMk cId="3326962967" sldId="2134803560"/>
            <ac:spMk id="153" creationId="{28987A22-DCF0-47D7-9CDC-D8CBEF0E82E6}"/>
          </ac:spMkLst>
        </pc:spChg>
        <pc:spChg chg="add del mod">
          <ac:chgData name="Kebba Jeng" userId="fe4cc296-ba7d-48a2-8799-89b58d218255" providerId="ADAL" clId="{FCBD5683-BE61-41A3-82A3-992D8F76D308}" dt="2022-04-08T06:31:25.774" v="442"/>
          <ac:spMkLst>
            <pc:docMk/>
            <pc:sldMk cId="3326962967" sldId="2134803560"/>
            <ac:spMk id="154" creationId="{F20CB401-3B98-43D7-B2F5-0ECB2E0CA6ED}"/>
          </ac:spMkLst>
        </pc:spChg>
        <pc:spChg chg="add del mod">
          <ac:chgData name="Kebba Jeng" userId="fe4cc296-ba7d-48a2-8799-89b58d218255" providerId="ADAL" clId="{FCBD5683-BE61-41A3-82A3-992D8F76D308}" dt="2022-04-08T06:31:25.774" v="442"/>
          <ac:spMkLst>
            <pc:docMk/>
            <pc:sldMk cId="3326962967" sldId="2134803560"/>
            <ac:spMk id="155" creationId="{4F6774DF-947C-43D6-A9B6-F45E7DE37F71}"/>
          </ac:spMkLst>
        </pc:spChg>
        <pc:spChg chg="add del mod">
          <ac:chgData name="Kebba Jeng" userId="fe4cc296-ba7d-48a2-8799-89b58d218255" providerId="ADAL" clId="{FCBD5683-BE61-41A3-82A3-992D8F76D308}" dt="2022-04-08T06:31:25.774" v="442"/>
          <ac:spMkLst>
            <pc:docMk/>
            <pc:sldMk cId="3326962967" sldId="2134803560"/>
            <ac:spMk id="156" creationId="{BB8F1E8B-2EEB-4520-A4CE-91577778DE06}"/>
          </ac:spMkLst>
        </pc:spChg>
        <pc:spChg chg="add del mod">
          <ac:chgData name="Kebba Jeng" userId="fe4cc296-ba7d-48a2-8799-89b58d218255" providerId="ADAL" clId="{FCBD5683-BE61-41A3-82A3-992D8F76D308}" dt="2022-04-08T06:31:25.774" v="442"/>
          <ac:spMkLst>
            <pc:docMk/>
            <pc:sldMk cId="3326962967" sldId="2134803560"/>
            <ac:spMk id="157" creationId="{EBA60642-7267-460B-BA60-22A0632D7105}"/>
          </ac:spMkLst>
        </pc:spChg>
        <pc:spChg chg="add del mod">
          <ac:chgData name="Kebba Jeng" userId="fe4cc296-ba7d-48a2-8799-89b58d218255" providerId="ADAL" clId="{FCBD5683-BE61-41A3-82A3-992D8F76D308}" dt="2022-04-08T06:31:25.774" v="442"/>
          <ac:spMkLst>
            <pc:docMk/>
            <pc:sldMk cId="3326962967" sldId="2134803560"/>
            <ac:spMk id="158" creationId="{D48191C1-9175-446E-BB0D-BACE83F30CD1}"/>
          </ac:spMkLst>
        </pc:spChg>
        <pc:spChg chg="add del mod">
          <ac:chgData name="Kebba Jeng" userId="fe4cc296-ba7d-48a2-8799-89b58d218255" providerId="ADAL" clId="{FCBD5683-BE61-41A3-82A3-992D8F76D308}" dt="2022-04-08T06:31:25.774" v="442"/>
          <ac:spMkLst>
            <pc:docMk/>
            <pc:sldMk cId="3326962967" sldId="2134803560"/>
            <ac:spMk id="159" creationId="{CF018AE5-6FD5-4D1E-A930-AAB455C61035}"/>
          </ac:spMkLst>
        </pc:spChg>
        <pc:spChg chg="add del mod">
          <ac:chgData name="Kebba Jeng" userId="fe4cc296-ba7d-48a2-8799-89b58d218255" providerId="ADAL" clId="{FCBD5683-BE61-41A3-82A3-992D8F76D308}" dt="2022-04-08T06:31:25.774" v="442"/>
          <ac:spMkLst>
            <pc:docMk/>
            <pc:sldMk cId="3326962967" sldId="2134803560"/>
            <ac:spMk id="160" creationId="{88961A4D-FF13-4FDD-A5DA-8654B377A13A}"/>
          </ac:spMkLst>
        </pc:spChg>
        <pc:spChg chg="add del mod">
          <ac:chgData name="Kebba Jeng" userId="fe4cc296-ba7d-48a2-8799-89b58d218255" providerId="ADAL" clId="{FCBD5683-BE61-41A3-82A3-992D8F76D308}" dt="2022-04-08T06:31:25.774" v="442"/>
          <ac:spMkLst>
            <pc:docMk/>
            <pc:sldMk cId="3326962967" sldId="2134803560"/>
            <ac:spMk id="161" creationId="{A83BAAD5-2B3A-4125-9B14-3A98441794F5}"/>
          </ac:spMkLst>
        </pc:spChg>
        <pc:spChg chg="add del mod">
          <ac:chgData name="Kebba Jeng" userId="fe4cc296-ba7d-48a2-8799-89b58d218255" providerId="ADAL" clId="{FCBD5683-BE61-41A3-82A3-992D8F76D308}" dt="2022-04-08T06:31:25.774" v="442"/>
          <ac:spMkLst>
            <pc:docMk/>
            <pc:sldMk cId="3326962967" sldId="2134803560"/>
            <ac:spMk id="162" creationId="{1917B29A-4525-477E-BAB4-28A694A6C0D5}"/>
          </ac:spMkLst>
        </pc:spChg>
        <pc:spChg chg="add del mod">
          <ac:chgData name="Kebba Jeng" userId="fe4cc296-ba7d-48a2-8799-89b58d218255" providerId="ADAL" clId="{FCBD5683-BE61-41A3-82A3-992D8F76D308}" dt="2022-04-08T06:31:25.774" v="442"/>
          <ac:spMkLst>
            <pc:docMk/>
            <pc:sldMk cId="3326962967" sldId="2134803560"/>
            <ac:spMk id="163" creationId="{448435FE-9138-405B-9894-C7D6E1171E81}"/>
          </ac:spMkLst>
        </pc:spChg>
        <pc:spChg chg="add del mod">
          <ac:chgData name="Kebba Jeng" userId="fe4cc296-ba7d-48a2-8799-89b58d218255" providerId="ADAL" clId="{FCBD5683-BE61-41A3-82A3-992D8F76D308}" dt="2022-04-08T06:31:25.774" v="442"/>
          <ac:spMkLst>
            <pc:docMk/>
            <pc:sldMk cId="3326962967" sldId="2134803560"/>
            <ac:spMk id="164" creationId="{EA61ECAA-0019-4BCC-9FEE-7A61FCF840DF}"/>
          </ac:spMkLst>
        </pc:spChg>
        <pc:spChg chg="add del mod">
          <ac:chgData name="Kebba Jeng" userId="fe4cc296-ba7d-48a2-8799-89b58d218255" providerId="ADAL" clId="{FCBD5683-BE61-41A3-82A3-992D8F76D308}" dt="2022-04-08T06:31:25.774" v="442"/>
          <ac:spMkLst>
            <pc:docMk/>
            <pc:sldMk cId="3326962967" sldId="2134803560"/>
            <ac:spMk id="165" creationId="{02F5EDD9-0F6B-4203-A7A7-743F6769CB19}"/>
          </ac:spMkLst>
        </pc:spChg>
        <pc:spChg chg="add del mod">
          <ac:chgData name="Kebba Jeng" userId="fe4cc296-ba7d-48a2-8799-89b58d218255" providerId="ADAL" clId="{FCBD5683-BE61-41A3-82A3-992D8F76D308}" dt="2022-04-08T06:31:25.774" v="442"/>
          <ac:spMkLst>
            <pc:docMk/>
            <pc:sldMk cId="3326962967" sldId="2134803560"/>
            <ac:spMk id="166" creationId="{8F29EB42-037B-459E-86E3-151B4C2D453A}"/>
          </ac:spMkLst>
        </pc:spChg>
        <pc:spChg chg="add del mod">
          <ac:chgData name="Kebba Jeng" userId="fe4cc296-ba7d-48a2-8799-89b58d218255" providerId="ADAL" clId="{FCBD5683-BE61-41A3-82A3-992D8F76D308}" dt="2022-04-08T06:31:25.774" v="442"/>
          <ac:spMkLst>
            <pc:docMk/>
            <pc:sldMk cId="3326962967" sldId="2134803560"/>
            <ac:spMk id="167" creationId="{A582274F-967B-46EF-A944-DEFAE2A74274}"/>
          </ac:spMkLst>
        </pc:spChg>
        <pc:spChg chg="add del mod">
          <ac:chgData name="Kebba Jeng" userId="fe4cc296-ba7d-48a2-8799-89b58d218255" providerId="ADAL" clId="{FCBD5683-BE61-41A3-82A3-992D8F76D308}" dt="2022-04-08T06:31:25.774" v="442"/>
          <ac:spMkLst>
            <pc:docMk/>
            <pc:sldMk cId="3326962967" sldId="2134803560"/>
            <ac:spMk id="168" creationId="{3B7943CE-744B-48A0-8595-BE2DE671E0B3}"/>
          </ac:spMkLst>
        </pc:spChg>
        <pc:spChg chg="add del mod">
          <ac:chgData name="Kebba Jeng" userId="fe4cc296-ba7d-48a2-8799-89b58d218255" providerId="ADAL" clId="{FCBD5683-BE61-41A3-82A3-992D8F76D308}" dt="2022-04-08T06:31:25.774" v="442"/>
          <ac:spMkLst>
            <pc:docMk/>
            <pc:sldMk cId="3326962967" sldId="2134803560"/>
            <ac:spMk id="169" creationId="{DFB5916A-FF10-4A31-A4A9-F66407C7BBC6}"/>
          </ac:spMkLst>
        </pc:spChg>
        <pc:spChg chg="add del mod">
          <ac:chgData name="Kebba Jeng" userId="fe4cc296-ba7d-48a2-8799-89b58d218255" providerId="ADAL" clId="{FCBD5683-BE61-41A3-82A3-992D8F76D308}" dt="2022-04-08T06:31:25.774" v="442"/>
          <ac:spMkLst>
            <pc:docMk/>
            <pc:sldMk cId="3326962967" sldId="2134803560"/>
            <ac:spMk id="170" creationId="{0EEAB7D0-C58B-4492-80BA-96384E22ECD8}"/>
          </ac:spMkLst>
        </pc:spChg>
        <pc:spChg chg="add del mod">
          <ac:chgData name="Kebba Jeng" userId="fe4cc296-ba7d-48a2-8799-89b58d218255" providerId="ADAL" clId="{FCBD5683-BE61-41A3-82A3-992D8F76D308}" dt="2022-04-08T06:31:25.774" v="442"/>
          <ac:spMkLst>
            <pc:docMk/>
            <pc:sldMk cId="3326962967" sldId="2134803560"/>
            <ac:spMk id="171" creationId="{1D382845-CDC7-44B7-93BF-90CE0709CCF2}"/>
          </ac:spMkLst>
        </pc:spChg>
        <pc:spChg chg="add del mod">
          <ac:chgData name="Kebba Jeng" userId="fe4cc296-ba7d-48a2-8799-89b58d218255" providerId="ADAL" clId="{FCBD5683-BE61-41A3-82A3-992D8F76D308}" dt="2022-04-08T06:31:25.774" v="442"/>
          <ac:spMkLst>
            <pc:docMk/>
            <pc:sldMk cId="3326962967" sldId="2134803560"/>
            <ac:spMk id="172" creationId="{13594835-DEA4-473C-B298-ED14442E4501}"/>
          </ac:spMkLst>
        </pc:spChg>
        <pc:spChg chg="add del mod">
          <ac:chgData name="Kebba Jeng" userId="fe4cc296-ba7d-48a2-8799-89b58d218255" providerId="ADAL" clId="{FCBD5683-BE61-41A3-82A3-992D8F76D308}" dt="2022-04-08T06:31:25.774" v="442"/>
          <ac:spMkLst>
            <pc:docMk/>
            <pc:sldMk cId="3326962967" sldId="2134803560"/>
            <ac:spMk id="173" creationId="{E57A8973-5667-4EF6-8827-CC060130C43D}"/>
          </ac:spMkLst>
        </pc:spChg>
        <pc:spChg chg="add del mod">
          <ac:chgData name="Kebba Jeng" userId="fe4cc296-ba7d-48a2-8799-89b58d218255" providerId="ADAL" clId="{FCBD5683-BE61-41A3-82A3-992D8F76D308}" dt="2022-04-08T06:31:25.774" v="442"/>
          <ac:spMkLst>
            <pc:docMk/>
            <pc:sldMk cId="3326962967" sldId="2134803560"/>
            <ac:spMk id="174" creationId="{A91DC4A2-C9C9-4A01-AA72-1AFFA910E3E6}"/>
          </ac:spMkLst>
        </pc:spChg>
        <pc:spChg chg="add del mod">
          <ac:chgData name="Kebba Jeng" userId="fe4cc296-ba7d-48a2-8799-89b58d218255" providerId="ADAL" clId="{FCBD5683-BE61-41A3-82A3-992D8F76D308}" dt="2022-04-08T06:31:25.774" v="442"/>
          <ac:spMkLst>
            <pc:docMk/>
            <pc:sldMk cId="3326962967" sldId="2134803560"/>
            <ac:spMk id="175" creationId="{C8848BE4-229E-488A-8B69-7ADB360F21C6}"/>
          </ac:spMkLst>
        </pc:spChg>
        <pc:spChg chg="add del mod">
          <ac:chgData name="Kebba Jeng" userId="fe4cc296-ba7d-48a2-8799-89b58d218255" providerId="ADAL" clId="{FCBD5683-BE61-41A3-82A3-992D8F76D308}" dt="2022-04-08T06:31:25.774" v="442"/>
          <ac:spMkLst>
            <pc:docMk/>
            <pc:sldMk cId="3326962967" sldId="2134803560"/>
            <ac:spMk id="176" creationId="{07B6CAF7-581F-4B35-AFDA-B3DB3B3EF5A4}"/>
          </ac:spMkLst>
        </pc:spChg>
        <pc:spChg chg="add del mod">
          <ac:chgData name="Kebba Jeng" userId="fe4cc296-ba7d-48a2-8799-89b58d218255" providerId="ADAL" clId="{FCBD5683-BE61-41A3-82A3-992D8F76D308}" dt="2022-04-08T06:31:25.774" v="442"/>
          <ac:spMkLst>
            <pc:docMk/>
            <pc:sldMk cId="3326962967" sldId="2134803560"/>
            <ac:spMk id="177" creationId="{877BCF34-DDD6-46F1-9ADB-9BBD97176A21}"/>
          </ac:spMkLst>
        </pc:spChg>
        <pc:spChg chg="add del mod">
          <ac:chgData name="Kebba Jeng" userId="fe4cc296-ba7d-48a2-8799-89b58d218255" providerId="ADAL" clId="{FCBD5683-BE61-41A3-82A3-992D8F76D308}" dt="2022-04-08T06:31:25.774" v="442"/>
          <ac:spMkLst>
            <pc:docMk/>
            <pc:sldMk cId="3326962967" sldId="2134803560"/>
            <ac:spMk id="178" creationId="{60A41752-5C9D-47BC-AC01-7FF1471CA08F}"/>
          </ac:spMkLst>
        </pc:spChg>
        <pc:spChg chg="add del mod">
          <ac:chgData name="Kebba Jeng" userId="fe4cc296-ba7d-48a2-8799-89b58d218255" providerId="ADAL" clId="{FCBD5683-BE61-41A3-82A3-992D8F76D308}" dt="2022-04-08T06:31:25.774" v="442"/>
          <ac:spMkLst>
            <pc:docMk/>
            <pc:sldMk cId="3326962967" sldId="2134803560"/>
            <ac:spMk id="179" creationId="{103230BB-389E-4BC3-86E6-39E30E17C50A}"/>
          </ac:spMkLst>
        </pc:spChg>
        <pc:spChg chg="add del mod">
          <ac:chgData name="Kebba Jeng" userId="fe4cc296-ba7d-48a2-8799-89b58d218255" providerId="ADAL" clId="{FCBD5683-BE61-41A3-82A3-992D8F76D308}" dt="2022-04-08T06:31:25.774" v="442"/>
          <ac:spMkLst>
            <pc:docMk/>
            <pc:sldMk cId="3326962967" sldId="2134803560"/>
            <ac:spMk id="180" creationId="{373E0E67-6D09-49A6-872C-ADA684D8F14D}"/>
          </ac:spMkLst>
        </pc:spChg>
        <pc:spChg chg="add del mod">
          <ac:chgData name="Kebba Jeng" userId="fe4cc296-ba7d-48a2-8799-89b58d218255" providerId="ADAL" clId="{FCBD5683-BE61-41A3-82A3-992D8F76D308}" dt="2022-04-08T06:31:25.774" v="442"/>
          <ac:spMkLst>
            <pc:docMk/>
            <pc:sldMk cId="3326962967" sldId="2134803560"/>
            <ac:spMk id="181" creationId="{835FCBDA-F643-4621-8766-41FB720D44E0}"/>
          </ac:spMkLst>
        </pc:spChg>
        <pc:spChg chg="add del mod">
          <ac:chgData name="Kebba Jeng" userId="fe4cc296-ba7d-48a2-8799-89b58d218255" providerId="ADAL" clId="{FCBD5683-BE61-41A3-82A3-992D8F76D308}" dt="2022-04-08T06:31:25.774" v="442"/>
          <ac:spMkLst>
            <pc:docMk/>
            <pc:sldMk cId="3326962967" sldId="2134803560"/>
            <ac:spMk id="182" creationId="{795898B8-5612-4F52-B828-58ECFB6BA82A}"/>
          </ac:spMkLst>
        </pc:spChg>
        <pc:spChg chg="add del mod">
          <ac:chgData name="Kebba Jeng" userId="fe4cc296-ba7d-48a2-8799-89b58d218255" providerId="ADAL" clId="{FCBD5683-BE61-41A3-82A3-992D8F76D308}" dt="2022-04-08T06:31:25.774" v="442"/>
          <ac:spMkLst>
            <pc:docMk/>
            <pc:sldMk cId="3326962967" sldId="2134803560"/>
            <ac:spMk id="183" creationId="{A7F2D5D4-7B7D-4FA9-B6FC-331A8B6FF37C}"/>
          </ac:spMkLst>
        </pc:spChg>
        <pc:spChg chg="add del mod">
          <ac:chgData name="Kebba Jeng" userId="fe4cc296-ba7d-48a2-8799-89b58d218255" providerId="ADAL" clId="{FCBD5683-BE61-41A3-82A3-992D8F76D308}" dt="2022-04-08T06:31:25.774" v="442"/>
          <ac:spMkLst>
            <pc:docMk/>
            <pc:sldMk cId="3326962967" sldId="2134803560"/>
            <ac:spMk id="184" creationId="{C2C3A564-8A05-4B59-A6D4-155ACC1BA28E}"/>
          </ac:spMkLst>
        </pc:spChg>
        <pc:spChg chg="add del mod">
          <ac:chgData name="Kebba Jeng" userId="fe4cc296-ba7d-48a2-8799-89b58d218255" providerId="ADAL" clId="{FCBD5683-BE61-41A3-82A3-992D8F76D308}" dt="2022-04-08T06:31:25.774" v="442"/>
          <ac:spMkLst>
            <pc:docMk/>
            <pc:sldMk cId="3326962967" sldId="2134803560"/>
            <ac:spMk id="185" creationId="{8A78EA60-7B10-4FE3-BEB8-4E27967B431D}"/>
          </ac:spMkLst>
        </pc:spChg>
        <pc:spChg chg="add del mod">
          <ac:chgData name="Kebba Jeng" userId="fe4cc296-ba7d-48a2-8799-89b58d218255" providerId="ADAL" clId="{FCBD5683-BE61-41A3-82A3-992D8F76D308}" dt="2022-04-08T06:31:25.774" v="442"/>
          <ac:spMkLst>
            <pc:docMk/>
            <pc:sldMk cId="3326962967" sldId="2134803560"/>
            <ac:spMk id="186" creationId="{ECE36099-7B71-4F76-9193-507FFDF72FA3}"/>
          </ac:spMkLst>
        </pc:spChg>
        <pc:spChg chg="add del mod">
          <ac:chgData name="Kebba Jeng" userId="fe4cc296-ba7d-48a2-8799-89b58d218255" providerId="ADAL" clId="{FCBD5683-BE61-41A3-82A3-992D8F76D308}" dt="2022-04-08T06:31:25.774" v="442"/>
          <ac:spMkLst>
            <pc:docMk/>
            <pc:sldMk cId="3326962967" sldId="2134803560"/>
            <ac:spMk id="187" creationId="{64294AF2-8999-4529-9157-6B7194461996}"/>
          </ac:spMkLst>
        </pc:spChg>
        <pc:spChg chg="add del mod">
          <ac:chgData name="Kebba Jeng" userId="fe4cc296-ba7d-48a2-8799-89b58d218255" providerId="ADAL" clId="{FCBD5683-BE61-41A3-82A3-992D8F76D308}" dt="2022-04-08T06:31:25.774" v="442"/>
          <ac:spMkLst>
            <pc:docMk/>
            <pc:sldMk cId="3326962967" sldId="2134803560"/>
            <ac:spMk id="188" creationId="{DC3F8A09-F509-4AC2-9EB4-7D6D69C4ABE2}"/>
          </ac:spMkLst>
        </pc:spChg>
        <pc:spChg chg="add del mod">
          <ac:chgData name="Kebba Jeng" userId="fe4cc296-ba7d-48a2-8799-89b58d218255" providerId="ADAL" clId="{FCBD5683-BE61-41A3-82A3-992D8F76D308}" dt="2022-04-08T06:31:25.774" v="442"/>
          <ac:spMkLst>
            <pc:docMk/>
            <pc:sldMk cId="3326962967" sldId="2134803560"/>
            <ac:spMk id="189" creationId="{B557BEFB-2532-4259-8A1B-C56204F12B66}"/>
          </ac:spMkLst>
        </pc:spChg>
        <pc:spChg chg="add del mod">
          <ac:chgData name="Kebba Jeng" userId="fe4cc296-ba7d-48a2-8799-89b58d218255" providerId="ADAL" clId="{FCBD5683-BE61-41A3-82A3-992D8F76D308}" dt="2022-04-08T06:31:25.774" v="442"/>
          <ac:spMkLst>
            <pc:docMk/>
            <pc:sldMk cId="3326962967" sldId="2134803560"/>
            <ac:spMk id="190" creationId="{D3F8A561-75DC-42B4-872B-AA738B02FC59}"/>
          </ac:spMkLst>
        </pc:spChg>
        <pc:spChg chg="add del mod">
          <ac:chgData name="Kebba Jeng" userId="fe4cc296-ba7d-48a2-8799-89b58d218255" providerId="ADAL" clId="{FCBD5683-BE61-41A3-82A3-992D8F76D308}" dt="2022-04-08T06:31:25.774" v="442"/>
          <ac:spMkLst>
            <pc:docMk/>
            <pc:sldMk cId="3326962967" sldId="2134803560"/>
            <ac:spMk id="191" creationId="{BFF060C3-3CB7-4F80-AB38-201644A92A52}"/>
          </ac:spMkLst>
        </pc:spChg>
        <pc:spChg chg="add del mod">
          <ac:chgData name="Kebba Jeng" userId="fe4cc296-ba7d-48a2-8799-89b58d218255" providerId="ADAL" clId="{FCBD5683-BE61-41A3-82A3-992D8F76D308}" dt="2022-04-08T06:31:25.774" v="442"/>
          <ac:spMkLst>
            <pc:docMk/>
            <pc:sldMk cId="3326962967" sldId="2134803560"/>
            <ac:spMk id="192" creationId="{6EF97740-28B0-40D5-861F-6E02BA83C026}"/>
          </ac:spMkLst>
        </pc:spChg>
        <pc:spChg chg="add del mod">
          <ac:chgData name="Kebba Jeng" userId="fe4cc296-ba7d-48a2-8799-89b58d218255" providerId="ADAL" clId="{FCBD5683-BE61-41A3-82A3-992D8F76D308}" dt="2022-04-08T06:31:25.774" v="442"/>
          <ac:spMkLst>
            <pc:docMk/>
            <pc:sldMk cId="3326962967" sldId="2134803560"/>
            <ac:spMk id="193" creationId="{ECDD25F4-12B3-4671-8239-2C42D89269DE}"/>
          </ac:spMkLst>
        </pc:spChg>
        <pc:spChg chg="add del mod">
          <ac:chgData name="Kebba Jeng" userId="fe4cc296-ba7d-48a2-8799-89b58d218255" providerId="ADAL" clId="{FCBD5683-BE61-41A3-82A3-992D8F76D308}" dt="2022-04-08T06:31:25.774" v="442"/>
          <ac:spMkLst>
            <pc:docMk/>
            <pc:sldMk cId="3326962967" sldId="2134803560"/>
            <ac:spMk id="194" creationId="{E0BC0D46-C1AA-41ED-8DEA-DB50877D1121}"/>
          </ac:spMkLst>
        </pc:spChg>
        <pc:spChg chg="add del mod">
          <ac:chgData name="Kebba Jeng" userId="fe4cc296-ba7d-48a2-8799-89b58d218255" providerId="ADAL" clId="{FCBD5683-BE61-41A3-82A3-992D8F76D308}" dt="2022-04-08T06:31:25.774" v="442"/>
          <ac:spMkLst>
            <pc:docMk/>
            <pc:sldMk cId="3326962967" sldId="2134803560"/>
            <ac:spMk id="195" creationId="{F8F0B48D-86A3-41BC-8ED5-B6857303A563}"/>
          </ac:spMkLst>
        </pc:spChg>
        <pc:spChg chg="add del mod">
          <ac:chgData name="Kebba Jeng" userId="fe4cc296-ba7d-48a2-8799-89b58d218255" providerId="ADAL" clId="{FCBD5683-BE61-41A3-82A3-992D8F76D308}" dt="2022-04-08T06:31:25.774" v="442"/>
          <ac:spMkLst>
            <pc:docMk/>
            <pc:sldMk cId="3326962967" sldId="2134803560"/>
            <ac:spMk id="196" creationId="{22EF63F8-00C2-42B2-8CB4-A7488DDBB9C9}"/>
          </ac:spMkLst>
        </pc:spChg>
        <pc:spChg chg="add del mod">
          <ac:chgData name="Kebba Jeng" userId="fe4cc296-ba7d-48a2-8799-89b58d218255" providerId="ADAL" clId="{FCBD5683-BE61-41A3-82A3-992D8F76D308}" dt="2022-04-08T06:31:25.774" v="442"/>
          <ac:spMkLst>
            <pc:docMk/>
            <pc:sldMk cId="3326962967" sldId="2134803560"/>
            <ac:spMk id="197" creationId="{928FE39B-80D1-45E9-A8E6-A4931C89FD03}"/>
          </ac:spMkLst>
        </pc:spChg>
        <pc:spChg chg="add del mod">
          <ac:chgData name="Kebba Jeng" userId="fe4cc296-ba7d-48a2-8799-89b58d218255" providerId="ADAL" clId="{FCBD5683-BE61-41A3-82A3-992D8F76D308}" dt="2022-04-08T06:31:25.774" v="442"/>
          <ac:spMkLst>
            <pc:docMk/>
            <pc:sldMk cId="3326962967" sldId="2134803560"/>
            <ac:spMk id="198" creationId="{AC4FB14B-5A28-43F4-A4A3-21EA57A9A2AA}"/>
          </ac:spMkLst>
        </pc:spChg>
        <pc:spChg chg="add del mod">
          <ac:chgData name="Kebba Jeng" userId="fe4cc296-ba7d-48a2-8799-89b58d218255" providerId="ADAL" clId="{FCBD5683-BE61-41A3-82A3-992D8F76D308}" dt="2022-04-08T06:31:25.774" v="442"/>
          <ac:spMkLst>
            <pc:docMk/>
            <pc:sldMk cId="3326962967" sldId="2134803560"/>
            <ac:spMk id="199" creationId="{4426F0CF-3F03-4DFE-8F1A-2F539349ADC1}"/>
          </ac:spMkLst>
        </pc:spChg>
        <pc:spChg chg="add del mod">
          <ac:chgData name="Kebba Jeng" userId="fe4cc296-ba7d-48a2-8799-89b58d218255" providerId="ADAL" clId="{FCBD5683-BE61-41A3-82A3-992D8F76D308}" dt="2022-04-08T06:31:25.774" v="442"/>
          <ac:spMkLst>
            <pc:docMk/>
            <pc:sldMk cId="3326962967" sldId="2134803560"/>
            <ac:spMk id="200" creationId="{3448368E-FB73-444F-A922-7E49FA2801FD}"/>
          </ac:spMkLst>
        </pc:spChg>
        <pc:spChg chg="add del mod">
          <ac:chgData name="Kebba Jeng" userId="fe4cc296-ba7d-48a2-8799-89b58d218255" providerId="ADAL" clId="{FCBD5683-BE61-41A3-82A3-992D8F76D308}" dt="2022-04-08T06:31:25.774" v="442"/>
          <ac:spMkLst>
            <pc:docMk/>
            <pc:sldMk cId="3326962967" sldId="2134803560"/>
            <ac:spMk id="201" creationId="{C9C9BF1A-19A0-4106-97FF-7B46A89341BE}"/>
          </ac:spMkLst>
        </pc:spChg>
        <pc:spChg chg="add del mod">
          <ac:chgData name="Kebba Jeng" userId="fe4cc296-ba7d-48a2-8799-89b58d218255" providerId="ADAL" clId="{FCBD5683-BE61-41A3-82A3-992D8F76D308}" dt="2022-04-08T06:31:25.774" v="442"/>
          <ac:spMkLst>
            <pc:docMk/>
            <pc:sldMk cId="3326962967" sldId="2134803560"/>
            <ac:spMk id="202" creationId="{8CD1C22E-E80A-4B17-8F41-181A3FD24CFE}"/>
          </ac:spMkLst>
        </pc:spChg>
        <pc:spChg chg="add del mod">
          <ac:chgData name="Kebba Jeng" userId="fe4cc296-ba7d-48a2-8799-89b58d218255" providerId="ADAL" clId="{FCBD5683-BE61-41A3-82A3-992D8F76D308}" dt="2022-04-08T06:31:25.774" v="442"/>
          <ac:spMkLst>
            <pc:docMk/>
            <pc:sldMk cId="3326962967" sldId="2134803560"/>
            <ac:spMk id="203" creationId="{395C95A4-415A-467E-8CCD-0BA59D1EF995}"/>
          </ac:spMkLst>
        </pc:spChg>
        <pc:spChg chg="add del mod">
          <ac:chgData name="Kebba Jeng" userId="fe4cc296-ba7d-48a2-8799-89b58d218255" providerId="ADAL" clId="{FCBD5683-BE61-41A3-82A3-992D8F76D308}" dt="2022-04-08T06:31:25.774" v="442"/>
          <ac:spMkLst>
            <pc:docMk/>
            <pc:sldMk cId="3326962967" sldId="2134803560"/>
            <ac:spMk id="204" creationId="{65D5013C-643D-40B2-9468-FFFFFA9CA588}"/>
          </ac:spMkLst>
        </pc:spChg>
        <pc:spChg chg="add del mod">
          <ac:chgData name="Kebba Jeng" userId="fe4cc296-ba7d-48a2-8799-89b58d218255" providerId="ADAL" clId="{FCBD5683-BE61-41A3-82A3-992D8F76D308}" dt="2022-04-08T06:31:25.774" v="442"/>
          <ac:spMkLst>
            <pc:docMk/>
            <pc:sldMk cId="3326962967" sldId="2134803560"/>
            <ac:spMk id="205" creationId="{F40CD160-7769-47C1-80C6-FED7FCFA6D65}"/>
          </ac:spMkLst>
        </pc:spChg>
        <pc:picChg chg="add mod ord">
          <ac:chgData name="Kebba Jeng" userId="fe4cc296-ba7d-48a2-8799-89b58d218255" providerId="ADAL" clId="{FCBD5683-BE61-41A3-82A3-992D8F76D308}" dt="2022-04-08T06:31:36.712" v="447" actId="167"/>
          <ac:picMkLst>
            <pc:docMk/>
            <pc:sldMk cId="3326962967" sldId="2134803560"/>
            <ac:picMk id="4" creationId="{B814F4CE-19E2-4405-B1D5-7680A7340C08}"/>
          </ac:picMkLst>
        </pc:picChg>
        <pc:picChg chg="del">
          <ac:chgData name="Kebba Jeng" userId="fe4cc296-ba7d-48a2-8799-89b58d218255" providerId="ADAL" clId="{FCBD5683-BE61-41A3-82A3-992D8F76D308}" dt="2022-04-01T17:25:38.751" v="166" actId="478"/>
          <ac:picMkLst>
            <pc:docMk/>
            <pc:sldMk cId="3326962967" sldId="2134803560"/>
            <ac:picMk id="7" creationId="{D0CEEC6D-920A-4BEB-8B28-6610031F589F}"/>
          </ac:picMkLst>
        </pc:picChg>
        <pc:picChg chg="add del mod">
          <ac:chgData name="Kebba Jeng" userId="fe4cc296-ba7d-48a2-8799-89b58d218255" providerId="ADAL" clId="{FCBD5683-BE61-41A3-82A3-992D8F76D308}" dt="2022-04-08T06:31:38.787" v="448" actId="478"/>
          <ac:picMkLst>
            <pc:docMk/>
            <pc:sldMk cId="3326962967" sldId="2134803560"/>
            <ac:picMk id="10" creationId="{04B6FB34-308C-4463-B0EE-B58B22741189}"/>
          </ac:picMkLst>
        </pc:picChg>
        <pc:picChg chg="add del mod">
          <ac:chgData name="Kebba Jeng" userId="fe4cc296-ba7d-48a2-8799-89b58d218255" providerId="ADAL" clId="{FCBD5683-BE61-41A3-82A3-992D8F76D308}" dt="2022-04-01T17:26:27.746" v="178" actId="478"/>
          <ac:picMkLst>
            <pc:docMk/>
            <pc:sldMk cId="3326962967" sldId="2134803560"/>
            <ac:picMk id="11" creationId="{51FC6B0E-D457-4708-8046-B48AE56EDB41}"/>
          </ac:picMkLst>
        </pc:picChg>
      </pc:sldChg>
      <pc:sldChg chg="addSp delSp modSp add mod modAnim modNotesTx">
        <pc:chgData name="Kebba Jeng" userId="fe4cc296-ba7d-48a2-8799-89b58d218255" providerId="ADAL" clId="{FCBD5683-BE61-41A3-82A3-992D8F76D308}" dt="2022-04-08T06:38:28.472" v="481" actId="167"/>
        <pc:sldMkLst>
          <pc:docMk/>
          <pc:sldMk cId="2472330765" sldId="2134803561"/>
        </pc:sldMkLst>
        <pc:spChg chg="add del mod">
          <ac:chgData name="Kebba Jeng" userId="fe4cc296-ba7d-48a2-8799-89b58d218255" providerId="ADAL" clId="{FCBD5683-BE61-41A3-82A3-992D8F76D308}" dt="2022-04-08T06:32:58.055" v="457"/>
          <ac:spMkLst>
            <pc:docMk/>
            <pc:sldMk cId="2472330765" sldId="2134803561"/>
            <ac:spMk id="10" creationId="{D63820E1-F61C-4428-9B8C-21172580650F}"/>
          </ac:spMkLst>
        </pc:spChg>
        <pc:spChg chg="add del mod">
          <ac:chgData name="Kebba Jeng" userId="fe4cc296-ba7d-48a2-8799-89b58d218255" providerId="ADAL" clId="{FCBD5683-BE61-41A3-82A3-992D8F76D308}" dt="2022-04-08T06:32:58.055" v="457"/>
          <ac:spMkLst>
            <pc:docMk/>
            <pc:sldMk cId="2472330765" sldId="2134803561"/>
            <ac:spMk id="12" creationId="{D56DC2E1-F7E6-4D8F-BEDE-17A64B5B32BC}"/>
          </ac:spMkLst>
        </pc:spChg>
        <pc:spChg chg="add del mod">
          <ac:chgData name="Kebba Jeng" userId="fe4cc296-ba7d-48a2-8799-89b58d218255" providerId="ADAL" clId="{FCBD5683-BE61-41A3-82A3-992D8F76D308}" dt="2022-04-08T06:32:58.055" v="457"/>
          <ac:spMkLst>
            <pc:docMk/>
            <pc:sldMk cId="2472330765" sldId="2134803561"/>
            <ac:spMk id="13" creationId="{A27DAF40-1286-4739-8F26-DD60D2C4CF8E}"/>
          </ac:spMkLst>
        </pc:spChg>
        <pc:spChg chg="add del mod">
          <ac:chgData name="Kebba Jeng" userId="fe4cc296-ba7d-48a2-8799-89b58d218255" providerId="ADAL" clId="{FCBD5683-BE61-41A3-82A3-992D8F76D308}" dt="2022-04-08T06:32:58.055" v="457"/>
          <ac:spMkLst>
            <pc:docMk/>
            <pc:sldMk cId="2472330765" sldId="2134803561"/>
            <ac:spMk id="14" creationId="{F39618C9-FF1C-4A6C-A8A1-CA5D35111B1C}"/>
          </ac:spMkLst>
        </pc:spChg>
        <pc:spChg chg="add del mod">
          <ac:chgData name="Kebba Jeng" userId="fe4cc296-ba7d-48a2-8799-89b58d218255" providerId="ADAL" clId="{FCBD5683-BE61-41A3-82A3-992D8F76D308}" dt="2022-04-08T06:32:58.055" v="457"/>
          <ac:spMkLst>
            <pc:docMk/>
            <pc:sldMk cId="2472330765" sldId="2134803561"/>
            <ac:spMk id="15" creationId="{E2F97E68-FA8C-4D64-9198-ABA64D794564}"/>
          </ac:spMkLst>
        </pc:spChg>
        <pc:spChg chg="add del mod">
          <ac:chgData name="Kebba Jeng" userId="fe4cc296-ba7d-48a2-8799-89b58d218255" providerId="ADAL" clId="{FCBD5683-BE61-41A3-82A3-992D8F76D308}" dt="2022-04-08T06:32:58.055" v="457"/>
          <ac:spMkLst>
            <pc:docMk/>
            <pc:sldMk cId="2472330765" sldId="2134803561"/>
            <ac:spMk id="16" creationId="{A13D4140-2BDC-40D7-996B-E248CC9E9867}"/>
          </ac:spMkLst>
        </pc:spChg>
        <pc:spChg chg="add del mod">
          <ac:chgData name="Kebba Jeng" userId="fe4cc296-ba7d-48a2-8799-89b58d218255" providerId="ADAL" clId="{FCBD5683-BE61-41A3-82A3-992D8F76D308}" dt="2022-04-08T06:32:58.055" v="457"/>
          <ac:spMkLst>
            <pc:docMk/>
            <pc:sldMk cId="2472330765" sldId="2134803561"/>
            <ac:spMk id="17" creationId="{8850BF7B-2C3B-4532-9A42-FDA3A5428849}"/>
          </ac:spMkLst>
        </pc:spChg>
        <pc:spChg chg="add del mod">
          <ac:chgData name="Kebba Jeng" userId="fe4cc296-ba7d-48a2-8799-89b58d218255" providerId="ADAL" clId="{FCBD5683-BE61-41A3-82A3-992D8F76D308}" dt="2022-04-08T06:32:58.055" v="457"/>
          <ac:spMkLst>
            <pc:docMk/>
            <pc:sldMk cId="2472330765" sldId="2134803561"/>
            <ac:spMk id="18" creationId="{C2C007BF-8EA6-4C34-A65F-024F3DE586CC}"/>
          </ac:spMkLst>
        </pc:spChg>
        <pc:spChg chg="add del mod">
          <ac:chgData name="Kebba Jeng" userId="fe4cc296-ba7d-48a2-8799-89b58d218255" providerId="ADAL" clId="{FCBD5683-BE61-41A3-82A3-992D8F76D308}" dt="2022-04-08T06:32:58.055" v="457"/>
          <ac:spMkLst>
            <pc:docMk/>
            <pc:sldMk cId="2472330765" sldId="2134803561"/>
            <ac:spMk id="19" creationId="{C772B54A-9695-4F13-9CC0-9E83AEEAA22D}"/>
          </ac:spMkLst>
        </pc:spChg>
        <pc:spChg chg="add del mod">
          <ac:chgData name="Kebba Jeng" userId="fe4cc296-ba7d-48a2-8799-89b58d218255" providerId="ADAL" clId="{FCBD5683-BE61-41A3-82A3-992D8F76D308}" dt="2022-04-08T06:32:58.055" v="457"/>
          <ac:spMkLst>
            <pc:docMk/>
            <pc:sldMk cId="2472330765" sldId="2134803561"/>
            <ac:spMk id="20" creationId="{F4429012-5F4F-40AA-8C72-EEF1EE5F7110}"/>
          </ac:spMkLst>
        </pc:spChg>
        <pc:spChg chg="add del mod">
          <ac:chgData name="Kebba Jeng" userId="fe4cc296-ba7d-48a2-8799-89b58d218255" providerId="ADAL" clId="{FCBD5683-BE61-41A3-82A3-992D8F76D308}" dt="2022-04-08T06:32:58.055" v="457"/>
          <ac:spMkLst>
            <pc:docMk/>
            <pc:sldMk cId="2472330765" sldId="2134803561"/>
            <ac:spMk id="21" creationId="{D48563A4-A078-4B0A-9A4A-FE84BA6D1F76}"/>
          </ac:spMkLst>
        </pc:spChg>
        <pc:spChg chg="add del mod">
          <ac:chgData name="Kebba Jeng" userId="fe4cc296-ba7d-48a2-8799-89b58d218255" providerId="ADAL" clId="{FCBD5683-BE61-41A3-82A3-992D8F76D308}" dt="2022-04-08T06:32:58.055" v="457"/>
          <ac:spMkLst>
            <pc:docMk/>
            <pc:sldMk cId="2472330765" sldId="2134803561"/>
            <ac:spMk id="22" creationId="{F5FB8F88-29DC-43CB-8A71-7A55F51799B1}"/>
          </ac:spMkLst>
        </pc:spChg>
        <pc:spChg chg="add del mod">
          <ac:chgData name="Kebba Jeng" userId="fe4cc296-ba7d-48a2-8799-89b58d218255" providerId="ADAL" clId="{FCBD5683-BE61-41A3-82A3-992D8F76D308}" dt="2022-04-08T06:32:58.055" v="457"/>
          <ac:spMkLst>
            <pc:docMk/>
            <pc:sldMk cId="2472330765" sldId="2134803561"/>
            <ac:spMk id="23" creationId="{C0A09604-DE0B-4F41-867D-2E18700EDE18}"/>
          </ac:spMkLst>
        </pc:spChg>
        <pc:spChg chg="add del mod">
          <ac:chgData name="Kebba Jeng" userId="fe4cc296-ba7d-48a2-8799-89b58d218255" providerId="ADAL" clId="{FCBD5683-BE61-41A3-82A3-992D8F76D308}" dt="2022-04-08T06:32:58.055" v="457"/>
          <ac:spMkLst>
            <pc:docMk/>
            <pc:sldMk cId="2472330765" sldId="2134803561"/>
            <ac:spMk id="24" creationId="{A2C3EEF6-B453-4848-BA0F-597636DE573D}"/>
          </ac:spMkLst>
        </pc:spChg>
        <pc:spChg chg="add del mod">
          <ac:chgData name="Kebba Jeng" userId="fe4cc296-ba7d-48a2-8799-89b58d218255" providerId="ADAL" clId="{FCBD5683-BE61-41A3-82A3-992D8F76D308}" dt="2022-04-08T06:32:58.055" v="457"/>
          <ac:spMkLst>
            <pc:docMk/>
            <pc:sldMk cId="2472330765" sldId="2134803561"/>
            <ac:spMk id="25" creationId="{B2D45883-84A8-4E6E-BAE9-9C3161B017F4}"/>
          </ac:spMkLst>
        </pc:spChg>
        <pc:spChg chg="add del mod">
          <ac:chgData name="Kebba Jeng" userId="fe4cc296-ba7d-48a2-8799-89b58d218255" providerId="ADAL" clId="{FCBD5683-BE61-41A3-82A3-992D8F76D308}" dt="2022-04-08T06:32:58.055" v="457"/>
          <ac:spMkLst>
            <pc:docMk/>
            <pc:sldMk cId="2472330765" sldId="2134803561"/>
            <ac:spMk id="26" creationId="{796120CF-2FED-4312-B814-86E802D3BA8E}"/>
          </ac:spMkLst>
        </pc:spChg>
        <pc:spChg chg="add del mod">
          <ac:chgData name="Kebba Jeng" userId="fe4cc296-ba7d-48a2-8799-89b58d218255" providerId="ADAL" clId="{FCBD5683-BE61-41A3-82A3-992D8F76D308}" dt="2022-04-08T06:32:58.055" v="457"/>
          <ac:spMkLst>
            <pc:docMk/>
            <pc:sldMk cId="2472330765" sldId="2134803561"/>
            <ac:spMk id="27" creationId="{A13C5E47-F190-4E37-BA0A-4133254B32C4}"/>
          </ac:spMkLst>
        </pc:spChg>
        <pc:spChg chg="add del mod">
          <ac:chgData name="Kebba Jeng" userId="fe4cc296-ba7d-48a2-8799-89b58d218255" providerId="ADAL" clId="{FCBD5683-BE61-41A3-82A3-992D8F76D308}" dt="2022-04-08T06:32:58.055" v="457"/>
          <ac:spMkLst>
            <pc:docMk/>
            <pc:sldMk cId="2472330765" sldId="2134803561"/>
            <ac:spMk id="28" creationId="{4461DA81-9CF2-4C05-8CC4-904637B85F5E}"/>
          </ac:spMkLst>
        </pc:spChg>
        <pc:spChg chg="add del mod">
          <ac:chgData name="Kebba Jeng" userId="fe4cc296-ba7d-48a2-8799-89b58d218255" providerId="ADAL" clId="{FCBD5683-BE61-41A3-82A3-992D8F76D308}" dt="2022-04-08T06:32:58.055" v="457"/>
          <ac:spMkLst>
            <pc:docMk/>
            <pc:sldMk cId="2472330765" sldId="2134803561"/>
            <ac:spMk id="29" creationId="{8D4060AC-63AF-4271-B648-024F44E6882B}"/>
          </ac:spMkLst>
        </pc:spChg>
        <pc:spChg chg="add del mod">
          <ac:chgData name="Kebba Jeng" userId="fe4cc296-ba7d-48a2-8799-89b58d218255" providerId="ADAL" clId="{FCBD5683-BE61-41A3-82A3-992D8F76D308}" dt="2022-04-08T06:32:58.055" v="457"/>
          <ac:spMkLst>
            <pc:docMk/>
            <pc:sldMk cId="2472330765" sldId="2134803561"/>
            <ac:spMk id="30" creationId="{857B360F-DBB7-4A63-9C99-878E2D1E424B}"/>
          </ac:spMkLst>
        </pc:spChg>
        <pc:spChg chg="add del mod">
          <ac:chgData name="Kebba Jeng" userId="fe4cc296-ba7d-48a2-8799-89b58d218255" providerId="ADAL" clId="{FCBD5683-BE61-41A3-82A3-992D8F76D308}" dt="2022-04-08T06:32:58.055" v="457"/>
          <ac:spMkLst>
            <pc:docMk/>
            <pc:sldMk cId="2472330765" sldId="2134803561"/>
            <ac:spMk id="31" creationId="{A3BAD552-2A9C-4E4A-9B51-56CDFBA03E22}"/>
          </ac:spMkLst>
        </pc:spChg>
        <pc:spChg chg="add del mod">
          <ac:chgData name="Kebba Jeng" userId="fe4cc296-ba7d-48a2-8799-89b58d218255" providerId="ADAL" clId="{FCBD5683-BE61-41A3-82A3-992D8F76D308}" dt="2022-04-08T06:32:58.055" v="457"/>
          <ac:spMkLst>
            <pc:docMk/>
            <pc:sldMk cId="2472330765" sldId="2134803561"/>
            <ac:spMk id="32" creationId="{8EB7EBB0-32F6-4094-8075-B6F2431233BA}"/>
          </ac:spMkLst>
        </pc:spChg>
        <pc:spChg chg="add del mod">
          <ac:chgData name="Kebba Jeng" userId="fe4cc296-ba7d-48a2-8799-89b58d218255" providerId="ADAL" clId="{FCBD5683-BE61-41A3-82A3-992D8F76D308}" dt="2022-04-08T06:32:58.055" v="457"/>
          <ac:spMkLst>
            <pc:docMk/>
            <pc:sldMk cId="2472330765" sldId="2134803561"/>
            <ac:spMk id="33" creationId="{6B6A9796-4FE7-4DFC-8C36-E43BBC9D11EC}"/>
          </ac:spMkLst>
        </pc:spChg>
        <pc:spChg chg="add del mod">
          <ac:chgData name="Kebba Jeng" userId="fe4cc296-ba7d-48a2-8799-89b58d218255" providerId="ADAL" clId="{FCBD5683-BE61-41A3-82A3-992D8F76D308}" dt="2022-04-08T06:32:58.055" v="457"/>
          <ac:spMkLst>
            <pc:docMk/>
            <pc:sldMk cId="2472330765" sldId="2134803561"/>
            <ac:spMk id="34" creationId="{7A0FF59F-9445-4E20-949F-3A36BB258D16}"/>
          </ac:spMkLst>
        </pc:spChg>
        <pc:spChg chg="add del mod">
          <ac:chgData name="Kebba Jeng" userId="fe4cc296-ba7d-48a2-8799-89b58d218255" providerId="ADAL" clId="{FCBD5683-BE61-41A3-82A3-992D8F76D308}" dt="2022-04-08T06:32:58.055" v="457"/>
          <ac:spMkLst>
            <pc:docMk/>
            <pc:sldMk cId="2472330765" sldId="2134803561"/>
            <ac:spMk id="35" creationId="{FA0E8E8F-C9E1-44E7-A3B4-17B4FBD61AE2}"/>
          </ac:spMkLst>
        </pc:spChg>
        <pc:spChg chg="add del mod">
          <ac:chgData name="Kebba Jeng" userId="fe4cc296-ba7d-48a2-8799-89b58d218255" providerId="ADAL" clId="{FCBD5683-BE61-41A3-82A3-992D8F76D308}" dt="2022-04-08T06:32:58.055" v="457"/>
          <ac:spMkLst>
            <pc:docMk/>
            <pc:sldMk cId="2472330765" sldId="2134803561"/>
            <ac:spMk id="36" creationId="{8F1E933C-096F-4686-ADE8-B5EF9E85EBE7}"/>
          </ac:spMkLst>
        </pc:spChg>
        <pc:spChg chg="add del mod">
          <ac:chgData name="Kebba Jeng" userId="fe4cc296-ba7d-48a2-8799-89b58d218255" providerId="ADAL" clId="{FCBD5683-BE61-41A3-82A3-992D8F76D308}" dt="2022-04-08T06:32:58.055" v="457"/>
          <ac:spMkLst>
            <pc:docMk/>
            <pc:sldMk cId="2472330765" sldId="2134803561"/>
            <ac:spMk id="37" creationId="{76954DFB-696C-4867-8282-DDBF0315D981}"/>
          </ac:spMkLst>
        </pc:spChg>
        <pc:spChg chg="add del mod">
          <ac:chgData name="Kebba Jeng" userId="fe4cc296-ba7d-48a2-8799-89b58d218255" providerId="ADAL" clId="{FCBD5683-BE61-41A3-82A3-992D8F76D308}" dt="2022-04-08T06:32:58.055" v="457"/>
          <ac:spMkLst>
            <pc:docMk/>
            <pc:sldMk cId="2472330765" sldId="2134803561"/>
            <ac:spMk id="38" creationId="{D14E1640-6187-4687-9C60-19380E81A093}"/>
          </ac:spMkLst>
        </pc:spChg>
        <pc:spChg chg="add del mod">
          <ac:chgData name="Kebba Jeng" userId="fe4cc296-ba7d-48a2-8799-89b58d218255" providerId="ADAL" clId="{FCBD5683-BE61-41A3-82A3-992D8F76D308}" dt="2022-04-08T06:32:58.055" v="457"/>
          <ac:spMkLst>
            <pc:docMk/>
            <pc:sldMk cId="2472330765" sldId="2134803561"/>
            <ac:spMk id="39" creationId="{CAF5FFDD-B2D1-44DB-9A2A-5441426279B5}"/>
          </ac:spMkLst>
        </pc:spChg>
        <pc:spChg chg="add del mod">
          <ac:chgData name="Kebba Jeng" userId="fe4cc296-ba7d-48a2-8799-89b58d218255" providerId="ADAL" clId="{FCBD5683-BE61-41A3-82A3-992D8F76D308}" dt="2022-04-08T06:32:58.055" v="457"/>
          <ac:spMkLst>
            <pc:docMk/>
            <pc:sldMk cId="2472330765" sldId="2134803561"/>
            <ac:spMk id="40" creationId="{8342E5A7-C7C0-4121-8D4C-69FCC6B4EA21}"/>
          </ac:spMkLst>
        </pc:spChg>
        <pc:spChg chg="add del mod">
          <ac:chgData name="Kebba Jeng" userId="fe4cc296-ba7d-48a2-8799-89b58d218255" providerId="ADAL" clId="{FCBD5683-BE61-41A3-82A3-992D8F76D308}" dt="2022-04-08T06:32:58.055" v="457"/>
          <ac:spMkLst>
            <pc:docMk/>
            <pc:sldMk cId="2472330765" sldId="2134803561"/>
            <ac:spMk id="41" creationId="{99E1FAF3-5AFB-481E-85E9-66AE5A98E499}"/>
          </ac:spMkLst>
        </pc:spChg>
        <pc:spChg chg="add del mod">
          <ac:chgData name="Kebba Jeng" userId="fe4cc296-ba7d-48a2-8799-89b58d218255" providerId="ADAL" clId="{FCBD5683-BE61-41A3-82A3-992D8F76D308}" dt="2022-04-08T06:32:58.055" v="457"/>
          <ac:spMkLst>
            <pc:docMk/>
            <pc:sldMk cId="2472330765" sldId="2134803561"/>
            <ac:spMk id="42" creationId="{A33069E5-5EF8-40B3-97B0-19161FFC99BB}"/>
          </ac:spMkLst>
        </pc:spChg>
        <pc:spChg chg="add del mod">
          <ac:chgData name="Kebba Jeng" userId="fe4cc296-ba7d-48a2-8799-89b58d218255" providerId="ADAL" clId="{FCBD5683-BE61-41A3-82A3-992D8F76D308}" dt="2022-04-08T06:32:58.055" v="457"/>
          <ac:spMkLst>
            <pc:docMk/>
            <pc:sldMk cId="2472330765" sldId="2134803561"/>
            <ac:spMk id="43" creationId="{4EBCEFE1-9BD7-4216-93F4-9194C6C97209}"/>
          </ac:spMkLst>
        </pc:spChg>
        <pc:spChg chg="add del mod">
          <ac:chgData name="Kebba Jeng" userId="fe4cc296-ba7d-48a2-8799-89b58d218255" providerId="ADAL" clId="{FCBD5683-BE61-41A3-82A3-992D8F76D308}" dt="2022-04-08T06:32:58.055" v="457"/>
          <ac:spMkLst>
            <pc:docMk/>
            <pc:sldMk cId="2472330765" sldId="2134803561"/>
            <ac:spMk id="44" creationId="{06DEC531-C481-40FF-ACA9-CDC7AE12A976}"/>
          </ac:spMkLst>
        </pc:spChg>
        <pc:spChg chg="add del mod">
          <ac:chgData name="Kebba Jeng" userId="fe4cc296-ba7d-48a2-8799-89b58d218255" providerId="ADAL" clId="{FCBD5683-BE61-41A3-82A3-992D8F76D308}" dt="2022-04-08T06:32:58.055" v="457"/>
          <ac:spMkLst>
            <pc:docMk/>
            <pc:sldMk cId="2472330765" sldId="2134803561"/>
            <ac:spMk id="45" creationId="{4BC94F59-2E15-42C1-A151-95A7C86BE5A9}"/>
          </ac:spMkLst>
        </pc:spChg>
        <pc:spChg chg="add del mod">
          <ac:chgData name="Kebba Jeng" userId="fe4cc296-ba7d-48a2-8799-89b58d218255" providerId="ADAL" clId="{FCBD5683-BE61-41A3-82A3-992D8F76D308}" dt="2022-04-08T06:32:58.055" v="457"/>
          <ac:spMkLst>
            <pc:docMk/>
            <pc:sldMk cId="2472330765" sldId="2134803561"/>
            <ac:spMk id="46" creationId="{39892027-8AF2-4FB4-891E-CA55322E8E2D}"/>
          </ac:spMkLst>
        </pc:spChg>
        <pc:spChg chg="add del mod">
          <ac:chgData name="Kebba Jeng" userId="fe4cc296-ba7d-48a2-8799-89b58d218255" providerId="ADAL" clId="{FCBD5683-BE61-41A3-82A3-992D8F76D308}" dt="2022-04-08T06:32:58.055" v="457"/>
          <ac:spMkLst>
            <pc:docMk/>
            <pc:sldMk cId="2472330765" sldId="2134803561"/>
            <ac:spMk id="47" creationId="{232528BF-EB49-4452-933C-079CD1F09BFF}"/>
          </ac:spMkLst>
        </pc:spChg>
        <pc:spChg chg="add del mod">
          <ac:chgData name="Kebba Jeng" userId="fe4cc296-ba7d-48a2-8799-89b58d218255" providerId="ADAL" clId="{FCBD5683-BE61-41A3-82A3-992D8F76D308}" dt="2022-04-08T06:32:58.055" v="457"/>
          <ac:spMkLst>
            <pc:docMk/>
            <pc:sldMk cId="2472330765" sldId="2134803561"/>
            <ac:spMk id="48" creationId="{D30EF22E-8084-48E3-8BD3-1C5953562BC2}"/>
          </ac:spMkLst>
        </pc:spChg>
        <pc:spChg chg="add del mod">
          <ac:chgData name="Kebba Jeng" userId="fe4cc296-ba7d-48a2-8799-89b58d218255" providerId="ADAL" clId="{FCBD5683-BE61-41A3-82A3-992D8F76D308}" dt="2022-04-08T06:32:58.055" v="457"/>
          <ac:spMkLst>
            <pc:docMk/>
            <pc:sldMk cId="2472330765" sldId="2134803561"/>
            <ac:spMk id="49" creationId="{3B808C5A-8D9B-413F-B5A0-23D776B05F97}"/>
          </ac:spMkLst>
        </pc:spChg>
        <pc:spChg chg="add del mod">
          <ac:chgData name="Kebba Jeng" userId="fe4cc296-ba7d-48a2-8799-89b58d218255" providerId="ADAL" clId="{FCBD5683-BE61-41A3-82A3-992D8F76D308}" dt="2022-04-08T06:32:58.055" v="457"/>
          <ac:spMkLst>
            <pc:docMk/>
            <pc:sldMk cId="2472330765" sldId="2134803561"/>
            <ac:spMk id="50" creationId="{722AD4FF-0E29-41EE-9B12-C67C02DEEE88}"/>
          </ac:spMkLst>
        </pc:spChg>
        <pc:spChg chg="add del mod">
          <ac:chgData name="Kebba Jeng" userId="fe4cc296-ba7d-48a2-8799-89b58d218255" providerId="ADAL" clId="{FCBD5683-BE61-41A3-82A3-992D8F76D308}" dt="2022-04-08T06:32:58.055" v="457"/>
          <ac:spMkLst>
            <pc:docMk/>
            <pc:sldMk cId="2472330765" sldId="2134803561"/>
            <ac:spMk id="51" creationId="{0624A9A6-9363-4DEC-A105-625C8407358D}"/>
          </ac:spMkLst>
        </pc:spChg>
        <pc:spChg chg="add del mod">
          <ac:chgData name="Kebba Jeng" userId="fe4cc296-ba7d-48a2-8799-89b58d218255" providerId="ADAL" clId="{FCBD5683-BE61-41A3-82A3-992D8F76D308}" dt="2022-04-08T06:32:58.055" v="457"/>
          <ac:spMkLst>
            <pc:docMk/>
            <pc:sldMk cId="2472330765" sldId="2134803561"/>
            <ac:spMk id="52" creationId="{92D41483-38A8-4031-AAA0-C218BF3C8241}"/>
          </ac:spMkLst>
        </pc:spChg>
        <pc:spChg chg="add del mod">
          <ac:chgData name="Kebba Jeng" userId="fe4cc296-ba7d-48a2-8799-89b58d218255" providerId="ADAL" clId="{FCBD5683-BE61-41A3-82A3-992D8F76D308}" dt="2022-04-08T06:32:58.055" v="457"/>
          <ac:spMkLst>
            <pc:docMk/>
            <pc:sldMk cId="2472330765" sldId="2134803561"/>
            <ac:spMk id="53" creationId="{0A75FC32-51D3-46DF-9154-804023DAFFE9}"/>
          </ac:spMkLst>
        </pc:spChg>
        <pc:spChg chg="add del mod">
          <ac:chgData name="Kebba Jeng" userId="fe4cc296-ba7d-48a2-8799-89b58d218255" providerId="ADAL" clId="{FCBD5683-BE61-41A3-82A3-992D8F76D308}" dt="2022-04-08T06:32:58.055" v="457"/>
          <ac:spMkLst>
            <pc:docMk/>
            <pc:sldMk cId="2472330765" sldId="2134803561"/>
            <ac:spMk id="54" creationId="{1C58F667-2710-4DA3-87B8-F665F4BDA8BD}"/>
          </ac:spMkLst>
        </pc:spChg>
        <pc:spChg chg="add del mod">
          <ac:chgData name="Kebba Jeng" userId="fe4cc296-ba7d-48a2-8799-89b58d218255" providerId="ADAL" clId="{FCBD5683-BE61-41A3-82A3-992D8F76D308}" dt="2022-04-08T06:32:58.055" v="457"/>
          <ac:spMkLst>
            <pc:docMk/>
            <pc:sldMk cId="2472330765" sldId="2134803561"/>
            <ac:spMk id="55" creationId="{5CA29C41-C715-4670-9FD7-583F805BF5AD}"/>
          </ac:spMkLst>
        </pc:spChg>
        <pc:spChg chg="add del mod">
          <ac:chgData name="Kebba Jeng" userId="fe4cc296-ba7d-48a2-8799-89b58d218255" providerId="ADAL" clId="{FCBD5683-BE61-41A3-82A3-992D8F76D308}" dt="2022-04-08T06:32:58.055" v="457"/>
          <ac:spMkLst>
            <pc:docMk/>
            <pc:sldMk cId="2472330765" sldId="2134803561"/>
            <ac:spMk id="56" creationId="{53285859-40A6-4730-9048-4A149EFA3A52}"/>
          </ac:spMkLst>
        </pc:spChg>
        <pc:spChg chg="add del mod">
          <ac:chgData name="Kebba Jeng" userId="fe4cc296-ba7d-48a2-8799-89b58d218255" providerId="ADAL" clId="{FCBD5683-BE61-41A3-82A3-992D8F76D308}" dt="2022-04-08T06:32:58.055" v="457"/>
          <ac:spMkLst>
            <pc:docMk/>
            <pc:sldMk cId="2472330765" sldId="2134803561"/>
            <ac:spMk id="57" creationId="{22F7CA88-E8BD-4231-9A3A-0F6DC7CD900B}"/>
          </ac:spMkLst>
        </pc:spChg>
        <pc:spChg chg="add del mod">
          <ac:chgData name="Kebba Jeng" userId="fe4cc296-ba7d-48a2-8799-89b58d218255" providerId="ADAL" clId="{FCBD5683-BE61-41A3-82A3-992D8F76D308}" dt="2022-04-08T06:32:58.055" v="457"/>
          <ac:spMkLst>
            <pc:docMk/>
            <pc:sldMk cId="2472330765" sldId="2134803561"/>
            <ac:spMk id="58" creationId="{57DE19AF-FED7-4978-9C3C-E279CAB9F6F0}"/>
          </ac:spMkLst>
        </pc:spChg>
        <pc:spChg chg="add del mod">
          <ac:chgData name="Kebba Jeng" userId="fe4cc296-ba7d-48a2-8799-89b58d218255" providerId="ADAL" clId="{FCBD5683-BE61-41A3-82A3-992D8F76D308}" dt="2022-04-08T06:32:58.055" v="457"/>
          <ac:spMkLst>
            <pc:docMk/>
            <pc:sldMk cId="2472330765" sldId="2134803561"/>
            <ac:spMk id="59" creationId="{4894BBFF-D618-4906-BCAD-328FB6426F5A}"/>
          </ac:spMkLst>
        </pc:spChg>
        <pc:spChg chg="add del mod">
          <ac:chgData name="Kebba Jeng" userId="fe4cc296-ba7d-48a2-8799-89b58d218255" providerId="ADAL" clId="{FCBD5683-BE61-41A3-82A3-992D8F76D308}" dt="2022-04-08T06:32:58.055" v="457"/>
          <ac:spMkLst>
            <pc:docMk/>
            <pc:sldMk cId="2472330765" sldId="2134803561"/>
            <ac:spMk id="60" creationId="{752D7DF2-B910-46F1-B455-30475923CAE5}"/>
          </ac:spMkLst>
        </pc:spChg>
        <pc:spChg chg="add del mod">
          <ac:chgData name="Kebba Jeng" userId="fe4cc296-ba7d-48a2-8799-89b58d218255" providerId="ADAL" clId="{FCBD5683-BE61-41A3-82A3-992D8F76D308}" dt="2022-04-08T06:32:58.055" v="457"/>
          <ac:spMkLst>
            <pc:docMk/>
            <pc:sldMk cId="2472330765" sldId="2134803561"/>
            <ac:spMk id="61" creationId="{309B128B-75F0-4819-BFD1-59739C722E3D}"/>
          </ac:spMkLst>
        </pc:spChg>
        <pc:spChg chg="add del mod">
          <ac:chgData name="Kebba Jeng" userId="fe4cc296-ba7d-48a2-8799-89b58d218255" providerId="ADAL" clId="{FCBD5683-BE61-41A3-82A3-992D8F76D308}" dt="2022-04-08T06:32:58.055" v="457"/>
          <ac:spMkLst>
            <pc:docMk/>
            <pc:sldMk cId="2472330765" sldId="2134803561"/>
            <ac:spMk id="62" creationId="{09AE4916-55D9-49BC-890A-3905D4BB91A1}"/>
          </ac:spMkLst>
        </pc:spChg>
        <pc:spChg chg="add del mod">
          <ac:chgData name="Kebba Jeng" userId="fe4cc296-ba7d-48a2-8799-89b58d218255" providerId="ADAL" clId="{FCBD5683-BE61-41A3-82A3-992D8F76D308}" dt="2022-04-08T06:32:58.055" v="457"/>
          <ac:spMkLst>
            <pc:docMk/>
            <pc:sldMk cId="2472330765" sldId="2134803561"/>
            <ac:spMk id="63" creationId="{8B59E118-5251-4B24-8641-A689174C40D8}"/>
          </ac:spMkLst>
        </pc:spChg>
        <pc:spChg chg="add del mod">
          <ac:chgData name="Kebba Jeng" userId="fe4cc296-ba7d-48a2-8799-89b58d218255" providerId="ADAL" clId="{FCBD5683-BE61-41A3-82A3-992D8F76D308}" dt="2022-04-08T06:32:58.055" v="457"/>
          <ac:spMkLst>
            <pc:docMk/>
            <pc:sldMk cId="2472330765" sldId="2134803561"/>
            <ac:spMk id="64" creationId="{E45316DE-4367-4D67-B5DC-4842F47BB8FF}"/>
          </ac:spMkLst>
        </pc:spChg>
        <pc:spChg chg="add del mod">
          <ac:chgData name="Kebba Jeng" userId="fe4cc296-ba7d-48a2-8799-89b58d218255" providerId="ADAL" clId="{FCBD5683-BE61-41A3-82A3-992D8F76D308}" dt="2022-04-08T06:32:58.055" v="457"/>
          <ac:spMkLst>
            <pc:docMk/>
            <pc:sldMk cId="2472330765" sldId="2134803561"/>
            <ac:spMk id="65" creationId="{BF01331F-5002-46E9-83D0-4FE2A833E9AF}"/>
          </ac:spMkLst>
        </pc:spChg>
        <pc:spChg chg="add del mod">
          <ac:chgData name="Kebba Jeng" userId="fe4cc296-ba7d-48a2-8799-89b58d218255" providerId="ADAL" clId="{FCBD5683-BE61-41A3-82A3-992D8F76D308}" dt="2022-04-08T06:32:58.055" v="457"/>
          <ac:spMkLst>
            <pc:docMk/>
            <pc:sldMk cId="2472330765" sldId="2134803561"/>
            <ac:spMk id="66" creationId="{E9E441DE-2E44-4A77-B538-774BCF68ECF6}"/>
          </ac:spMkLst>
        </pc:spChg>
        <pc:spChg chg="add del mod">
          <ac:chgData name="Kebba Jeng" userId="fe4cc296-ba7d-48a2-8799-89b58d218255" providerId="ADAL" clId="{FCBD5683-BE61-41A3-82A3-992D8F76D308}" dt="2022-04-08T06:32:58.055" v="457"/>
          <ac:spMkLst>
            <pc:docMk/>
            <pc:sldMk cId="2472330765" sldId="2134803561"/>
            <ac:spMk id="67" creationId="{2FD40BAD-3373-45E5-B176-CCF89057839E}"/>
          </ac:spMkLst>
        </pc:spChg>
        <pc:spChg chg="add del mod">
          <ac:chgData name="Kebba Jeng" userId="fe4cc296-ba7d-48a2-8799-89b58d218255" providerId="ADAL" clId="{FCBD5683-BE61-41A3-82A3-992D8F76D308}" dt="2022-04-08T06:32:58.055" v="457"/>
          <ac:spMkLst>
            <pc:docMk/>
            <pc:sldMk cId="2472330765" sldId="2134803561"/>
            <ac:spMk id="68" creationId="{29906825-8142-4E19-9C1F-5EBBA466B174}"/>
          </ac:spMkLst>
        </pc:spChg>
        <pc:spChg chg="add del mod">
          <ac:chgData name="Kebba Jeng" userId="fe4cc296-ba7d-48a2-8799-89b58d218255" providerId="ADAL" clId="{FCBD5683-BE61-41A3-82A3-992D8F76D308}" dt="2022-04-08T06:32:58.055" v="457"/>
          <ac:spMkLst>
            <pc:docMk/>
            <pc:sldMk cId="2472330765" sldId="2134803561"/>
            <ac:spMk id="69" creationId="{F5CC03A2-0D29-4A15-8E48-0161328E5767}"/>
          </ac:spMkLst>
        </pc:spChg>
        <pc:spChg chg="add del mod">
          <ac:chgData name="Kebba Jeng" userId="fe4cc296-ba7d-48a2-8799-89b58d218255" providerId="ADAL" clId="{FCBD5683-BE61-41A3-82A3-992D8F76D308}" dt="2022-04-08T06:32:58.055" v="457"/>
          <ac:spMkLst>
            <pc:docMk/>
            <pc:sldMk cId="2472330765" sldId="2134803561"/>
            <ac:spMk id="70" creationId="{2B698D26-CDD7-4AD0-903D-7EF6A21795A6}"/>
          </ac:spMkLst>
        </pc:spChg>
        <pc:spChg chg="add del mod">
          <ac:chgData name="Kebba Jeng" userId="fe4cc296-ba7d-48a2-8799-89b58d218255" providerId="ADAL" clId="{FCBD5683-BE61-41A3-82A3-992D8F76D308}" dt="2022-04-08T06:32:58.055" v="457"/>
          <ac:spMkLst>
            <pc:docMk/>
            <pc:sldMk cId="2472330765" sldId="2134803561"/>
            <ac:spMk id="71" creationId="{7C10BF9B-249B-4C46-98C1-CE6B690C9047}"/>
          </ac:spMkLst>
        </pc:spChg>
        <pc:spChg chg="add del mod">
          <ac:chgData name="Kebba Jeng" userId="fe4cc296-ba7d-48a2-8799-89b58d218255" providerId="ADAL" clId="{FCBD5683-BE61-41A3-82A3-992D8F76D308}" dt="2022-04-08T06:32:58.055" v="457"/>
          <ac:spMkLst>
            <pc:docMk/>
            <pc:sldMk cId="2472330765" sldId="2134803561"/>
            <ac:spMk id="72" creationId="{304DF1C1-6A7B-460C-B8D2-42997F14EF29}"/>
          </ac:spMkLst>
        </pc:spChg>
        <pc:spChg chg="add del mod">
          <ac:chgData name="Kebba Jeng" userId="fe4cc296-ba7d-48a2-8799-89b58d218255" providerId="ADAL" clId="{FCBD5683-BE61-41A3-82A3-992D8F76D308}" dt="2022-04-08T06:32:58.055" v="457"/>
          <ac:spMkLst>
            <pc:docMk/>
            <pc:sldMk cId="2472330765" sldId="2134803561"/>
            <ac:spMk id="73" creationId="{6E0403E4-8D43-4AE7-8329-DE5FD79EA6EB}"/>
          </ac:spMkLst>
        </pc:spChg>
        <pc:spChg chg="add del mod">
          <ac:chgData name="Kebba Jeng" userId="fe4cc296-ba7d-48a2-8799-89b58d218255" providerId="ADAL" clId="{FCBD5683-BE61-41A3-82A3-992D8F76D308}" dt="2022-04-08T06:32:58.055" v="457"/>
          <ac:spMkLst>
            <pc:docMk/>
            <pc:sldMk cId="2472330765" sldId="2134803561"/>
            <ac:spMk id="74" creationId="{C405B3C9-7F32-4DD5-A873-05A4A3CA0004}"/>
          </ac:spMkLst>
        </pc:spChg>
        <pc:spChg chg="add del mod">
          <ac:chgData name="Kebba Jeng" userId="fe4cc296-ba7d-48a2-8799-89b58d218255" providerId="ADAL" clId="{FCBD5683-BE61-41A3-82A3-992D8F76D308}" dt="2022-04-08T06:32:58.055" v="457"/>
          <ac:spMkLst>
            <pc:docMk/>
            <pc:sldMk cId="2472330765" sldId="2134803561"/>
            <ac:spMk id="75" creationId="{2330AA0C-3435-4104-BAF0-768B61A5E367}"/>
          </ac:spMkLst>
        </pc:spChg>
        <pc:spChg chg="add del mod">
          <ac:chgData name="Kebba Jeng" userId="fe4cc296-ba7d-48a2-8799-89b58d218255" providerId="ADAL" clId="{FCBD5683-BE61-41A3-82A3-992D8F76D308}" dt="2022-04-08T06:32:58.055" v="457"/>
          <ac:spMkLst>
            <pc:docMk/>
            <pc:sldMk cId="2472330765" sldId="2134803561"/>
            <ac:spMk id="76" creationId="{558D5C88-F568-450D-9A6B-723ACE4CF659}"/>
          </ac:spMkLst>
        </pc:spChg>
        <pc:spChg chg="add del mod">
          <ac:chgData name="Kebba Jeng" userId="fe4cc296-ba7d-48a2-8799-89b58d218255" providerId="ADAL" clId="{FCBD5683-BE61-41A3-82A3-992D8F76D308}" dt="2022-04-08T06:32:58.055" v="457"/>
          <ac:spMkLst>
            <pc:docMk/>
            <pc:sldMk cId="2472330765" sldId="2134803561"/>
            <ac:spMk id="77" creationId="{DDE3E672-7995-4264-AA82-701F778689D7}"/>
          </ac:spMkLst>
        </pc:spChg>
        <pc:spChg chg="add del mod">
          <ac:chgData name="Kebba Jeng" userId="fe4cc296-ba7d-48a2-8799-89b58d218255" providerId="ADAL" clId="{FCBD5683-BE61-41A3-82A3-992D8F76D308}" dt="2022-04-08T06:32:58.055" v="457"/>
          <ac:spMkLst>
            <pc:docMk/>
            <pc:sldMk cId="2472330765" sldId="2134803561"/>
            <ac:spMk id="78" creationId="{7E3C233B-05FF-4C6D-9197-10C25DA90D74}"/>
          </ac:spMkLst>
        </pc:spChg>
        <pc:spChg chg="add del mod">
          <ac:chgData name="Kebba Jeng" userId="fe4cc296-ba7d-48a2-8799-89b58d218255" providerId="ADAL" clId="{FCBD5683-BE61-41A3-82A3-992D8F76D308}" dt="2022-04-08T06:32:58.055" v="457"/>
          <ac:spMkLst>
            <pc:docMk/>
            <pc:sldMk cId="2472330765" sldId="2134803561"/>
            <ac:spMk id="79" creationId="{653C64DA-D91E-4E91-B4A2-3729AA5AA8B3}"/>
          </ac:spMkLst>
        </pc:spChg>
        <pc:spChg chg="add del mod">
          <ac:chgData name="Kebba Jeng" userId="fe4cc296-ba7d-48a2-8799-89b58d218255" providerId="ADAL" clId="{FCBD5683-BE61-41A3-82A3-992D8F76D308}" dt="2022-04-08T06:32:58.055" v="457"/>
          <ac:spMkLst>
            <pc:docMk/>
            <pc:sldMk cId="2472330765" sldId="2134803561"/>
            <ac:spMk id="80" creationId="{F4869CD0-F89B-4540-9576-7E4B5443FD7E}"/>
          </ac:spMkLst>
        </pc:spChg>
        <pc:spChg chg="add del mod">
          <ac:chgData name="Kebba Jeng" userId="fe4cc296-ba7d-48a2-8799-89b58d218255" providerId="ADAL" clId="{FCBD5683-BE61-41A3-82A3-992D8F76D308}" dt="2022-04-08T06:32:58.055" v="457"/>
          <ac:spMkLst>
            <pc:docMk/>
            <pc:sldMk cId="2472330765" sldId="2134803561"/>
            <ac:spMk id="81" creationId="{FC1399CF-7BA2-4CEA-A18F-7E6A6D01BBE0}"/>
          </ac:spMkLst>
        </pc:spChg>
        <pc:spChg chg="add del mod">
          <ac:chgData name="Kebba Jeng" userId="fe4cc296-ba7d-48a2-8799-89b58d218255" providerId="ADAL" clId="{FCBD5683-BE61-41A3-82A3-992D8F76D308}" dt="2022-04-08T06:32:58.055" v="457"/>
          <ac:spMkLst>
            <pc:docMk/>
            <pc:sldMk cId="2472330765" sldId="2134803561"/>
            <ac:spMk id="82" creationId="{AC677ABB-FD06-4598-BD72-D6E0651EE1B8}"/>
          </ac:spMkLst>
        </pc:spChg>
        <pc:spChg chg="add del mod">
          <ac:chgData name="Kebba Jeng" userId="fe4cc296-ba7d-48a2-8799-89b58d218255" providerId="ADAL" clId="{FCBD5683-BE61-41A3-82A3-992D8F76D308}" dt="2022-04-08T06:32:58.055" v="457"/>
          <ac:spMkLst>
            <pc:docMk/>
            <pc:sldMk cId="2472330765" sldId="2134803561"/>
            <ac:spMk id="83" creationId="{FA36F3A6-5C3F-4FBF-BF88-C281BCDBCC44}"/>
          </ac:spMkLst>
        </pc:spChg>
        <pc:spChg chg="add del mod">
          <ac:chgData name="Kebba Jeng" userId="fe4cc296-ba7d-48a2-8799-89b58d218255" providerId="ADAL" clId="{FCBD5683-BE61-41A3-82A3-992D8F76D308}" dt="2022-04-08T06:32:58.055" v="457"/>
          <ac:spMkLst>
            <pc:docMk/>
            <pc:sldMk cId="2472330765" sldId="2134803561"/>
            <ac:spMk id="84" creationId="{23056739-E1A1-401D-B6D3-B5E23EB6BAE5}"/>
          </ac:spMkLst>
        </pc:spChg>
        <pc:spChg chg="add del mod">
          <ac:chgData name="Kebba Jeng" userId="fe4cc296-ba7d-48a2-8799-89b58d218255" providerId="ADAL" clId="{FCBD5683-BE61-41A3-82A3-992D8F76D308}" dt="2022-04-08T06:32:58.055" v="457"/>
          <ac:spMkLst>
            <pc:docMk/>
            <pc:sldMk cId="2472330765" sldId="2134803561"/>
            <ac:spMk id="85" creationId="{F0FD53E2-FAF5-4418-9B7B-17EE1889FB85}"/>
          </ac:spMkLst>
        </pc:spChg>
        <pc:spChg chg="add del mod">
          <ac:chgData name="Kebba Jeng" userId="fe4cc296-ba7d-48a2-8799-89b58d218255" providerId="ADAL" clId="{FCBD5683-BE61-41A3-82A3-992D8F76D308}" dt="2022-04-08T06:32:58.055" v="457"/>
          <ac:spMkLst>
            <pc:docMk/>
            <pc:sldMk cId="2472330765" sldId="2134803561"/>
            <ac:spMk id="86" creationId="{9D557A26-E360-42BD-BF67-3B5A7C849A56}"/>
          </ac:spMkLst>
        </pc:spChg>
        <pc:spChg chg="add del mod">
          <ac:chgData name="Kebba Jeng" userId="fe4cc296-ba7d-48a2-8799-89b58d218255" providerId="ADAL" clId="{FCBD5683-BE61-41A3-82A3-992D8F76D308}" dt="2022-04-08T06:32:58.055" v="457"/>
          <ac:spMkLst>
            <pc:docMk/>
            <pc:sldMk cId="2472330765" sldId="2134803561"/>
            <ac:spMk id="87" creationId="{BCEB0F64-F152-48F9-A3D6-DF6D7D96856D}"/>
          </ac:spMkLst>
        </pc:spChg>
        <pc:spChg chg="add del mod">
          <ac:chgData name="Kebba Jeng" userId="fe4cc296-ba7d-48a2-8799-89b58d218255" providerId="ADAL" clId="{FCBD5683-BE61-41A3-82A3-992D8F76D308}" dt="2022-04-08T06:32:58.055" v="457"/>
          <ac:spMkLst>
            <pc:docMk/>
            <pc:sldMk cId="2472330765" sldId="2134803561"/>
            <ac:spMk id="88" creationId="{E6DD6181-567C-4BA8-A75F-2008E591E973}"/>
          </ac:spMkLst>
        </pc:spChg>
        <pc:spChg chg="add del mod">
          <ac:chgData name="Kebba Jeng" userId="fe4cc296-ba7d-48a2-8799-89b58d218255" providerId="ADAL" clId="{FCBD5683-BE61-41A3-82A3-992D8F76D308}" dt="2022-04-08T06:32:58.055" v="457"/>
          <ac:spMkLst>
            <pc:docMk/>
            <pc:sldMk cId="2472330765" sldId="2134803561"/>
            <ac:spMk id="89" creationId="{3768BA18-DF1A-48D7-B0DC-04469A91C613}"/>
          </ac:spMkLst>
        </pc:spChg>
        <pc:spChg chg="add del mod">
          <ac:chgData name="Kebba Jeng" userId="fe4cc296-ba7d-48a2-8799-89b58d218255" providerId="ADAL" clId="{FCBD5683-BE61-41A3-82A3-992D8F76D308}" dt="2022-04-08T06:32:58.055" v="457"/>
          <ac:spMkLst>
            <pc:docMk/>
            <pc:sldMk cId="2472330765" sldId="2134803561"/>
            <ac:spMk id="90" creationId="{0622E5AA-0A7F-4B08-BE05-F7F671544CA0}"/>
          </ac:spMkLst>
        </pc:spChg>
        <pc:spChg chg="add del mod">
          <ac:chgData name="Kebba Jeng" userId="fe4cc296-ba7d-48a2-8799-89b58d218255" providerId="ADAL" clId="{FCBD5683-BE61-41A3-82A3-992D8F76D308}" dt="2022-04-08T06:32:58.055" v="457"/>
          <ac:spMkLst>
            <pc:docMk/>
            <pc:sldMk cId="2472330765" sldId="2134803561"/>
            <ac:spMk id="91" creationId="{F5D0881C-90FF-41EE-8AFE-FC9C1E43AE94}"/>
          </ac:spMkLst>
        </pc:spChg>
        <pc:spChg chg="add del mod">
          <ac:chgData name="Kebba Jeng" userId="fe4cc296-ba7d-48a2-8799-89b58d218255" providerId="ADAL" clId="{FCBD5683-BE61-41A3-82A3-992D8F76D308}" dt="2022-04-08T06:32:58.055" v="457"/>
          <ac:spMkLst>
            <pc:docMk/>
            <pc:sldMk cId="2472330765" sldId="2134803561"/>
            <ac:spMk id="92" creationId="{A97385F4-1FB0-4C5F-B654-89270BA1F406}"/>
          </ac:spMkLst>
        </pc:spChg>
        <pc:spChg chg="add del mod">
          <ac:chgData name="Kebba Jeng" userId="fe4cc296-ba7d-48a2-8799-89b58d218255" providerId="ADAL" clId="{FCBD5683-BE61-41A3-82A3-992D8F76D308}" dt="2022-04-08T06:32:58.055" v="457"/>
          <ac:spMkLst>
            <pc:docMk/>
            <pc:sldMk cId="2472330765" sldId="2134803561"/>
            <ac:spMk id="93" creationId="{D6D2083E-A779-4C2C-BC40-1A762A7B2C97}"/>
          </ac:spMkLst>
        </pc:spChg>
        <pc:spChg chg="add del mod">
          <ac:chgData name="Kebba Jeng" userId="fe4cc296-ba7d-48a2-8799-89b58d218255" providerId="ADAL" clId="{FCBD5683-BE61-41A3-82A3-992D8F76D308}" dt="2022-04-08T06:32:58.055" v="457"/>
          <ac:spMkLst>
            <pc:docMk/>
            <pc:sldMk cId="2472330765" sldId="2134803561"/>
            <ac:spMk id="94" creationId="{44072B1B-98CE-425E-BF07-A091BA438CF5}"/>
          </ac:spMkLst>
        </pc:spChg>
        <pc:spChg chg="add del mod">
          <ac:chgData name="Kebba Jeng" userId="fe4cc296-ba7d-48a2-8799-89b58d218255" providerId="ADAL" clId="{FCBD5683-BE61-41A3-82A3-992D8F76D308}" dt="2022-04-08T06:32:58.055" v="457"/>
          <ac:spMkLst>
            <pc:docMk/>
            <pc:sldMk cId="2472330765" sldId="2134803561"/>
            <ac:spMk id="95" creationId="{6EDC95BD-2807-4B72-A5E0-C4643766FCD3}"/>
          </ac:spMkLst>
        </pc:spChg>
        <pc:spChg chg="add del mod">
          <ac:chgData name="Kebba Jeng" userId="fe4cc296-ba7d-48a2-8799-89b58d218255" providerId="ADAL" clId="{FCBD5683-BE61-41A3-82A3-992D8F76D308}" dt="2022-04-08T06:32:58.055" v="457"/>
          <ac:spMkLst>
            <pc:docMk/>
            <pc:sldMk cId="2472330765" sldId="2134803561"/>
            <ac:spMk id="96" creationId="{37EF5DB7-B1CC-4681-B729-C98DBBC53E37}"/>
          </ac:spMkLst>
        </pc:spChg>
        <pc:spChg chg="add del mod">
          <ac:chgData name="Kebba Jeng" userId="fe4cc296-ba7d-48a2-8799-89b58d218255" providerId="ADAL" clId="{FCBD5683-BE61-41A3-82A3-992D8F76D308}" dt="2022-04-08T06:32:58.055" v="457"/>
          <ac:spMkLst>
            <pc:docMk/>
            <pc:sldMk cId="2472330765" sldId="2134803561"/>
            <ac:spMk id="97" creationId="{B64741AB-7734-4622-A3E2-55F401934284}"/>
          </ac:spMkLst>
        </pc:spChg>
        <pc:spChg chg="add del mod">
          <ac:chgData name="Kebba Jeng" userId="fe4cc296-ba7d-48a2-8799-89b58d218255" providerId="ADAL" clId="{FCBD5683-BE61-41A3-82A3-992D8F76D308}" dt="2022-04-08T06:32:58.055" v="457"/>
          <ac:spMkLst>
            <pc:docMk/>
            <pc:sldMk cId="2472330765" sldId="2134803561"/>
            <ac:spMk id="98" creationId="{5305975B-080E-47D3-BD3E-AB0A78A08AE8}"/>
          </ac:spMkLst>
        </pc:spChg>
        <pc:spChg chg="add del mod">
          <ac:chgData name="Kebba Jeng" userId="fe4cc296-ba7d-48a2-8799-89b58d218255" providerId="ADAL" clId="{FCBD5683-BE61-41A3-82A3-992D8F76D308}" dt="2022-04-08T06:32:58.055" v="457"/>
          <ac:spMkLst>
            <pc:docMk/>
            <pc:sldMk cId="2472330765" sldId="2134803561"/>
            <ac:spMk id="99" creationId="{1924A49A-33E8-41DD-8FC7-8A7B3C11E555}"/>
          </ac:spMkLst>
        </pc:spChg>
        <pc:spChg chg="add del mod">
          <ac:chgData name="Kebba Jeng" userId="fe4cc296-ba7d-48a2-8799-89b58d218255" providerId="ADAL" clId="{FCBD5683-BE61-41A3-82A3-992D8F76D308}" dt="2022-04-08T06:32:58.055" v="457"/>
          <ac:spMkLst>
            <pc:docMk/>
            <pc:sldMk cId="2472330765" sldId="2134803561"/>
            <ac:spMk id="100" creationId="{011032C4-EF16-436B-A867-B759528AAFE5}"/>
          </ac:spMkLst>
        </pc:spChg>
        <pc:spChg chg="add del mod">
          <ac:chgData name="Kebba Jeng" userId="fe4cc296-ba7d-48a2-8799-89b58d218255" providerId="ADAL" clId="{FCBD5683-BE61-41A3-82A3-992D8F76D308}" dt="2022-04-08T06:32:58.055" v="457"/>
          <ac:spMkLst>
            <pc:docMk/>
            <pc:sldMk cId="2472330765" sldId="2134803561"/>
            <ac:spMk id="101" creationId="{6EE9C493-F4D6-4577-8A6A-774DA74D0063}"/>
          </ac:spMkLst>
        </pc:spChg>
        <pc:spChg chg="add del mod">
          <ac:chgData name="Kebba Jeng" userId="fe4cc296-ba7d-48a2-8799-89b58d218255" providerId="ADAL" clId="{FCBD5683-BE61-41A3-82A3-992D8F76D308}" dt="2022-04-08T06:32:58.055" v="457"/>
          <ac:spMkLst>
            <pc:docMk/>
            <pc:sldMk cId="2472330765" sldId="2134803561"/>
            <ac:spMk id="102" creationId="{1B2B574B-0507-4D7F-A934-4227AC06A468}"/>
          </ac:spMkLst>
        </pc:spChg>
        <pc:spChg chg="add del mod">
          <ac:chgData name="Kebba Jeng" userId="fe4cc296-ba7d-48a2-8799-89b58d218255" providerId="ADAL" clId="{FCBD5683-BE61-41A3-82A3-992D8F76D308}" dt="2022-04-08T06:32:58.055" v="457"/>
          <ac:spMkLst>
            <pc:docMk/>
            <pc:sldMk cId="2472330765" sldId="2134803561"/>
            <ac:spMk id="103" creationId="{2E41C83F-3016-4542-BDD9-754C1DCFD3E9}"/>
          </ac:spMkLst>
        </pc:spChg>
        <pc:spChg chg="add del mod">
          <ac:chgData name="Kebba Jeng" userId="fe4cc296-ba7d-48a2-8799-89b58d218255" providerId="ADAL" clId="{FCBD5683-BE61-41A3-82A3-992D8F76D308}" dt="2022-04-08T06:32:58.055" v="457"/>
          <ac:spMkLst>
            <pc:docMk/>
            <pc:sldMk cId="2472330765" sldId="2134803561"/>
            <ac:spMk id="104" creationId="{0AC06BBE-F304-49BF-8871-5763FBA339A6}"/>
          </ac:spMkLst>
        </pc:spChg>
        <pc:spChg chg="add del mod">
          <ac:chgData name="Kebba Jeng" userId="fe4cc296-ba7d-48a2-8799-89b58d218255" providerId="ADAL" clId="{FCBD5683-BE61-41A3-82A3-992D8F76D308}" dt="2022-04-08T06:32:58.055" v="457"/>
          <ac:spMkLst>
            <pc:docMk/>
            <pc:sldMk cId="2472330765" sldId="2134803561"/>
            <ac:spMk id="105" creationId="{5BE8E078-A67A-4F14-BBF0-473A7F427C7B}"/>
          </ac:spMkLst>
        </pc:spChg>
        <pc:spChg chg="add del mod">
          <ac:chgData name="Kebba Jeng" userId="fe4cc296-ba7d-48a2-8799-89b58d218255" providerId="ADAL" clId="{FCBD5683-BE61-41A3-82A3-992D8F76D308}" dt="2022-04-08T06:32:58.055" v="457"/>
          <ac:spMkLst>
            <pc:docMk/>
            <pc:sldMk cId="2472330765" sldId="2134803561"/>
            <ac:spMk id="106" creationId="{2B3391B6-0B34-4631-A5CC-71ACEFCFD392}"/>
          </ac:spMkLst>
        </pc:spChg>
        <pc:spChg chg="add del mod">
          <ac:chgData name="Kebba Jeng" userId="fe4cc296-ba7d-48a2-8799-89b58d218255" providerId="ADAL" clId="{FCBD5683-BE61-41A3-82A3-992D8F76D308}" dt="2022-04-08T06:32:58.055" v="457"/>
          <ac:spMkLst>
            <pc:docMk/>
            <pc:sldMk cId="2472330765" sldId="2134803561"/>
            <ac:spMk id="107" creationId="{A09C0CB7-ED26-4D7E-B6B6-2FE601FB98CB}"/>
          </ac:spMkLst>
        </pc:spChg>
        <pc:spChg chg="add del mod">
          <ac:chgData name="Kebba Jeng" userId="fe4cc296-ba7d-48a2-8799-89b58d218255" providerId="ADAL" clId="{FCBD5683-BE61-41A3-82A3-992D8F76D308}" dt="2022-04-08T06:32:58.055" v="457"/>
          <ac:spMkLst>
            <pc:docMk/>
            <pc:sldMk cId="2472330765" sldId="2134803561"/>
            <ac:spMk id="108" creationId="{BEF2D090-5DBB-422B-A7FC-422D49593212}"/>
          </ac:spMkLst>
        </pc:spChg>
        <pc:spChg chg="add del mod">
          <ac:chgData name="Kebba Jeng" userId="fe4cc296-ba7d-48a2-8799-89b58d218255" providerId="ADAL" clId="{FCBD5683-BE61-41A3-82A3-992D8F76D308}" dt="2022-04-08T06:32:58.055" v="457"/>
          <ac:spMkLst>
            <pc:docMk/>
            <pc:sldMk cId="2472330765" sldId="2134803561"/>
            <ac:spMk id="109" creationId="{7A614199-9848-4F22-B6D1-3E0662B1CC93}"/>
          </ac:spMkLst>
        </pc:spChg>
        <pc:spChg chg="add del mod">
          <ac:chgData name="Kebba Jeng" userId="fe4cc296-ba7d-48a2-8799-89b58d218255" providerId="ADAL" clId="{FCBD5683-BE61-41A3-82A3-992D8F76D308}" dt="2022-04-08T06:32:58.055" v="457"/>
          <ac:spMkLst>
            <pc:docMk/>
            <pc:sldMk cId="2472330765" sldId="2134803561"/>
            <ac:spMk id="110" creationId="{42890170-1A52-48AD-98C7-B2E0D74BC2A2}"/>
          </ac:spMkLst>
        </pc:spChg>
        <pc:spChg chg="add del mod">
          <ac:chgData name="Kebba Jeng" userId="fe4cc296-ba7d-48a2-8799-89b58d218255" providerId="ADAL" clId="{FCBD5683-BE61-41A3-82A3-992D8F76D308}" dt="2022-04-08T06:32:58.055" v="457"/>
          <ac:spMkLst>
            <pc:docMk/>
            <pc:sldMk cId="2472330765" sldId="2134803561"/>
            <ac:spMk id="111" creationId="{AD6D7B6E-E453-4649-89E1-87A22503C02F}"/>
          </ac:spMkLst>
        </pc:spChg>
        <pc:spChg chg="add del mod">
          <ac:chgData name="Kebba Jeng" userId="fe4cc296-ba7d-48a2-8799-89b58d218255" providerId="ADAL" clId="{FCBD5683-BE61-41A3-82A3-992D8F76D308}" dt="2022-04-08T06:32:58.055" v="457"/>
          <ac:spMkLst>
            <pc:docMk/>
            <pc:sldMk cId="2472330765" sldId="2134803561"/>
            <ac:spMk id="112" creationId="{5E9ED472-F16D-4099-989E-1A4B6EEF6F07}"/>
          </ac:spMkLst>
        </pc:spChg>
        <pc:spChg chg="add del mod">
          <ac:chgData name="Kebba Jeng" userId="fe4cc296-ba7d-48a2-8799-89b58d218255" providerId="ADAL" clId="{FCBD5683-BE61-41A3-82A3-992D8F76D308}" dt="2022-04-08T06:32:58.055" v="457"/>
          <ac:spMkLst>
            <pc:docMk/>
            <pc:sldMk cId="2472330765" sldId="2134803561"/>
            <ac:spMk id="113" creationId="{22AF83DC-440C-4C95-9A56-A13E2E5AE809}"/>
          </ac:spMkLst>
        </pc:spChg>
        <pc:spChg chg="add del mod">
          <ac:chgData name="Kebba Jeng" userId="fe4cc296-ba7d-48a2-8799-89b58d218255" providerId="ADAL" clId="{FCBD5683-BE61-41A3-82A3-992D8F76D308}" dt="2022-04-08T06:32:58.055" v="457"/>
          <ac:spMkLst>
            <pc:docMk/>
            <pc:sldMk cId="2472330765" sldId="2134803561"/>
            <ac:spMk id="114" creationId="{640592B4-EEC7-4174-93F5-2C50320BF3EE}"/>
          </ac:spMkLst>
        </pc:spChg>
        <pc:spChg chg="add del mod">
          <ac:chgData name="Kebba Jeng" userId="fe4cc296-ba7d-48a2-8799-89b58d218255" providerId="ADAL" clId="{FCBD5683-BE61-41A3-82A3-992D8F76D308}" dt="2022-04-08T06:32:58.055" v="457"/>
          <ac:spMkLst>
            <pc:docMk/>
            <pc:sldMk cId="2472330765" sldId="2134803561"/>
            <ac:spMk id="115" creationId="{502DADC7-600F-468E-8B8C-FAFC74B4F44C}"/>
          </ac:spMkLst>
        </pc:spChg>
        <pc:spChg chg="add del mod">
          <ac:chgData name="Kebba Jeng" userId="fe4cc296-ba7d-48a2-8799-89b58d218255" providerId="ADAL" clId="{FCBD5683-BE61-41A3-82A3-992D8F76D308}" dt="2022-04-08T06:32:58.055" v="457"/>
          <ac:spMkLst>
            <pc:docMk/>
            <pc:sldMk cId="2472330765" sldId="2134803561"/>
            <ac:spMk id="116" creationId="{EF6594CC-8A90-4A8A-B946-9972C87C57B0}"/>
          </ac:spMkLst>
        </pc:spChg>
        <pc:spChg chg="add del mod">
          <ac:chgData name="Kebba Jeng" userId="fe4cc296-ba7d-48a2-8799-89b58d218255" providerId="ADAL" clId="{FCBD5683-BE61-41A3-82A3-992D8F76D308}" dt="2022-04-08T06:32:58.055" v="457"/>
          <ac:spMkLst>
            <pc:docMk/>
            <pc:sldMk cId="2472330765" sldId="2134803561"/>
            <ac:spMk id="117" creationId="{3A3FC0E1-7939-4443-8FF5-A95494CF7A4D}"/>
          </ac:spMkLst>
        </pc:spChg>
        <pc:spChg chg="add del mod">
          <ac:chgData name="Kebba Jeng" userId="fe4cc296-ba7d-48a2-8799-89b58d218255" providerId="ADAL" clId="{FCBD5683-BE61-41A3-82A3-992D8F76D308}" dt="2022-04-08T06:32:58.055" v="457"/>
          <ac:spMkLst>
            <pc:docMk/>
            <pc:sldMk cId="2472330765" sldId="2134803561"/>
            <ac:spMk id="118" creationId="{65C10816-0A0A-4823-B705-B17B99FF78DF}"/>
          </ac:spMkLst>
        </pc:spChg>
        <pc:spChg chg="add del mod">
          <ac:chgData name="Kebba Jeng" userId="fe4cc296-ba7d-48a2-8799-89b58d218255" providerId="ADAL" clId="{FCBD5683-BE61-41A3-82A3-992D8F76D308}" dt="2022-04-08T06:32:58.055" v="457"/>
          <ac:spMkLst>
            <pc:docMk/>
            <pc:sldMk cId="2472330765" sldId="2134803561"/>
            <ac:spMk id="119" creationId="{019D8208-BA1E-448D-8C7D-1084D3AC3827}"/>
          </ac:spMkLst>
        </pc:spChg>
        <pc:spChg chg="add del mod">
          <ac:chgData name="Kebba Jeng" userId="fe4cc296-ba7d-48a2-8799-89b58d218255" providerId="ADAL" clId="{FCBD5683-BE61-41A3-82A3-992D8F76D308}" dt="2022-04-08T06:32:58.055" v="457"/>
          <ac:spMkLst>
            <pc:docMk/>
            <pc:sldMk cId="2472330765" sldId="2134803561"/>
            <ac:spMk id="120" creationId="{3CF6A112-631B-4CBF-B06D-4F5D9AA6611E}"/>
          </ac:spMkLst>
        </pc:spChg>
        <pc:spChg chg="add del mod">
          <ac:chgData name="Kebba Jeng" userId="fe4cc296-ba7d-48a2-8799-89b58d218255" providerId="ADAL" clId="{FCBD5683-BE61-41A3-82A3-992D8F76D308}" dt="2022-04-08T06:32:58.055" v="457"/>
          <ac:spMkLst>
            <pc:docMk/>
            <pc:sldMk cId="2472330765" sldId="2134803561"/>
            <ac:spMk id="121" creationId="{7E2035AA-53E1-41A1-ADFB-13572293E423}"/>
          </ac:spMkLst>
        </pc:spChg>
        <pc:spChg chg="add del mod">
          <ac:chgData name="Kebba Jeng" userId="fe4cc296-ba7d-48a2-8799-89b58d218255" providerId="ADAL" clId="{FCBD5683-BE61-41A3-82A3-992D8F76D308}" dt="2022-04-08T06:32:58.055" v="457"/>
          <ac:spMkLst>
            <pc:docMk/>
            <pc:sldMk cId="2472330765" sldId="2134803561"/>
            <ac:spMk id="122" creationId="{ADC5F9B3-DC6A-41AC-B9E1-D062D7544674}"/>
          </ac:spMkLst>
        </pc:spChg>
        <pc:spChg chg="add del mod">
          <ac:chgData name="Kebba Jeng" userId="fe4cc296-ba7d-48a2-8799-89b58d218255" providerId="ADAL" clId="{FCBD5683-BE61-41A3-82A3-992D8F76D308}" dt="2022-04-08T06:32:58.055" v="457"/>
          <ac:spMkLst>
            <pc:docMk/>
            <pc:sldMk cId="2472330765" sldId="2134803561"/>
            <ac:spMk id="123" creationId="{DF43ED61-4137-4787-A340-DA8C520CD601}"/>
          </ac:spMkLst>
        </pc:spChg>
        <pc:spChg chg="add del mod">
          <ac:chgData name="Kebba Jeng" userId="fe4cc296-ba7d-48a2-8799-89b58d218255" providerId="ADAL" clId="{FCBD5683-BE61-41A3-82A3-992D8F76D308}" dt="2022-04-08T06:32:58.055" v="457"/>
          <ac:spMkLst>
            <pc:docMk/>
            <pc:sldMk cId="2472330765" sldId="2134803561"/>
            <ac:spMk id="124" creationId="{5044C9FE-40AE-425A-B123-6605512E8311}"/>
          </ac:spMkLst>
        </pc:spChg>
        <pc:spChg chg="add del mod">
          <ac:chgData name="Kebba Jeng" userId="fe4cc296-ba7d-48a2-8799-89b58d218255" providerId="ADAL" clId="{FCBD5683-BE61-41A3-82A3-992D8F76D308}" dt="2022-04-08T06:32:58.055" v="457"/>
          <ac:spMkLst>
            <pc:docMk/>
            <pc:sldMk cId="2472330765" sldId="2134803561"/>
            <ac:spMk id="125" creationId="{A2B3F93A-2842-4785-95DC-13DAA949760C}"/>
          </ac:spMkLst>
        </pc:spChg>
        <pc:spChg chg="add del mod">
          <ac:chgData name="Kebba Jeng" userId="fe4cc296-ba7d-48a2-8799-89b58d218255" providerId="ADAL" clId="{FCBD5683-BE61-41A3-82A3-992D8F76D308}" dt="2022-04-08T06:32:58.055" v="457"/>
          <ac:spMkLst>
            <pc:docMk/>
            <pc:sldMk cId="2472330765" sldId="2134803561"/>
            <ac:spMk id="126" creationId="{3B9A90BE-35D5-4EAF-A91B-5FE6009F0CBD}"/>
          </ac:spMkLst>
        </pc:spChg>
        <pc:spChg chg="add del mod">
          <ac:chgData name="Kebba Jeng" userId="fe4cc296-ba7d-48a2-8799-89b58d218255" providerId="ADAL" clId="{FCBD5683-BE61-41A3-82A3-992D8F76D308}" dt="2022-04-08T06:32:58.055" v="457"/>
          <ac:spMkLst>
            <pc:docMk/>
            <pc:sldMk cId="2472330765" sldId="2134803561"/>
            <ac:spMk id="127" creationId="{6B5D9DF7-0486-4C37-BB62-7ABF2FBD7CFD}"/>
          </ac:spMkLst>
        </pc:spChg>
        <pc:spChg chg="add del mod">
          <ac:chgData name="Kebba Jeng" userId="fe4cc296-ba7d-48a2-8799-89b58d218255" providerId="ADAL" clId="{FCBD5683-BE61-41A3-82A3-992D8F76D308}" dt="2022-04-08T06:32:58.055" v="457"/>
          <ac:spMkLst>
            <pc:docMk/>
            <pc:sldMk cId="2472330765" sldId="2134803561"/>
            <ac:spMk id="128" creationId="{10FE90EC-915D-4CFD-9332-E3B5AC2602EE}"/>
          </ac:spMkLst>
        </pc:spChg>
        <pc:spChg chg="add del mod">
          <ac:chgData name="Kebba Jeng" userId="fe4cc296-ba7d-48a2-8799-89b58d218255" providerId="ADAL" clId="{FCBD5683-BE61-41A3-82A3-992D8F76D308}" dt="2022-04-08T06:32:58.055" v="457"/>
          <ac:spMkLst>
            <pc:docMk/>
            <pc:sldMk cId="2472330765" sldId="2134803561"/>
            <ac:spMk id="129" creationId="{59F28117-183D-40C6-96DD-27F8BDABC968}"/>
          </ac:spMkLst>
        </pc:spChg>
        <pc:spChg chg="add del mod">
          <ac:chgData name="Kebba Jeng" userId="fe4cc296-ba7d-48a2-8799-89b58d218255" providerId="ADAL" clId="{FCBD5683-BE61-41A3-82A3-992D8F76D308}" dt="2022-04-08T06:32:58.055" v="457"/>
          <ac:spMkLst>
            <pc:docMk/>
            <pc:sldMk cId="2472330765" sldId="2134803561"/>
            <ac:spMk id="130" creationId="{65B93917-5762-49F2-93A8-0FEE01C029D0}"/>
          </ac:spMkLst>
        </pc:spChg>
        <pc:spChg chg="add del mod">
          <ac:chgData name="Kebba Jeng" userId="fe4cc296-ba7d-48a2-8799-89b58d218255" providerId="ADAL" clId="{FCBD5683-BE61-41A3-82A3-992D8F76D308}" dt="2022-04-08T06:32:58.055" v="457"/>
          <ac:spMkLst>
            <pc:docMk/>
            <pc:sldMk cId="2472330765" sldId="2134803561"/>
            <ac:spMk id="131" creationId="{4E08C917-8C35-4430-A2EB-0D03A6BB2DEE}"/>
          </ac:spMkLst>
        </pc:spChg>
        <pc:spChg chg="add del mod">
          <ac:chgData name="Kebba Jeng" userId="fe4cc296-ba7d-48a2-8799-89b58d218255" providerId="ADAL" clId="{FCBD5683-BE61-41A3-82A3-992D8F76D308}" dt="2022-04-08T06:32:58.055" v="457"/>
          <ac:spMkLst>
            <pc:docMk/>
            <pc:sldMk cId="2472330765" sldId="2134803561"/>
            <ac:spMk id="132" creationId="{99872EEA-FAAC-4AE9-829C-86146A0B87E3}"/>
          </ac:spMkLst>
        </pc:spChg>
        <pc:spChg chg="add del mod">
          <ac:chgData name="Kebba Jeng" userId="fe4cc296-ba7d-48a2-8799-89b58d218255" providerId="ADAL" clId="{FCBD5683-BE61-41A3-82A3-992D8F76D308}" dt="2022-04-08T06:32:58.055" v="457"/>
          <ac:spMkLst>
            <pc:docMk/>
            <pc:sldMk cId="2472330765" sldId="2134803561"/>
            <ac:spMk id="133" creationId="{0C9BE90A-52C8-4BE7-A923-2261E682A098}"/>
          </ac:spMkLst>
        </pc:spChg>
        <pc:spChg chg="add del mod">
          <ac:chgData name="Kebba Jeng" userId="fe4cc296-ba7d-48a2-8799-89b58d218255" providerId="ADAL" clId="{FCBD5683-BE61-41A3-82A3-992D8F76D308}" dt="2022-04-08T06:32:58.055" v="457"/>
          <ac:spMkLst>
            <pc:docMk/>
            <pc:sldMk cId="2472330765" sldId="2134803561"/>
            <ac:spMk id="134" creationId="{5CE91910-174E-4088-A451-AE912B10AB78}"/>
          </ac:spMkLst>
        </pc:spChg>
        <pc:spChg chg="add del mod">
          <ac:chgData name="Kebba Jeng" userId="fe4cc296-ba7d-48a2-8799-89b58d218255" providerId="ADAL" clId="{FCBD5683-BE61-41A3-82A3-992D8F76D308}" dt="2022-04-08T06:32:58.055" v="457"/>
          <ac:spMkLst>
            <pc:docMk/>
            <pc:sldMk cId="2472330765" sldId="2134803561"/>
            <ac:spMk id="135" creationId="{0B1A7D31-3269-421D-A56A-DD49CFD9098C}"/>
          </ac:spMkLst>
        </pc:spChg>
        <pc:spChg chg="add del mod">
          <ac:chgData name="Kebba Jeng" userId="fe4cc296-ba7d-48a2-8799-89b58d218255" providerId="ADAL" clId="{FCBD5683-BE61-41A3-82A3-992D8F76D308}" dt="2022-04-08T06:32:58.055" v="457"/>
          <ac:spMkLst>
            <pc:docMk/>
            <pc:sldMk cId="2472330765" sldId="2134803561"/>
            <ac:spMk id="136" creationId="{961984AF-7F1E-4ED8-9AD7-38C90C3913A6}"/>
          </ac:spMkLst>
        </pc:spChg>
        <pc:spChg chg="add del mod">
          <ac:chgData name="Kebba Jeng" userId="fe4cc296-ba7d-48a2-8799-89b58d218255" providerId="ADAL" clId="{FCBD5683-BE61-41A3-82A3-992D8F76D308}" dt="2022-04-08T06:32:58.055" v="457"/>
          <ac:spMkLst>
            <pc:docMk/>
            <pc:sldMk cId="2472330765" sldId="2134803561"/>
            <ac:spMk id="137" creationId="{E73C9545-6E14-4FCE-9447-054DE77C6A97}"/>
          </ac:spMkLst>
        </pc:spChg>
        <pc:spChg chg="add del mod">
          <ac:chgData name="Kebba Jeng" userId="fe4cc296-ba7d-48a2-8799-89b58d218255" providerId="ADAL" clId="{FCBD5683-BE61-41A3-82A3-992D8F76D308}" dt="2022-04-08T06:32:58.055" v="457"/>
          <ac:spMkLst>
            <pc:docMk/>
            <pc:sldMk cId="2472330765" sldId="2134803561"/>
            <ac:spMk id="138" creationId="{2518901A-E9B9-428C-9A04-CEBC6243AC4E}"/>
          </ac:spMkLst>
        </pc:spChg>
        <pc:spChg chg="add del mod">
          <ac:chgData name="Kebba Jeng" userId="fe4cc296-ba7d-48a2-8799-89b58d218255" providerId="ADAL" clId="{FCBD5683-BE61-41A3-82A3-992D8F76D308}" dt="2022-04-08T06:32:58.055" v="457"/>
          <ac:spMkLst>
            <pc:docMk/>
            <pc:sldMk cId="2472330765" sldId="2134803561"/>
            <ac:spMk id="139" creationId="{D7F0FBB6-DDFC-4BDC-9A45-CBA0523AFDD5}"/>
          </ac:spMkLst>
        </pc:spChg>
        <pc:spChg chg="add del mod">
          <ac:chgData name="Kebba Jeng" userId="fe4cc296-ba7d-48a2-8799-89b58d218255" providerId="ADAL" clId="{FCBD5683-BE61-41A3-82A3-992D8F76D308}" dt="2022-04-08T06:32:58.055" v="457"/>
          <ac:spMkLst>
            <pc:docMk/>
            <pc:sldMk cId="2472330765" sldId="2134803561"/>
            <ac:spMk id="140" creationId="{B9B259BE-31B2-4F02-8F80-F3A82FDF74D7}"/>
          </ac:spMkLst>
        </pc:spChg>
        <pc:spChg chg="add del mod">
          <ac:chgData name="Kebba Jeng" userId="fe4cc296-ba7d-48a2-8799-89b58d218255" providerId="ADAL" clId="{FCBD5683-BE61-41A3-82A3-992D8F76D308}" dt="2022-04-08T06:32:58.055" v="457"/>
          <ac:spMkLst>
            <pc:docMk/>
            <pc:sldMk cId="2472330765" sldId="2134803561"/>
            <ac:spMk id="141" creationId="{3BA2F90B-6813-427D-9D1D-CC60E5406792}"/>
          </ac:spMkLst>
        </pc:spChg>
        <pc:spChg chg="add del mod">
          <ac:chgData name="Kebba Jeng" userId="fe4cc296-ba7d-48a2-8799-89b58d218255" providerId="ADAL" clId="{FCBD5683-BE61-41A3-82A3-992D8F76D308}" dt="2022-04-08T06:32:58.055" v="457"/>
          <ac:spMkLst>
            <pc:docMk/>
            <pc:sldMk cId="2472330765" sldId="2134803561"/>
            <ac:spMk id="142" creationId="{615EBEC5-079D-423D-A86D-C620B491238A}"/>
          </ac:spMkLst>
        </pc:spChg>
        <pc:spChg chg="add del mod">
          <ac:chgData name="Kebba Jeng" userId="fe4cc296-ba7d-48a2-8799-89b58d218255" providerId="ADAL" clId="{FCBD5683-BE61-41A3-82A3-992D8F76D308}" dt="2022-04-08T06:32:58.055" v="457"/>
          <ac:spMkLst>
            <pc:docMk/>
            <pc:sldMk cId="2472330765" sldId="2134803561"/>
            <ac:spMk id="143" creationId="{F95BF904-A4D6-41E2-A74B-6801677D412C}"/>
          </ac:spMkLst>
        </pc:spChg>
        <pc:spChg chg="add del mod">
          <ac:chgData name="Kebba Jeng" userId="fe4cc296-ba7d-48a2-8799-89b58d218255" providerId="ADAL" clId="{FCBD5683-BE61-41A3-82A3-992D8F76D308}" dt="2022-04-08T06:32:58.055" v="457"/>
          <ac:spMkLst>
            <pc:docMk/>
            <pc:sldMk cId="2472330765" sldId="2134803561"/>
            <ac:spMk id="144" creationId="{FD27C314-8C38-4525-BF56-056C86EDFA63}"/>
          </ac:spMkLst>
        </pc:spChg>
        <pc:spChg chg="add del mod">
          <ac:chgData name="Kebba Jeng" userId="fe4cc296-ba7d-48a2-8799-89b58d218255" providerId="ADAL" clId="{FCBD5683-BE61-41A3-82A3-992D8F76D308}" dt="2022-04-08T06:32:58.055" v="457"/>
          <ac:spMkLst>
            <pc:docMk/>
            <pc:sldMk cId="2472330765" sldId="2134803561"/>
            <ac:spMk id="145" creationId="{F65F5D5E-C5B2-4578-B0EB-EAC176B9BBED}"/>
          </ac:spMkLst>
        </pc:spChg>
        <pc:spChg chg="add del mod">
          <ac:chgData name="Kebba Jeng" userId="fe4cc296-ba7d-48a2-8799-89b58d218255" providerId="ADAL" clId="{FCBD5683-BE61-41A3-82A3-992D8F76D308}" dt="2022-04-08T06:32:58.055" v="457"/>
          <ac:spMkLst>
            <pc:docMk/>
            <pc:sldMk cId="2472330765" sldId="2134803561"/>
            <ac:spMk id="146" creationId="{E72AF650-B64F-46A7-8CC2-BBFE47DAE537}"/>
          </ac:spMkLst>
        </pc:spChg>
        <pc:spChg chg="add del mod">
          <ac:chgData name="Kebba Jeng" userId="fe4cc296-ba7d-48a2-8799-89b58d218255" providerId="ADAL" clId="{FCBD5683-BE61-41A3-82A3-992D8F76D308}" dt="2022-04-08T06:32:58.055" v="457"/>
          <ac:spMkLst>
            <pc:docMk/>
            <pc:sldMk cId="2472330765" sldId="2134803561"/>
            <ac:spMk id="147" creationId="{E6F7EFD6-9C36-4AC7-8A24-4BA2F3BE043F}"/>
          </ac:spMkLst>
        </pc:spChg>
        <pc:spChg chg="add del mod">
          <ac:chgData name="Kebba Jeng" userId="fe4cc296-ba7d-48a2-8799-89b58d218255" providerId="ADAL" clId="{FCBD5683-BE61-41A3-82A3-992D8F76D308}" dt="2022-04-08T06:32:58.055" v="457"/>
          <ac:spMkLst>
            <pc:docMk/>
            <pc:sldMk cId="2472330765" sldId="2134803561"/>
            <ac:spMk id="148" creationId="{1E35E9B9-018E-4A9A-91DC-02566DCED43C}"/>
          </ac:spMkLst>
        </pc:spChg>
        <pc:spChg chg="add del mod">
          <ac:chgData name="Kebba Jeng" userId="fe4cc296-ba7d-48a2-8799-89b58d218255" providerId="ADAL" clId="{FCBD5683-BE61-41A3-82A3-992D8F76D308}" dt="2022-04-08T06:32:58.055" v="457"/>
          <ac:spMkLst>
            <pc:docMk/>
            <pc:sldMk cId="2472330765" sldId="2134803561"/>
            <ac:spMk id="149" creationId="{B5F8FCD9-5E02-48BE-AA3F-4685248319AA}"/>
          </ac:spMkLst>
        </pc:spChg>
        <pc:spChg chg="add del mod">
          <ac:chgData name="Kebba Jeng" userId="fe4cc296-ba7d-48a2-8799-89b58d218255" providerId="ADAL" clId="{FCBD5683-BE61-41A3-82A3-992D8F76D308}" dt="2022-04-08T06:32:58.055" v="457"/>
          <ac:spMkLst>
            <pc:docMk/>
            <pc:sldMk cId="2472330765" sldId="2134803561"/>
            <ac:spMk id="150" creationId="{7548184A-6294-4040-975C-88E01925AD54}"/>
          </ac:spMkLst>
        </pc:spChg>
        <pc:spChg chg="add del mod">
          <ac:chgData name="Kebba Jeng" userId="fe4cc296-ba7d-48a2-8799-89b58d218255" providerId="ADAL" clId="{FCBD5683-BE61-41A3-82A3-992D8F76D308}" dt="2022-04-08T06:32:58.055" v="457"/>
          <ac:spMkLst>
            <pc:docMk/>
            <pc:sldMk cId="2472330765" sldId="2134803561"/>
            <ac:spMk id="151" creationId="{D9D046B2-1A57-4827-994D-012C6FC1FB1C}"/>
          </ac:spMkLst>
        </pc:spChg>
        <pc:spChg chg="add del mod">
          <ac:chgData name="Kebba Jeng" userId="fe4cc296-ba7d-48a2-8799-89b58d218255" providerId="ADAL" clId="{FCBD5683-BE61-41A3-82A3-992D8F76D308}" dt="2022-04-08T06:32:58.055" v="457"/>
          <ac:spMkLst>
            <pc:docMk/>
            <pc:sldMk cId="2472330765" sldId="2134803561"/>
            <ac:spMk id="152" creationId="{87FDAA73-667E-4F12-BC11-42BF8AF41BEE}"/>
          </ac:spMkLst>
        </pc:spChg>
        <pc:spChg chg="add del mod">
          <ac:chgData name="Kebba Jeng" userId="fe4cc296-ba7d-48a2-8799-89b58d218255" providerId="ADAL" clId="{FCBD5683-BE61-41A3-82A3-992D8F76D308}" dt="2022-04-08T06:32:58.055" v="457"/>
          <ac:spMkLst>
            <pc:docMk/>
            <pc:sldMk cId="2472330765" sldId="2134803561"/>
            <ac:spMk id="153" creationId="{E61D450F-1D92-48CB-9846-583926B968E6}"/>
          </ac:spMkLst>
        </pc:spChg>
        <pc:spChg chg="add del mod">
          <ac:chgData name="Kebba Jeng" userId="fe4cc296-ba7d-48a2-8799-89b58d218255" providerId="ADAL" clId="{FCBD5683-BE61-41A3-82A3-992D8F76D308}" dt="2022-04-08T06:32:58.055" v="457"/>
          <ac:spMkLst>
            <pc:docMk/>
            <pc:sldMk cId="2472330765" sldId="2134803561"/>
            <ac:spMk id="154" creationId="{3CB40482-8E9A-4E49-8AC2-C3D5C68FBC8E}"/>
          </ac:spMkLst>
        </pc:spChg>
        <pc:spChg chg="add del mod">
          <ac:chgData name="Kebba Jeng" userId="fe4cc296-ba7d-48a2-8799-89b58d218255" providerId="ADAL" clId="{FCBD5683-BE61-41A3-82A3-992D8F76D308}" dt="2022-04-08T06:32:58.055" v="457"/>
          <ac:spMkLst>
            <pc:docMk/>
            <pc:sldMk cId="2472330765" sldId="2134803561"/>
            <ac:spMk id="155" creationId="{C078B6E0-424D-43E2-BA4B-7C5D2D647B47}"/>
          </ac:spMkLst>
        </pc:spChg>
        <pc:spChg chg="add del mod">
          <ac:chgData name="Kebba Jeng" userId="fe4cc296-ba7d-48a2-8799-89b58d218255" providerId="ADAL" clId="{FCBD5683-BE61-41A3-82A3-992D8F76D308}" dt="2022-04-08T06:32:58.055" v="457"/>
          <ac:spMkLst>
            <pc:docMk/>
            <pc:sldMk cId="2472330765" sldId="2134803561"/>
            <ac:spMk id="156" creationId="{5689648E-6BCA-4FE0-8D59-7734B124ED6B}"/>
          </ac:spMkLst>
        </pc:spChg>
        <pc:spChg chg="add del mod">
          <ac:chgData name="Kebba Jeng" userId="fe4cc296-ba7d-48a2-8799-89b58d218255" providerId="ADAL" clId="{FCBD5683-BE61-41A3-82A3-992D8F76D308}" dt="2022-04-08T06:32:58.055" v="457"/>
          <ac:spMkLst>
            <pc:docMk/>
            <pc:sldMk cId="2472330765" sldId="2134803561"/>
            <ac:spMk id="157" creationId="{B2EDBB0C-F07F-4519-82A3-6C55F7ED09DA}"/>
          </ac:spMkLst>
        </pc:spChg>
        <pc:spChg chg="add del mod">
          <ac:chgData name="Kebba Jeng" userId="fe4cc296-ba7d-48a2-8799-89b58d218255" providerId="ADAL" clId="{FCBD5683-BE61-41A3-82A3-992D8F76D308}" dt="2022-04-08T06:32:58.055" v="457"/>
          <ac:spMkLst>
            <pc:docMk/>
            <pc:sldMk cId="2472330765" sldId="2134803561"/>
            <ac:spMk id="158" creationId="{4A94E4BD-CAC1-44CD-BA89-515CD295CA1A}"/>
          </ac:spMkLst>
        </pc:spChg>
        <pc:spChg chg="add del mod">
          <ac:chgData name="Kebba Jeng" userId="fe4cc296-ba7d-48a2-8799-89b58d218255" providerId="ADAL" clId="{FCBD5683-BE61-41A3-82A3-992D8F76D308}" dt="2022-04-08T06:32:58.055" v="457"/>
          <ac:spMkLst>
            <pc:docMk/>
            <pc:sldMk cId="2472330765" sldId="2134803561"/>
            <ac:spMk id="159" creationId="{89FC4994-F0FC-469A-B455-E868770C173B}"/>
          </ac:spMkLst>
        </pc:spChg>
        <pc:spChg chg="add del mod">
          <ac:chgData name="Kebba Jeng" userId="fe4cc296-ba7d-48a2-8799-89b58d218255" providerId="ADAL" clId="{FCBD5683-BE61-41A3-82A3-992D8F76D308}" dt="2022-04-08T06:32:58.055" v="457"/>
          <ac:spMkLst>
            <pc:docMk/>
            <pc:sldMk cId="2472330765" sldId="2134803561"/>
            <ac:spMk id="160" creationId="{658107C0-D673-467B-9B8A-0CCF34292BCC}"/>
          </ac:spMkLst>
        </pc:spChg>
        <pc:spChg chg="add del mod">
          <ac:chgData name="Kebba Jeng" userId="fe4cc296-ba7d-48a2-8799-89b58d218255" providerId="ADAL" clId="{FCBD5683-BE61-41A3-82A3-992D8F76D308}" dt="2022-04-08T06:32:58.055" v="457"/>
          <ac:spMkLst>
            <pc:docMk/>
            <pc:sldMk cId="2472330765" sldId="2134803561"/>
            <ac:spMk id="161" creationId="{D70FFCFA-F3D5-4765-A839-4F07A1A8B1FC}"/>
          </ac:spMkLst>
        </pc:spChg>
        <pc:spChg chg="add del mod">
          <ac:chgData name="Kebba Jeng" userId="fe4cc296-ba7d-48a2-8799-89b58d218255" providerId="ADAL" clId="{FCBD5683-BE61-41A3-82A3-992D8F76D308}" dt="2022-04-08T06:32:58.055" v="457"/>
          <ac:spMkLst>
            <pc:docMk/>
            <pc:sldMk cId="2472330765" sldId="2134803561"/>
            <ac:spMk id="162" creationId="{44B529F6-6C54-45FB-A145-89870D389E15}"/>
          </ac:spMkLst>
        </pc:spChg>
        <pc:spChg chg="add del mod">
          <ac:chgData name="Kebba Jeng" userId="fe4cc296-ba7d-48a2-8799-89b58d218255" providerId="ADAL" clId="{FCBD5683-BE61-41A3-82A3-992D8F76D308}" dt="2022-04-08T06:32:58.055" v="457"/>
          <ac:spMkLst>
            <pc:docMk/>
            <pc:sldMk cId="2472330765" sldId="2134803561"/>
            <ac:spMk id="163" creationId="{AEF2CBE8-14D5-4290-AF3B-85A66F84A06E}"/>
          </ac:spMkLst>
        </pc:spChg>
        <pc:spChg chg="add del mod">
          <ac:chgData name="Kebba Jeng" userId="fe4cc296-ba7d-48a2-8799-89b58d218255" providerId="ADAL" clId="{FCBD5683-BE61-41A3-82A3-992D8F76D308}" dt="2022-04-08T06:32:58.055" v="457"/>
          <ac:spMkLst>
            <pc:docMk/>
            <pc:sldMk cId="2472330765" sldId="2134803561"/>
            <ac:spMk id="164" creationId="{B1070BF0-9EBA-48EA-B595-78290C7F8ECD}"/>
          </ac:spMkLst>
        </pc:spChg>
        <pc:spChg chg="add del mod">
          <ac:chgData name="Kebba Jeng" userId="fe4cc296-ba7d-48a2-8799-89b58d218255" providerId="ADAL" clId="{FCBD5683-BE61-41A3-82A3-992D8F76D308}" dt="2022-04-08T06:32:58.055" v="457"/>
          <ac:spMkLst>
            <pc:docMk/>
            <pc:sldMk cId="2472330765" sldId="2134803561"/>
            <ac:spMk id="165" creationId="{8539991B-37D1-4F96-82DC-12503F7BBC1B}"/>
          </ac:spMkLst>
        </pc:spChg>
        <pc:spChg chg="add del mod">
          <ac:chgData name="Kebba Jeng" userId="fe4cc296-ba7d-48a2-8799-89b58d218255" providerId="ADAL" clId="{FCBD5683-BE61-41A3-82A3-992D8F76D308}" dt="2022-04-08T06:32:58.055" v="457"/>
          <ac:spMkLst>
            <pc:docMk/>
            <pc:sldMk cId="2472330765" sldId="2134803561"/>
            <ac:spMk id="166" creationId="{07837583-CEFF-48E6-988B-10624EABC481}"/>
          </ac:spMkLst>
        </pc:spChg>
        <pc:spChg chg="add del mod">
          <ac:chgData name="Kebba Jeng" userId="fe4cc296-ba7d-48a2-8799-89b58d218255" providerId="ADAL" clId="{FCBD5683-BE61-41A3-82A3-992D8F76D308}" dt="2022-04-08T06:32:58.055" v="457"/>
          <ac:spMkLst>
            <pc:docMk/>
            <pc:sldMk cId="2472330765" sldId="2134803561"/>
            <ac:spMk id="167" creationId="{CA920443-9B7A-480D-9F13-31D1A5195EE1}"/>
          </ac:spMkLst>
        </pc:spChg>
        <pc:spChg chg="add del mod">
          <ac:chgData name="Kebba Jeng" userId="fe4cc296-ba7d-48a2-8799-89b58d218255" providerId="ADAL" clId="{FCBD5683-BE61-41A3-82A3-992D8F76D308}" dt="2022-04-08T06:32:58.055" v="457"/>
          <ac:spMkLst>
            <pc:docMk/>
            <pc:sldMk cId="2472330765" sldId="2134803561"/>
            <ac:spMk id="168" creationId="{B368E929-8AA1-42F1-815E-F524C8BCFD4A}"/>
          </ac:spMkLst>
        </pc:spChg>
        <pc:spChg chg="add del mod">
          <ac:chgData name="Kebba Jeng" userId="fe4cc296-ba7d-48a2-8799-89b58d218255" providerId="ADAL" clId="{FCBD5683-BE61-41A3-82A3-992D8F76D308}" dt="2022-04-08T06:32:58.055" v="457"/>
          <ac:spMkLst>
            <pc:docMk/>
            <pc:sldMk cId="2472330765" sldId="2134803561"/>
            <ac:spMk id="169" creationId="{3388C424-E0A9-4C45-970D-BE45BE792FAA}"/>
          </ac:spMkLst>
        </pc:spChg>
        <pc:spChg chg="add del mod">
          <ac:chgData name="Kebba Jeng" userId="fe4cc296-ba7d-48a2-8799-89b58d218255" providerId="ADAL" clId="{FCBD5683-BE61-41A3-82A3-992D8F76D308}" dt="2022-04-08T06:32:58.055" v="457"/>
          <ac:spMkLst>
            <pc:docMk/>
            <pc:sldMk cId="2472330765" sldId="2134803561"/>
            <ac:spMk id="170" creationId="{8652282B-1333-440D-9F6D-5A65D71F224C}"/>
          </ac:spMkLst>
        </pc:spChg>
        <pc:spChg chg="add del mod">
          <ac:chgData name="Kebba Jeng" userId="fe4cc296-ba7d-48a2-8799-89b58d218255" providerId="ADAL" clId="{FCBD5683-BE61-41A3-82A3-992D8F76D308}" dt="2022-04-08T06:32:58.055" v="457"/>
          <ac:spMkLst>
            <pc:docMk/>
            <pc:sldMk cId="2472330765" sldId="2134803561"/>
            <ac:spMk id="171" creationId="{02A331B6-01EB-4457-84FF-BF112E49DE53}"/>
          </ac:spMkLst>
        </pc:spChg>
        <pc:spChg chg="add del mod">
          <ac:chgData name="Kebba Jeng" userId="fe4cc296-ba7d-48a2-8799-89b58d218255" providerId="ADAL" clId="{FCBD5683-BE61-41A3-82A3-992D8F76D308}" dt="2022-04-08T06:32:58.055" v="457"/>
          <ac:spMkLst>
            <pc:docMk/>
            <pc:sldMk cId="2472330765" sldId="2134803561"/>
            <ac:spMk id="172" creationId="{312348C7-9740-4630-AB26-95410A958A34}"/>
          </ac:spMkLst>
        </pc:spChg>
        <pc:spChg chg="add del mod">
          <ac:chgData name="Kebba Jeng" userId="fe4cc296-ba7d-48a2-8799-89b58d218255" providerId="ADAL" clId="{FCBD5683-BE61-41A3-82A3-992D8F76D308}" dt="2022-04-08T06:32:58.055" v="457"/>
          <ac:spMkLst>
            <pc:docMk/>
            <pc:sldMk cId="2472330765" sldId="2134803561"/>
            <ac:spMk id="173" creationId="{98E9494E-668C-4178-993F-446CBDB0EB50}"/>
          </ac:spMkLst>
        </pc:spChg>
        <pc:spChg chg="add del mod">
          <ac:chgData name="Kebba Jeng" userId="fe4cc296-ba7d-48a2-8799-89b58d218255" providerId="ADAL" clId="{FCBD5683-BE61-41A3-82A3-992D8F76D308}" dt="2022-04-08T06:32:58.055" v="457"/>
          <ac:spMkLst>
            <pc:docMk/>
            <pc:sldMk cId="2472330765" sldId="2134803561"/>
            <ac:spMk id="174" creationId="{07903531-4766-4A55-BE3B-FE8D2ED8BDF5}"/>
          </ac:spMkLst>
        </pc:spChg>
        <pc:spChg chg="add del mod">
          <ac:chgData name="Kebba Jeng" userId="fe4cc296-ba7d-48a2-8799-89b58d218255" providerId="ADAL" clId="{FCBD5683-BE61-41A3-82A3-992D8F76D308}" dt="2022-04-08T06:32:58.055" v="457"/>
          <ac:spMkLst>
            <pc:docMk/>
            <pc:sldMk cId="2472330765" sldId="2134803561"/>
            <ac:spMk id="175" creationId="{B464DA97-5406-40B8-827B-A22195BC10AB}"/>
          </ac:spMkLst>
        </pc:spChg>
        <pc:spChg chg="add del mod">
          <ac:chgData name="Kebba Jeng" userId="fe4cc296-ba7d-48a2-8799-89b58d218255" providerId="ADAL" clId="{FCBD5683-BE61-41A3-82A3-992D8F76D308}" dt="2022-04-08T06:32:58.055" v="457"/>
          <ac:spMkLst>
            <pc:docMk/>
            <pc:sldMk cId="2472330765" sldId="2134803561"/>
            <ac:spMk id="176" creationId="{AEA8FF90-E678-4E74-87D6-06D46B55AB38}"/>
          </ac:spMkLst>
        </pc:spChg>
        <pc:spChg chg="add del mod">
          <ac:chgData name="Kebba Jeng" userId="fe4cc296-ba7d-48a2-8799-89b58d218255" providerId="ADAL" clId="{FCBD5683-BE61-41A3-82A3-992D8F76D308}" dt="2022-04-08T06:32:58.055" v="457"/>
          <ac:spMkLst>
            <pc:docMk/>
            <pc:sldMk cId="2472330765" sldId="2134803561"/>
            <ac:spMk id="177" creationId="{4A007898-5C1B-454C-9761-FAE5800AE4FC}"/>
          </ac:spMkLst>
        </pc:spChg>
        <pc:spChg chg="add del mod">
          <ac:chgData name="Kebba Jeng" userId="fe4cc296-ba7d-48a2-8799-89b58d218255" providerId="ADAL" clId="{FCBD5683-BE61-41A3-82A3-992D8F76D308}" dt="2022-04-08T06:32:58.055" v="457"/>
          <ac:spMkLst>
            <pc:docMk/>
            <pc:sldMk cId="2472330765" sldId="2134803561"/>
            <ac:spMk id="178" creationId="{ADEA9E46-9396-4FFE-AF71-11282342A645}"/>
          </ac:spMkLst>
        </pc:spChg>
        <pc:spChg chg="add del mod">
          <ac:chgData name="Kebba Jeng" userId="fe4cc296-ba7d-48a2-8799-89b58d218255" providerId="ADAL" clId="{FCBD5683-BE61-41A3-82A3-992D8F76D308}" dt="2022-04-08T06:32:58.055" v="457"/>
          <ac:spMkLst>
            <pc:docMk/>
            <pc:sldMk cId="2472330765" sldId="2134803561"/>
            <ac:spMk id="179" creationId="{910529E7-A449-4A56-A3C1-5AE21799DD65}"/>
          </ac:spMkLst>
        </pc:spChg>
        <pc:spChg chg="add del mod">
          <ac:chgData name="Kebba Jeng" userId="fe4cc296-ba7d-48a2-8799-89b58d218255" providerId="ADAL" clId="{FCBD5683-BE61-41A3-82A3-992D8F76D308}" dt="2022-04-08T06:32:58.055" v="457"/>
          <ac:spMkLst>
            <pc:docMk/>
            <pc:sldMk cId="2472330765" sldId="2134803561"/>
            <ac:spMk id="180" creationId="{65EC0017-9091-441E-A9F8-AA6FCFFBE6AA}"/>
          </ac:spMkLst>
        </pc:spChg>
        <pc:spChg chg="add del mod">
          <ac:chgData name="Kebba Jeng" userId="fe4cc296-ba7d-48a2-8799-89b58d218255" providerId="ADAL" clId="{FCBD5683-BE61-41A3-82A3-992D8F76D308}" dt="2022-04-08T06:32:58.055" v="457"/>
          <ac:spMkLst>
            <pc:docMk/>
            <pc:sldMk cId="2472330765" sldId="2134803561"/>
            <ac:spMk id="181" creationId="{BF7AD7B2-B7D8-4BEA-8772-60340E6573BF}"/>
          </ac:spMkLst>
        </pc:spChg>
        <pc:spChg chg="add del mod">
          <ac:chgData name="Kebba Jeng" userId="fe4cc296-ba7d-48a2-8799-89b58d218255" providerId="ADAL" clId="{FCBD5683-BE61-41A3-82A3-992D8F76D308}" dt="2022-04-08T06:32:58.055" v="457"/>
          <ac:spMkLst>
            <pc:docMk/>
            <pc:sldMk cId="2472330765" sldId="2134803561"/>
            <ac:spMk id="182" creationId="{B0868F80-E358-42C7-9BFF-9B76E2832E7A}"/>
          </ac:spMkLst>
        </pc:spChg>
        <pc:spChg chg="add del mod">
          <ac:chgData name="Kebba Jeng" userId="fe4cc296-ba7d-48a2-8799-89b58d218255" providerId="ADAL" clId="{FCBD5683-BE61-41A3-82A3-992D8F76D308}" dt="2022-04-08T06:32:58.055" v="457"/>
          <ac:spMkLst>
            <pc:docMk/>
            <pc:sldMk cId="2472330765" sldId="2134803561"/>
            <ac:spMk id="183" creationId="{5D498225-3733-40B6-BB96-18D01634E07B}"/>
          </ac:spMkLst>
        </pc:spChg>
        <pc:spChg chg="add del mod">
          <ac:chgData name="Kebba Jeng" userId="fe4cc296-ba7d-48a2-8799-89b58d218255" providerId="ADAL" clId="{FCBD5683-BE61-41A3-82A3-992D8F76D308}" dt="2022-04-08T06:32:58.055" v="457"/>
          <ac:spMkLst>
            <pc:docMk/>
            <pc:sldMk cId="2472330765" sldId="2134803561"/>
            <ac:spMk id="184" creationId="{93BF0FE5-34C5-4765-B36D-B013DA278226}"/>
          </ac:spMkLst>
        </pc:spChg>
        <pc:spChg chg="add del mod">
          <ac:chgData name="Kebba Jeng" userId="fe4cc296-ba7d-48a2-8799-89b58d218255" providerId="ADAL" clId="{FCBD5683-BE61-41A3-82A3-992D8F76D308}" dt="2022-04-08T06:32:58.055" v="457"/>
          <ac:spMkLst>
            <pc:docMk/>
            <pc:sldMk cId="2472330765" sldId="2134803561"/>
            <ac:spMk id="185" creationId="{55FFB4B3-A831-4865-AC9E-433BF2325ABD}"/>
          </ac:spMkLst>
        </pc:spChg>
        <pc:spChg chg="add del mod">
          <ac:chgData name="Kebba Jeng" userId="fe4cc296-ba7d-48a2-8799-89b58d218255" providerId="ADAL" clId="{FCBD5683-BE61-41A3-82A3-992D8F76D308}" dt="2022-04-08T06:32:58.055" v="457"/>
          <ac:spMkLst>
            <pc:docMk/>
            <pc:sldMk cId="2472330765" sldId="2134803561"/>
            <ac:spMk id="186" creationId="{CD3BA4E5-5416-4D92-825A-73355C05B93D}"/>
          </ac:spMkLst>
        </pc:spChg>
        <pc:spChg chg="add del mod">
          <ac:chgData name="Kebba Jeng" userId="fe4cc296-ba7d-48a2-8799-89b58d218255" providerId="ADAL" clId="{FCBD5683-BE61-41A3-82A3-992D8F76D308}" dt="2022-04-08T06:32:58.055" v="457"/>
          <ac:spMkLst>
            <pc:docMk/>
            <pc:sldMk cId="2472330765" sldId="2134803561"/>
            <ac:spMk id="187" creationId="{FFD89AF3-7F07-424C-9696-612A9CDCA124}"/>
          </ac:spMkLst>
        </pc:spChg>
        <pc:spChg chg="add del mod">
          <ac:chgData name="Kebba Jeng" userId="fe4cc296-ba7d-48a2-8799-89b58d218255" providerId="ADAL" clId="{FCBD5683-BE61-41A3-82A3-992D8F76D308}" dt="2022-04-08T06:32:58.055" v="457"/>
          <ac:spMkLst>
            <pc:docMk/>
            <pc:sldMk cId="2472330765" sldId="2134803561"/>
            <ac:spMk id="188" creationId="{06D7B2BC-AB97-4B45-9376-6D8BB4DE7E48}"/>
          </ac:spMkLst>
        </pc:spChg>
        <pc:spChg chg="add del mod">
          <ac:chgData name="Kebba Jeng" userId="fe4cc296-ba7d-48a2-8799-89b58d218255" providerId="ADAL" clId="{FCBD5683-BE61-41A3-82A3-992D8F76D308}" dt="2022-04-08T06:32:58.055" v="457"/>
          <ac:spMkLst>
            <pc:docMk/>
            <pc:sldMk cId="2472330765" sldId="2134803561"/>
            <ac:spMk id="189" creationId="{201A7158-A921-4377-87CB-528EAE259EEF}"/>
          </ac:spMkLst>
        </pc:spChg>
        <pc:spChg chg="add del mod">
          <ac:chgData name="Kebba Jeng" userId="fe4cc296-ba7d-48a2-8799-89b58d218255" providerId="ADAL" clId="{FCBD5683-BE61-41A3-82A3-992D8F76D308}" dt="2022-04-08T06:32:58.055" v="457"/>
          <ac:spMkLst>
            <pc:docMk/>
            <pc:sldMk cId="2472330765" sldId="2134803561"/>
            <ac:spMk id="190" creationId="{A82AD984-EADD-4E9B-9D15-E66F09B53BA6}"/>
          </ac:spMkLst>
        </pc:spChg>
        <pc:spChg chg="add del mod">
          <ac:chgData name="Kebba Jeng" userId="fe4cc296-ba7d-48a2-8799-89b58d218255" providerId="ADAL" clId="{FCBD5683-BE61-41A3-82A3-992D8F76D308}" dt="2022-04-08T06:32:58.055" v="457"/>
          <ac:spMkLst>
            <pc:docMk/>
            <pc:sldMk cId="2472330765" sldId="2134803561"/>
            <ac:spMk id="191" creationId="{0DDE21D0-771B-4F42-87DD-BDCBED09999C}"/>
          </ac:spMkLst>
        </pc:spChg>
        <pc:spChg chg="add del mod">
          <ac:chgData name="Kebba Jeng" userId="fe4cc296-ba7d-48a2-8799-89b58d218255" providerId="ADAL" clId="{FCBD5683-BE61-41A3-82A3-992D8F76D308}" dt="2022-04-08T06:32:58.055" v="457"/>
          <ac:spMkLst>
            <pc:docMk/>
            <pc:sldMk cId="2472330765" sldId="2134803561"/>
            <ac:spMk id="192" creationId="{7A16492B-4E86-4913-A831-63343EA8D89E}"/>
          </ac:spMkLst>
        </pc:spChg>
        <pc:spChg chg="add del mod">
          <ac:chgData name="Kebba Jeng" userId="fe4cc296-ba7d-48a2-8799-89b58d218255" providerId="ADAL" clId="{FCBD5683-BE61-41A3-82A3-992D8F76D308}" dt="2022-04-08T06:32:58.055" v="457"/>
          <ac:spMkLst>
            <pc:docMk/>
            <pc:sldMk cId="2472330765" sldId="2134803561"/>
            <ac:spMk id="193" creationId="{06CCB0BB-D2A9-4774-B1DA-610D52C0FA32}"/>
          </ac:spMkLst>
        </pc:spChg>
        <pc:spChg chg="add del mod">
          <ac:chgData name="Kebba Jeng" userId="fe4cc296-ba7d-48a2-8799-89b58d218255" providerId="ADAL" clId="{FCBD5683-BE61-41A3-82A3-992D8F76D308}" dt="2022-04-08T06:32:58.055" v="457"/>
          <ac:spMkLst>
            <pc:docMk/>
            <pc:sldMk cId="2472330765" sldId="2134803561"/>
            <ac:spMk id="194" creationId="{0F952308-C80F-41DF-918F-B61353200DEC}"/>
          </ac:spMkLst>
        </pc:spChg>
        <pc:spChg chg="add del mod">
          <ac:chgData name="Kebba Jeng" userId="fe4cc296-ba7d-48a2-8799-89b58d218255" providerId="ADAL" clId="{FCBD5683-BE61-41A3-82A3-992D8F76D308}" dt="2022-04-08T06:32:58.055" v="457"/>
          <ac:spMkLst>
            <pc:docMk/>
            <pc:sldMk cId="2472330765" sldId="2134803561"/>
            <ac:spMk id="195" creationId="{148905BE-FABA-4F8A-A3F8-C26B0BE0877B}"/>
          </ac:spMkLst>
        </pc:spChg>
        <pc:spChg chg="add del mod">
          <ac:chgData name="Kebba Jeng" userId="fe4cc296-ba7d-48a2-8799-89b58d218255" providerId="ADAL" clId="{FCBD5683-BE61-41A3-82A3-992D8F76D308}" dt="2022-04-08T06:32:58.055" v="457"/>
          <ac:spMkLst>
            <pc:docMk/>
            <pc:sldMk cId="2472330765" sldId="2134803561"/>
            <ac:spMk id="196" creationId="{AF127DB3-77BF-4453-9B0B-127C01DCC307}"/>
          </ac:spMkLst>
        </pc:spChg>
        <pc:spChg chg="add del mod">
          <ac:chgData name="Kebba Jeng" userId="fe4cc296-ba7d-48a2-8799-89b58d218255" providerId="ADAL" clId="{FCBD5683-BE61-41A3-82A3-992D8F76D308}" dt="2022-04-08T06:32:58.055" v="457"/>
          <ac:spMkLst>
            <pc:docMk/>
            <pc:sldMk cId="2472330765" sldId="2134803561"/>
            <ac:spMk id="197" creationId="{AF9DA3F9-4745-4578-AF75-02630BC2AF34}"/>
          </ac:spMkLst>
        </pc:spChg>
        <pc:spChg chg="add del mod">
          <ac:chgData name="Kebba Jeng" userId="fe4cc296-ba7d-48a2-8799-89b58d218255" providerId="ADAL" clId="{FCBD5683-BE61-41A3-82A3-992D8F76D308}" dt="2022-04-08T06:32:58.055" v="457"/>
          <ac:spMkLst>
            <pc:docMk/>
            <pc:sldMk cId="2472330765" sldId="2134803561"/>
            <ac:spMk id="198" creationId="{D75C0753-CED1-4301-BEA1-2254129FABAA}"/>
          </ac:spMkLst>
        </pc:spChg>
        <pc:spChg chg="add del mod">
          <ac:chgData name="Kebba Jeng" userId="fe4cc296-ba7d-48a2-8799-89b58d218255" providerId="ADAL" clId="{FCBD5683-BE61-41A3-82A3-992D8F76D308}" dt="2022-04-08T06:32:58.055" v="457"/>
          <ac:spMkLst>
            <pc:docMk/>
            <pc:sldMk cId="2472330765" sldId="2134803561"/>
            <ac:spMk id="199" creationId="{0CE258AD-F6A8-4DA8-A4A3-BE2BAF661657}"/>
          </ac:spMkLst>
        </pc:spChg>
        <pc:spChg chg="add del mod">
          <ac:chgData name="Kebba Jeng" userId="fe4cc296-ba7d-48a2-8799-89b58d218255" providerId="ADAL" clId="{FCBD5683-BE61-41A3-82A3-992D8F76D308}" dt="2022-04-08T06:32:58.055" v="457"/>
          <ac:spMkLst>
            <pc:docMk/>
            <pc:sldMk cId="2472330765" sldId="2134803561"/>
            <ac:spMk id="200" creationId="{936A280A-DE84-47C8-9367-BE93955A8402}"/>
          </ac:spMkLst>
        </pc:spChg>
        <pc:spChg chg="add del mod">
          <ac:chgData name="Kebba Jeng" userId="fe4cc296-ba7d-48a2-8799-89b58d218255" providerId="ADAL" clId="{FCBD5683-BE61-41A3-82A3-992D8F76D308}" dt="2022-04-08T06:32:58.055" v="457"/>
          <ac:spMkLst>
            <pc:docMk/>
            <pc:sldMk cId="2472330765" sldId="2134803561"/>
            <ac:spMk id="201" creationId="{B425F0EB-95E2-45B1-961B-FB24F6D8D372}"/>
          </ac:spMkLst>
        </pc:spChg>
        <pc:spChg chg="add del mod">
          <ac:chgData name="Kebba Jeng" userId="fe4cc296-ba7d-48a2-8799-89b58d218255" providerId="ADAL" clId="{FCBD5683-BE61-41A3-82A3-992D8F76D308}" dt="2022-04-08T06:32:58.055" v="457"/>
          <ac:spMkLst>
            <pc:docMk/>
            <pc:sldMk cId="2472330765" sldId="2134803561"/>
            <ac:spMk id="202" creationId="{7DCFEEC0-54F0-4C21-908A-EABA51703580}"/>
          </ac:spMkLst>
        </pc:spChg>
        <pc:spChg chg="add del mod">
          <ac:chgData name="Kebba Jeng" userId="fe4cc296-ba7d-48a2-8799-89b58d218255" providerId="ADAL" clId="{FCBD5683-BE61-41A3-82A3-992D8F76D308}" dt="2022-04-08T06:32:58.055" v="457"/>
          <ac:spMkLst>
            <pc:docMk/>
            <pc:sldMk cId="2472330765" sldId="2134803561"/>
            <ac:spMk id="203" creationId="{C6747E8E-1DD7-4482-8381-CB75BB5178C7}"/>
          </ac:spMkLst>
        </pc:spChg>
        <pc:spChg chg="add del mod">
          <ac:chgData name="Kebba Jeng" userId="fe4cc296-ba7d-48a2-8799-89b58d218255" providerId="ADAL" clId="{FCBD5683-BE61-41A3-82A3-992D8F76D308}" dt="2022-04-08T06:32:58.055" v="457"/>
          <ac:spMkLst>
            <pc:docMk/>
            <pc:sldMk cId="2472330765" sldId="2134803561"/>
            <ac:spMk id="204" creationId="{CE0A38A0-629D-4530-9301-87F5A04E7C21}"/>
          </ac:spMkLst>
        </pc:spChg>
        <pc:spChg chg="add del mod">
          <ac:chgData name="Kebba Jeng" userId="fe4cc296-ba7d-48a2-8799-89b58d218255" providerId="ADAL" clId="{FCBD5683-BE61-41A3-82A3-992D8F76D308}" dt="2022-04-08T06:32:58.055" v="457"/>
          <ac:spMkLst>
            <pc:docMk/>
            <pc:sldMk cId="2472330765" sldId="2134803561"/>
            <ac:spMk id="205" creationId="{8790C29A-8DD4-4344-81D9-DE8268C4FA48}"/>
          </ac:spMkLst>
        </pc:spChg>
        <pc:spChg chg="add mod ord">
          <ac:chgData name="Kebba Jeng" userId="fe4cc296-ba7d-48a2-8799-89b58d218255" providerId="ADAL" clId="{FCBD5683-BE61-41A3-82A3-992D8F76D308}" dt="2022-04-08T06:38:21.722" v="478" actId="167"/>
          <ac:spMkLst>
            <pc:docMk/>
            <pc:sldMk cId="2472330765" sldId="2134803561"/>
            <ac:spMk id="206" creationId="{6213874E-01C3-4A8C-916C-2EC2F11F0565}"/>
          </ac:spMkLst>
        </pc:spChg>
        <pc:spChg chg="mod">
          <ac:chgData name="Kebba Jeng" userId="fe4cc296-ba7d-48a2-8799-89b58d218255" providerId="ADAL" clId="{FCBD5683-BE61-41A3-82A3-992D8F76D308}" dt="2022-04-08T06:38:24.667" v="480" actId="20577"/>
          <ac:spMkLst>
            <pc:docMk/>
            <pc:sldMk cId="2472330765" sldId="2134803561"/>
            <ac:spMk id="1898" creationId="{9965CFE3-F405-4532-A9AD-DBF78C38C08F}"/>
          </ac:spMkLst>
        </pc:spChg>
        <pc:grpChg chg="ord">
          <ac:chgData name="Kebba Jeng" userId="fe4cc296-ba7d-48a2-8799-89b58d218255" providerId="ADAL" clId="{FCBD5683-BE61-41A3-82A3-992D8F76D308}" dt="2022-04-08T06:38:28.472" v="481" actId="167"/>
          <ac:grpSpMkLst>
            <pc:docMk/>
            <pc:sldMk cId="2472330765" sldId="2134803561"/>
            <ac:grpSpMk id="2" creationId="{B7CC2013-ED0C-41AB-8B3E-14B810F2010E}"/>
          </ac:grpSpMkLst>
        </pc:grpChg>
        <pc:picChg chg="add mod ord">
          <ac:chgData name="Kebba Jeng" userId="fe4cc296-ba7d-48a2-8799-89b58d218255" providerId="ADAL" clId="{FCBD5683-BE61-41A3-82A3-992D8F76D308}" dt="2022-04-08T06:33:09.475" v="461" actId="167"/>
          <ac:picMkLst>
            <pc:docMk/>
            <pc:sldMk cId="2472330765" sldId="2134803561"/>
            <ac:picMk id="4" creationId="{280B0523-0799-48E5-8A81-6CBB226DBC93}"/>
          </ac:picMkLst>
        </pc:picChg>
        <pc:picChg chg="del">
          <ac:chgData name="Kebba Jeng" userId="fe4cc296-ba7d-48a2-8799-89b58d218255" providerId="ADAL" clId="{FCBD5683-BE61-41A3-82A3-992D8F76D308}" dt="2022-04-01T17:26:24.299" v="177" actId="478"/>
          <ac:picMkLst>
            <pc:docMk/>
            <pc:sldMk cId="2472330765" sldId="2134803561"/>
            <ac:picMk id="10" creationId="{04B6FB34-308C-4463-B0EE-B58B22741189}"/>
          </ac:picMkLst>
        </pc:picChg>
        <pc:picChg chg="add del ord">
          <ac:chgData name="Kebba Jeng" userId="fe4cc296-ba7d-48a2-8799-89b58d218255" providerId="ADAL" clId="{FCBD5683-BE61-41A3-82A3-992D8F76D308}" dt="2022-04-08T06:33:11.361" v="462" actId="478"/>
          <ac:picMkLst>
            <pc:docMk/>
            <pc:sldMk cId="2472330765" sldId="2134803561"/>
            <ac:picMk id="11" creationId="{51FC6B0E-D457-4708-8046-B48AE56EDB41}"/>
          </ac:picMkLst>
        </pc:picChg>
      </pc:sldChg>
      <pc:sldChg chg="addSp delSp modSp add del mod modNotesTx">
        <pc:chgData name="Kebba Jeng" userId="fe4cc296-ba7d-48a2-8799-89b58d218255" providerId="ADAL" clId="{FCBD5683-BE61-41A3-82A3-992D8F76D308}" dt="2022-04-08T06:33:21.293" v="463" actId="47"/>
        <pc:sldMkLst>
          <pc:docMk/>
          <pc:sldMk cId="2733787345" sldId="2134803562"/>
        </pc:sldMkLst>
        <pc:spChg chg="mod">
          <ac:chgData name="Kebba Jeng" userId="fe4cc296-ba7d-48a2-8799-89b58d218255" providerId="ADAL" clId="{FCBD5683-BE61-41A3-82A3-992D8F76D308}" dt="2022-04-01T17:27:34.326" v="187" actId="207"/>
          <ac:spMkLst>
            <pc:docMk/>
            <pc:sldMk cId="2733787345" sldId="2134803562"/>
            <ac:spMk id="1898" creationId="{9965CFE3-F405-4532-A9AD-DBF78C38C08F}"/>
          </ac:spMkLst>
        </pc:spChg>
        <pc:picChg chg="add mod ord">
          <ac:chgData name="Kebba Jeng" userId="fe4cc296-ba7d-48a2-8799-89b58d218255" providerId="ADAL" clId="{FCBD5683-BE61-41A3-82A3-992D8F76D308}" dt="2022-04-01T17:26:53.418" v="183" actId="167"/>
          <ac:picMkLst>
            <pc:docMk/>
            <pc:sldMk cId="2733787345" sldId="2134803562"/>
            <ac:picMk id="10" creationId="{E51FCF85-1F1E-4151-8B46-24BBDDA02E5D}"/>
          </ac:picMkLst>
        </pc:picChg>
        <pc:picChg chg="del">
          <ac:chgData name="Kebba Jeng" userId="fe4cc296-ba7d-48a2-8799-89b58d218255" providerId="ADAL" clId="{FCBD5683-BE61-41A3-82A3-992D8F76D308}" dt="2022-04-01T17:26:55.449" v="184" actId="478"/>
          <ac:picMkLst>
            <pc:docMk/>
            <pc:sldMk cId="2733787345" sldId="2134803562"/>
            <ac:picMk id="11" creationId="{51FC6B0E-D457-4708-8046-B48AE56EDB41}"/>
          </ac:picMkLst>
        </pc:picChg>
      </pc:sldChg>
      <pc:sldChg chg="modSp add mod">
        <pc:chgData name="Kebba Jeng" userId="fe4cc296-ba7d-48a2-8799-89b58d218255" providerId="ADAL" clId="{FCBD5683-BE61-41A3-82A3-992D8F76D308}" dt="2022-04-07T19:08:07.257" v="402"/>
        <pc:sldMkLst>
          <pc:docMk/>
          <pc:sldMk cId="835017689" sldId="2134803563"/>
        </pc:sldMkLst>
        <pc:spChg chg="mod">
          <ac:chgData name="Kebba Jeng" userId="fe4cc296-ba7d-48a2-8799-89b58d218255" providerId="ADAL" clId="{FCBD5683-BE61-41A3-82A3-992D8F76D308}" dt="2022-04-07T19:08:07.257" v="402"/>
          <ac:spMkLst>
            <pc:docMk/>
            <pc:sldMk cId="835017689" sldId="2134803563"/>
            <ac:spMk id="1696" creationId="{00000000-0000-0000-0000-000000000000}"/>
          </ac:spMkLst>
        </pc:spChg>
        <pc:spChg chg="mod">
          <ac:chgData name="Kebba Jeng" userId="fe4cc296-ba7d-48a2-8799-89b58d218255" providerId="ADAL" clId="{FCBD5683-BE61-41A3-82A3-992D8F76D308}" dt="2022-04-01T17:29:36.916" v="212" actId="14100"/>
          <ac:spMkLst>
            <pc:docMk/>
            <pc:sldMk cId="835017689" sldId="2134803563"/>
            <ac:spMk id="1697" creationId="{00000000-0000-0000-0000-000000000000}"/>
          </ac:spMkLst>
        </pc:spChg>
      </pc:sldChg>
      <pc:sldChg chg="addSp delSp modSp add mod modNotesTx">
        <pc:chgData name="Kebba Jeng" userId="fe4cc296-ba7d-48a2-8799-89b58d218255" providerId="ADAL" clId="{FCBD5683-BE61-41A3-82A3-992D8F76D308}" dt="2022-04-08T06:32:32.297" v="455" actId="478"/>
        <pc:sldMkLst>
          <pc:docMk/>
          <pc:sldMk cId="3759988855" sldId="2134803564"/>
        </pc:sldMkLst>
        <pc:spChg chg="add del mod">
          <ac:chgData name="Kebba Jeng" userId="fe4cc296-ba7d-48a2-8799-89b58d218255" providerId="ADAL" clId="{FCBD5683-BE61-41A3-82A3-992D8F76D308}" dt="2022-04-08T06:32:20.042" v="450"/>
          <ac:spMkLst>
            <pc:docMk/>
            <pc:sldMk cId="3759988855" sldId="2134803564"/>
            <ac:spMk id="11" creationId="{D4C67965-0BB7-4F90-B7FB-EF39328A4220}"/>
          </ac:spMkLst>
        </pc:spChg>
        <pc:spChg chg="add del mod">
          <ac:chgData name="Kebba Jeng" userId="fe4cc296-ba7d-48a2-8799-89b58d218255" providerId="ADAL" clId="{FCBD5683-BE61-41A3-82A3-992D8F76D308}" dt="2022-04-08T06:32:20.042" v="450"/>
          <ac:spMkLst>
            <pc:docMk/>
            <pc:sldMk cId="3759988855" sldId="2134803564"/>
            <ac:spMk id="12" creationId="{366822C0-E8E0-4413-9C8B-E5AC3D20FB65}"/>
          </ac:spMkLst>
        </pc:spChg>
        <pc:spChg chg="add del mod">
          <ac:chgData name="Kebba Jeng" userId="fe4cc296-ba7d-48a2-8799-89b58d218255" providerId="ADAL" clId="{FCBD5683-BE61-41A3-82A3-992D8F76D308}" dt="2022-04-08T06:32:20.042" v="450"/>
          <ac:spMkLst>
            <pc:docMk/>
            <pc:sldMk cId="3759988855" sldId="2134803564"/>
            <ac:spMk id="13" creationId="{5939939F-538D-438C-B79E-2622FE5401F4}"/>
          </ac:spMkLst>
        </pc:spChg>
        <pc:spChg chg="add del mod">
          <ac:chgData name="Kebba Jeng" userId="fe4cc296-ba7d-48a2-8799-89b58d218255" providerId="ADAL" clId="{FCBD5683-BE61-41A3-82A3-992D8F76D308}" dt="2022-04-08T06:32:20.042" v="450"/>
          <ac:spMkLst>
            <pc:docMk/>
            <pc:sldMk cId="3759988855" sldId="2134803564"/>
            <ac:spMk id="14" creationId="{0EA45207-D292-43FB-BC4F-45E178667B88}"/>
          </ac:spMkLst>
        </pc:spChg>
        <pc:spChg chg="add del mod">
          <ac:chgData name="Kebba Jeng" userId="fe4cc296-ba7d-48a2-8799-89b58d218255" providerId="ADAL" clId="{FCBD5683-BE61-41A3-82A3-992D8F76D308}" dt="2022-04-08T06:32:20.042" v="450"/>
          <ac:spMkLst>
            <pc:docMk/>
            <pc:sldMk cId="3759988855" sldId="2134803564"/>
            <ac:spMk id="15" creationId="{3DD326D8-2033-4C35-9C91-DEE32F208D12}"/>
          </ac:spMkLst>
        </pc:spChg>
        <pc:spChg chg="add del mod">
          <ac:chgData name="Kebba Jeng" userId="fe4cc296-ba7d-48a2-8799-89b58d218255" providerId="ADAL" clId="{FCBD5683-BE61-41A3-82A3-992D8F76D308}" dt="2022-04-08T06:32:20.042" v="450"/>
          <ac:spMkLst>
            <pc:docMk/>
            <pc:sldMk cId="3759988855" sldId="2134803564"/>
            <ac:spMk id="16" creationId="{C3A2E924-370F-4D09-A056-1906B908C2C1}"/>
          </ac:spMkLst>
        </pc:spChg>
        <pc:spChg chg="add del mod">
          <ac:chgData name="Kebba Jeng" userId="fe4cc296-ba7d-48a2-8799-89b58d218255" providerId="ADAL" clId="{FCBD5683-BE61-41A3-82A3-992D8F76D308}" dt="2022-04-08T06:32:20.042" v="450"/>
          <ac:spMkLst>
            <pc:docMk/>
            <pc:sldMk cId="3759988855" sldId="2134803564"/>
            <ac:spMk id="17" creationId="{ACA9EAE4-C04C-4464-AF68-297A464A7B97}"/>
          </ac:spMkLst>
        </pc:spChg>
        <pc:spChg chg="add del mod">
          <ac:chgData name="Kebba Jeng" userId="fe4cc296-ba7d-48a2-8799-89b58d218255" providerId="ADAL" clId="{FCBD5683-BE61-41A3-82A3-992D8F76D308}" dt="2022-04-08T06:32:20.042" v="450"/>
          <ac:spMkLst>
            <pc:docMk/>
            <pc:sldMk cId="3759988855" sldId="2134803564"/>
            <ac:spMk id="18" creationId="{31854226-525B-4C0E-BE23-59C20CEFB941}"/>
          </ac:spMkLst>
        </pc:spChg>
        <pc:spChg chg="add del mod">
          <ac:chgData name="Kebba Jeng" userId="fe4cc296-ba7d-48a2-8799-89b58d218255" providerId="ADAL" clId="{FCBD5683-BE61-41A3-82A3-992D8F76D308}" dt="2022-04-08T06:32:20.042" v="450"/>
          <ac:spMkLst>
            <pc:docMk/>
            <pc:sldMk cId="3759988855" sldId="2134803564"/>
            <ac:spMk id="19" creationId="{58604354-8263-4827-82B5-3CED15ABB7CD}"/>
          </ac:spMkLst>
        </pc:spChg>
        <pc:spChg chg="add del mod">
          <ac:chgData name="Kebba Jeng" userId="fe4cc296-ba7d-48a2-8799-89b58d218255" providerId="ADAL" clId="{FCBD5683-BE61-41A3-82A3-992D8F76D308}" dt="2022-04-08T06:32:20.042" v="450"/>
          <ac:spMkLst>
            <pc:docMk/>
            <pc:sldMk cId="3759988855" sldId="2134803564"/>
            <ac:spMk id="20" creationId="{8C7563BF-94F4-4E98-BEB2-2CAF92E0844F}"/>
          </ac:spMkLst>
        </pc:spChg>
        <pc:spChg chg="add del mod">
          <ac:chgData name="Kebba Jeng" userId="fe4cc296-ba7d-48a2-8799-89b58d218255" providerId="ADAL" clId="{FCBD5683-BE61-41A3-82A3-992D8F76D308}" dt="2022-04-08T06:32:20.042" v="450"/>
          <ac:spMkLst>
            <pc:docMk/>
            <pc:sldMk cId="3759988855" sldId="2134803564"/>
            <ac:spMk id="21" creationId="{3F1522A1-0366-497C-95E2-D48329350FA0}"/>
          </ac:spMkLst>
        </pc:spChg>
        <pc:spChg chg="add del mod">
          <ac:chgData name="Kebba Jeng" userId="fe4cc296-ba7d-48a2-8799-89b58d218255" providerId="ADAL" clId="{FCBD5683-BE61-41A3-82A3-992D8F76D308}" dt="2022-04-08T06:32:20.042" v="450"/>
          <ac:spMkLst>
            <pc:docMk/>
            <pc:sldMk cId="3759988855" sldId="2134803564"/>
            <ac:spMk id="22" creationId="{ECEC1D3A-CE7A-4F16-B74D-B852389918DF}"/>
          </ac:spMkLst>
        </pc:spChg>
        <pc:spChg chg="add del mod">
          <ac:chgData name="Kebba Jeng" userId="fe4cc296-ba7d-48a2-8799-89b58d218255" providerId="ADAL" clId="{FCBD5683-BE61-41A3-82A3-992D8F76D308}" dt="2022-04-08T06:32:20.042" v="450"/>
          <ac:spMkLst>
            <pc:docMk/>
            <pc:sldMk cId="3759988855" sldId="2134803564"/>
            <ac:spMk id="23" creationId="{8782BCF3-F267-4BCE-904F-253B44FA5BFD}"/>
          </ac:spMkLst>
        </pc:spChg>
        <pc:spChg chg="add del mod">
          <ac:chgData name="Kebba Jeng" userId="fe4cc296-ba7d-48a2-8799-89b58d218255" providerId="ADAL" clId="{FCBD5683-BE61-41A3-82A3-992D8F76D308}" dt="2022-04-08T06:32:20.042" v="450"/>
          <ac:spMkLst>
            <pc:docMk/>
            <pc:sldMk cId="3759988855" sldId="2134803564"/>
            <ac:spMk id="24" creationId="{C1D15892-1853-4977-B589-BC3CB85D36A7}"/>
          </ac:spMkLst>
        </pc:spChg>
        <pc:spChg chg="add del mod">
          <ac:chgData name="Kebba Jeng" userId="fe4cc296-ba7d-48a2-8799-89b58d218255" providerId="ADAL" clId="{FCBD5683-BE61-41A3-82A3-992D8F76D308}" dt="2022-04-08T06:32:20.042" v="450"/>
          <ac:spMkLst>
            <pc:docMk/>
            <pc:sldMk cId="3759988855" sldId="2134803564"/>
            <ac:spMk id="25" creationId="{44956FB7-1300-46B8-88A2-CAA2368BF380}"/>
          </ac:spMkLst>
        </pc:spChg>
        <pc:spChg chg="add del mod">
          <ac:chgData name="Kebba Jeng" userId="fe4cc296-ba7d-48a2-8799-89b58d218255" providerId="ADAL" clId="{FCBD5683-BE61-41A3-82A3-992D8F76D308}" dt="2022-04-08T06:32:20.042" v="450"/>
          <ac:spMkLst>
            <pc:docMk/>
            <pc:sldMk cId="3759988855" sldId="2134803564"/>
            <ac:spMk id="26" creationId="{BEED977A-8AC7-4E23-AD1C-B55A1143B5A8}"/>
          </ac:spMkLst>
        </pc:spChg>
        <pc:spChg chg="add del mod">
          <ac:chgData name="Kebba Jeng" userId="fe4cc296-ba7d-48a2-8799-89b58d218255" providerId="ADAL" clId="{FCBD5683-BE61-41A3-82A3-992D8F76D308}" dt="2022-04-08T06:32:20.042" v="450"/>
          <ac:spMkLst>
            <pc:docMk/>
            <pc:sldMk cId="3759988855" sldId="2134803564"/>
            <ac:spMk id="27" creationId="{CAC10599-F0DD-4789-A89F-2FE32EF0305F}"/>
          </ac:spMkLst>
        </pc:spChg>
        <pc:spChg chg="add del mod">
          <ac:chgData name="Kebba Jeng" userId="fe4cc296-ba7d-48a2-8799-89b58d218255" providerId="ADAL" clId="{FCBD5683-BE61-41A3-82A3-992D8F76D308}" dt="2022-04-08T06:32:20.042" v="450"/>
          <ac:spMkLst>
            <pc:docMk/>
            <pc:sldMk cId="3759988855" sldId="2134803564"/>
            <ac:spMk id="28" creationId="{D6239C21-7D4E-4CAB-9EE1-BD966273E0D8}"/>
          </ac:spMkLst>
        </pc:spChg>
        <pc:spChg chg="add del mod">
          <ac:chgData name="Kebba Jeng" userId="fe4cc296-ba7d-48a2-8799-89b58d218255" providerId="ADAL" clId="{FCBD5683-BE61-41A3-82A3-992D8F76D308}" dt="2022-04-08T06:32:20.042" v="450"/>
          <ac:spMkLst>
            <pc:docMk/>
            <pc:sldMk cId="3759988855" sldId="2134803564"/>
            <ac:spMk id="29" creationId="{943AF9CF-8D07-40D8-97BF-EFA385DF08D1}"/>
          </ac:spMkLst>
        </pc:spChg>
        <pc:spChg chg="add del mod">
          <ac:chgData name="Kebba Jeng" userId="fe4cc296-ba7d-48a2-8799-89b58d218255" providerId="ADAL" clId="{FCBD5683-BE61-41A3-82A3-992D8F76D308}" dt="2022-04-08T06:32:20.042" v="450"/>
          <ac:spMkLst>
            <pc:docMk/>
            <pc:sldMk cId="3759988855" sldId="2134803564"/>
            <ac:spMk id="30" creationId="{636EA5A9-84AF-4918-A774-0CF9C0B0B19A}"/>
          </ac:spMkLst>
        </pc:spChg>
        <pc:spChg chg="add del mod">
          <ac:chgData name="Kebba Jeng" userId="fe4cc296-ba7d-48a2-8799-89b58d218255" providerId="ADAL" clId="{FCBD5683-BE61-41A3-82A3-992D8F76D308}" dt="2022-04-08T06:32:20.042" v="450"/>
          <ac:spMkLst>
            <pc:docMk/>
            <pc:sldMk cId="3759988855" sldId="2134803564"/>
            <ac:spMk id="31" creationId="{AE8AF796-026F-48B4-B916-083470564316}"/>
          </ac:spMkLst>
        </pc:spChg>
        <pc:spChg chg="add del mod">
          <ac:chgData name="Kebba Jeng" userId="fe4cc296-ba7d-48a2-8799-89b58d218255" providerId="ADAL" clId="{FCBD5683-BE61-41A3-82A3-992D8F76D308}" dt="2022-04-08T06:32:20.042" v="450"/>
          <ac:spMkLst>
            <pc:docMk/>
            <pc:sldMk cId="3759988855" sldId="2134803564"/>
            <ac:spMk id="32" creationId="{BF319782-4C12-4E24-BC6B-24AED57625DE}"/>
          </ac:spMkLst>
        </pc:spChg>
        <pc:spChg chg="add del mod">
          <ac:chgData name="Kebba Jeng" userId="fe4cc296-ba7d-48a2-8799-89b58d218255" providerId="ADAL" clId="{FCBD5683-BE61-41A3-82A3-992D8F76D308}" dt="2022-04-08T06:32:20.042" v="450"/>
          <ac:spMkLst>
            <pc:docMk/>
            <pc:sldMk cId="3759988855" sldId="2134803564"/>
            <ac:spMk id="33" creationId="{C293FC9E-DE88-4DF3-AC8B-5DD8BB1FC959}"/>
          </ac:spMkLst>
        </pc:spChg>
        <pc:spChg chg="add del mod">
          <ac:chgData name="Kebba Jeng" userId="fe4cc296-ba7d-48a2-8799-89b58d218255" providerId="ADAL" clId="{FCBD5683-BE61-41A3-82A3-992D8F76D308}" dt="2022-04-08T06:32:20.042" v="450"/>
          <ac:spMkLst>
            <pc:docMk/>
            <pc:sldMk cId="3759988855" sldId="2134803564"/>
            <ac:spMk id="34" creationId="{6142960F-86EC-41BF-844A-FC253A9A2675}"/>
          </ac:spMkLst>
        </pc:spChg>
        <pc:spChg chg="add del mod">
          <ac:chgData name="Kebba Jeng" userId="fe4cc296-ba7d-48a2-8799-89b58d218255" providerId="ADAL" clId="{FCBD5683-BE61-41A3-82A3-992D8F76D308}" dt="2022-04-08T06:32:20.042" v="450"/>
          <ac:spMkLst>
            <pc:docMk/>
            <pc:sldMk cId="3759988855" sldId="2134803564"/>
            <ac:spMk id="35" creationId="{E1D0D05D-80A7-484D-8B3E-CE49DDE9DDC5}"/>
          </ac:spMkLst>
        </pc:spChg>
        <pc:spChg chg="add del mod">
          <ac:chgData name="Kebba Jeng" userId="fe4cc296-ba7d-48a2-8799-89b58d218255" providerId="ADAL" clId="{FCBD5683-BE61-41A3-82A3-992D8F76D308}" dt="2022-04-08T06:32:20.042" v="450"/>
          <ac:spMkLst>
            <pc:docMk/>
            <pc:sldMk cId="3759988855" sldId="2134803564"/>
            <ac:spMk id="36" creationId="{E90A5099-EED7-4D4E-934B-44BA6BF9A0CF}"/>
          </ac:spMkLst>
        </pc:spChg>
        <pc:spChg chg="add del mod">
          <ac:chgData name="Kebba Jeng" userId="fe4cc296-ba7d-48a2-8799-89b58d218255" providerId="ADAL" clId="{FCBD5683-BE61-41A3-82A3-992D8F76D308}" dt="2022-04-08T06:32:20.042" v="450"/>
          <ac:spMkLst>
            <pc:docMk/>
            <pc:sldMk cId="3759988855" sldId="2134803564"/>
            <ac:spMk id="37" creationId="{3560A1ED-1D81-47AB-99F2-6813B85A5425}"/>
          </ac:spMkLst>
        </pc:spChg>
        <pc:spChg chg="add del mod">
          <ac:chgData name="Kebba Jeng" userId="fe4cc296-ba7d-48a2-8799-89b58d218255" providerId="ADAL" clId="{FCBD5683-BE61-41A3-82A3-992D8F76D308}" dt="2022-04-08T06:32:20.042" v="450"/>
          <ac:spMkLst>
            <pc:docMk/>
            <pc:sldMk cId="3759988855" sldId="2134803564"/>
            <ac:spMk id="38" creationId="{952DBBCC-9016-434E-816F-519A5640DA04}"/>
          </ac:spMkLst>
        </pc:spChg>
        <pc:spChg chg="add del mod">
          <ac:chgData name="Kebba Jeng" userId="fe4cc296-ba7d-48a2-8799-89b58d218255" providerId="ADAL" clId="{FCBD5683-BE61-41A3-82A3-992D8F76D308}" dt="2022-04-08T06:32:20.042" v="450"/>
          <ac:spMkLst>
            <pc:docMk/>
            <pc:sldMk cId="3759988855" sldId="2134803564"/>
            <ac:spMk id="39" creationId="{006FC9EA-D522-4374-B7D7-34AFBBE4DE11}"/>
          </ac:spMkLst>
        </pc:spChg>
        <pc:spChg chg="add del mod">
          <ac:chgData name="Kebba Jeng" userId="fe4cc296-ba7d-48a2-8799-89b58d218255" providerId="ADAL" clId="{FCBD5683-BE61-41A3-82A3-992D8F76D308}" dt="2022-04-08T06:32:20.042" v="450"/>
          <ac:spMkLst>
            <pc:docMk/>
            <pc:sldMk cId="3759988855" sldId="2134803564"/>
            <ac:spMk id="40" creationId="{A8B65701-08EE-417B-BD3C-B3B7DDA23890}"/>
          </ac:spMkLst>
        </pc:spChg>
        <pc:spChg chg="add del mod">
          <ac:chgData name="Kebba Jeng" userId="fe4cc296-ba7d-48a2-8799-89b58d218255" providerId="ADAL" clId="{FCBD5683-BE61-41A3-82A3-992D8F76D308}" dt="2022-04-08T06:32:20.042" v="450"/>
          <ac:spMkLst>
            <pc:docMk/>
            <pc:sldMk cId="3759988855" sldId="2134803564"/>
            <ac:spMk id="41" creationId="{66E720D5-1A80-4C50-9FDA-5685F7B8B50F}"/>
          </ac:spMkLst>
        </pc:spChg>
        <pc:spChg chg="add del mod">
          <ac:chgData name="Kebba Jeng" userId="fe4cc296-ba7d-48a2-8799-89b58d218255" providerId="ADAL" clId="{FCBD5683-BE61-41A3-82A3-992D8F76D308}" dt="2022-04-08T06:32:20.042" v="450"/>
          <ac:spMkLst>
            <pc:docMk/>
            <pc:sldMk cId="3759988855" sldId="2134803564"/>
            <ac:spMk id="42" creationId="{D3FE9CA6-A55A-4574-B73C-EC646757366F}"/>
          </ac:spMkLst>
        </pc:spChg>
        <pc:spChg chg="add del mod">
          <ac:chgData name="Kebba Jeng" userId="fe4cc296-ba7d-48a2-8799-89b58d218255" providerId="ADAL" clId="{FCBD5683-BE61-41A3-82A3-992D8F76D308}" dt="2022-04-08T06:32:20.042" v="450"/>
          <ac:spMkLst>
            <pc:docMk/>
            <pc:sldMk cId="3759988855" sldId="2134803564"/>
            <ac:spMk id="43" creationId="{A3D91119-CF90-441E-B0FA-7D372D94B5F5}"/>
          </ac:spMkLst>
        </pc:spChg>
        <pc:spChg chg="add del mod">
          <ac:chgData name="Kebba Jeng" userId="fe4cc296-ba7d-48a2-8799-89b58d218255" providerId="ADAL" clId="{FCBD5683-BE61-41A3-82A3-992D8F76D308}" dt="2022-04-08T06:32:20.042" v="450"/>
          <ac:spMkLst>
            <pc:docMk/>
            <pc:sldMk cId="3759988855" sldId="2134803564"/>
            <ac:spMk id="44" creationId="{2A8A3106-411B-4614-8485-C6A9CE1E97FE}"/>
          </ac:spMkLst>
        </pc:spChg>
        <pc:spChg chg="add del mod">
          <ac:chgData name="Kebba Jeng" userId="fe4cc296-ba7d-48a2-8799-89b58d218255" providerId="ADAL" clId="{FCBD5683-BE61-41A3-82A3-992D8F76D308}" dt="2022-04-08T06:32:20.042" v="450"/>
          <ac:spMkLst>
            <pc:docMk/>
            <pc:sldMk cId="3759988855" sldId="2134803564"/>
            <ac:spMk id="45" creationId="{8B62AFAA-5521-412C-974F-2868EB82C060}"/>
          </ac:spMkLst>
        </pc:spChg>
        <pc:spChg chg="add del mod">
          <ac:chgData name="Kebba Jeng" userId="fe4cc296-ba7d-48a2-8799-89b58d218255" providerId="ADAL" clId="{FCBD5683-BE61-41A3-82A3-992D8F76D308}" dt="2022-04-08T06:32:20.042" v="450"/>
          <ac:spMkLst>
            <pc:docMk/>
            <pc:sldMk cId="3759988855" sldId="2134803564"/>
            <ac:spMk id="46" creationId="{4B6FCAE5-AC05-4089-AE8B-ABD9ACE7AE95}"/>
          </ac:spMkLst>
        </pc:spChg>
        <pc:spChg chg="add del mod">
          <ac:chgData name="Kebba Jeng" userId="fe4cc296-ba7d-48a2-8799-89b58d218255" providerId="ADAL" clId="{FCBD5683-BE61-41A3-82A3-992D8F76D308}" dt="2022-04-08T06:32:20.042" v="450"/>
          <ac:spMkLst>
            <pc:docMk/>
            <pc:sldMk cId="3759988855" sldId="2134803564"/>
            <ac:spMk id="47" creationId="{BB8DBF30-999B-47B4-A208-82A51382C609}"/>
          </ac:spMkLst>
        </pc:spChg>
        <pc:spChg chg="add del mod">
          <ac:chgData name="Kebba Jeng" userId="fe4cc296-ba7d-48a2-8799-89b58d218255" providerId="ADAL" clId="{FCBD5683-BE61-41A3-82A3-992D8F76D308}" dt="2022-04-08T06:32:20.042" v="450"/>
          <ac:spMkLst>
            <pc:docMk/>
            <pc:sldMk cId="3759988855" sldId="2134803564"/>
            <ac:spMk id="48" creationId="{7391F18D-C255-4382-9085-CD4ED754B1CE}"/>
          </ac:spMkLst>
        </pc:spChg>
        <pc:spChg chg="add del mod">
          <ac:chgData name="Kebba Jeng" userId="fe4cc296-ba7d-48a2-8799-89b58d218255" providerId="ADAL" clId="{FCBD5683-BE61-41A3-82A3-992D8F76D308}" dt="2022-04-08T06:32:20.042" v="450"/>
          <ac:spMkLst>
            <pc:docMk/>
            <pc:sldMk cId="3759988855" sldId="2134803564"/>
            <ac:spMk id="49" creationId="{D64DAD7D-9605-4C66-9A2C-3428C64C04D6}"/>
          </ac:spMkLst>
        </pc:spChg>
        <pc:spChg chg="add del mod">
          <ac:chgData name="Kebba Jeng" userId="fe4cc296-ba7d-48a2-8799-89b58d218255" providerId="ADAL" clId="{FCBD5683-BE61-41A3-82A3-992D8F76D308}" dt="2022-04-08T06:32:20.042" v="450"/>
          <ac:spMkLst>
            <pc:docMk/>
            <pc:sldMk cId="3759988855" sldId="2134803564"/>
            <ac:spMk id="50" creationId="{1786EDEB-8DF9-454D-904B-1B98B2C01016}"/>
          </ac:spMkLst>
        </pc:spChg>
        <pc:spChg chg="add del mod">
          <ac:chgData name="Kebba Jeng" userId="fe4cc296-ba7d-48a2-8799-89b58d218255" providerId="ADAL" clId="{FCBD5683-BE61-41A3-82A3-992D8F76D308}" dt="2022-04-08T06:32:20.042" v="450"/>
          <ac:spMkLst>
            <pc:docMk/>
            <pc:sldMk cId="3759988855" sldId="2134803564"/>
            <ac:spMk id="51" creationId="{902E3DE9-BFE5-4013-9F38-52327776410C}"/>
          </ac:spMkLst>
        </pc:spChg>
        <pc:spChg chg="add del mod">
          <ac:chgData name="Kebba Jeng" userId="fe4cc296-ba7d-48a2-8799-89b58d218255" providerId="ADAL" clId="{FCBD5683-BE61-41A3-82A3-992D8F76D308}" dt="2022-04-08T06:32:20.042" v="450"/>
          <ac:spMkLst>
            <pc:docMk/>
            <pc:sldMk cId="3759988855" sldId="2134803564"/>
            <ac:spMk id="52" creationId="{6CE232C5-65CA-465A-B534-5C31EFA850ED}"/>
          </ac:spMkLst>
        </pc:spChg>
        <pc:spChg chg="add del mod">
          <ac:chgData name="Kebba Jeng" userId="fe4cc296-ba7d-48a2-8799-89b58d218255" providerId="ADAL" clId="{FCBD5683-BE61-41A3-82A3-992D8F76D308}" dt="2022-04-08T06:32:20.042" v="450"/>
          <ac:spMkLst>
            <pc:docMk/>
            <pc:sldMk cId="3759988855" sldId="2134803564"/>
            <ac:spMk id="53" creationId="{56383CC9-4BF0-4825-9340-C89B79040965}"/>
          </ac:spMkLst>
        </pc:spChg>
        <pc:spChg chg="add del mod">
          <ac:chgData name="Kebba Jeng" userId="fe4cc296-ba7d-48a2-8799-89b58d218255" providerId="ADAL" clId="{FCBD5683-BE61-41A3-82A3-992D8F76D308}" dt="2022-04-08T06:32:20.042" v="450"/>
          <ac:spMkLst>
            <pc:docMk/>
            <pc:sldMk cId="3759988855" sldId="2134803564"/>
            <ac:spMk id="54" creationId="{F6AFCF84-87A5-4552-8521-348B66002FD1}"/>
          </ac:spMkLst>
        </pc:spChg>
        <pc:spChg chg="add del mod">
          <ac:chgData name="Kebba Jeng" userId="fe4cc296-ba7d-48a2-8799-89b58d218255" providerId="ADAL" clId="{FCBD5683-BE61-41A3-82A3-992D8F76D308}" dt="2022-04-08T06:32:20.042" v="450"/>
          <ac:spMkLst>
            <pc:docMk/>
            <pc:sldMk cId="3759988855" sldId="2134803564"/>
            <ac:spMk id="55" creationId="{0DB535FE-9259-41E1-809A-28F8FBA07074}"/>
          </ac:spMkLst>
        </pc:spChg>
        <pc:spChg chg="add del mod">
          <ac:chgData name="Kebba Jeng" userId="fe4cc296-ba7d-48a2-8799-89b58d218255" providerId="ADAL" clId="{FCBD5683-BE61-41A3-82A3-992D8F76D308}" dt="2022-04-08T06:32:20.042" v="450"/>
          <ac:spMkLst>
            <pc:docMk/>
            <pc:sldMk cId="3759988855" sldId="2134803564"/>
            <ac:spMk id="56" creationId="{8B9681E4-8D8D-497F-A051-1814AD4DCD30}"/>
          </ac:spMkLst>
        </pc:spChg>
        <pc:spChg chg="add del mod">
          <ac:chgData name="Kebba Jeng" userId="fe4cc296-ba7d-48a2-8799-89b58d218255" providerId="ADAL" clId="{FCBD5683-BE61-41A3-82A3-992D8F76D308}" dt="2022-04-08T06:32:20.042" v="450"/>
          <ac:spMkLst>
            <pc:docMk/>
            <pc:sldMk cId="3759988855" sldId="2134803564"/>
            <ac:spMk id="57" creationId="{C7FF93AA-8232-452F-BDA3-994277F68BB4}"/>
          </ac:spMkLst>
        </pc:spChg>
        <pc:spChg chg="add del mod">
          <ac:chgData name="Kebba Jeng" userId="fe4cc296-ba7d-48a2-8799-89b58d218255" providerId="ADAL" clId="{FCBD5683-BE61-41A3-82A3-992D8F76D308}" dt="2022-04-08T06:32:20.042" v="450"/>
          <ac:spMkLst>
            <pc:docMk/>
            <pc:sldMk cId="3759988855" sldId="2134803564"/>
            <ac:spMk id="58" creationId="{BD7FB71B-784D-4248-86C4-3A78C69D28A0}"/>
          </ac:spMkLst>
        </pc:spChg>
        <pc:spChg chg="add del mod">
          <ac:chgData name="Kebba Jeng" userId="fe4cc296-ba7d-48a2-8799-89b58d218255" providerId="ADAL" clId="{FCBD5683-BE61-41A3-82A3-992D8F76D308}" dt="2022-04-08T06:32:20.042" v="450"/>
          <ac:spMkLst>
            <pc:docMk/>
            <pc:sldMk cId="3759988855" sldId="2134803564"/>
            <ac:spMk id="59" creationId="{EB3D02FE-EECA-42F4-90C2-C35CBEBDBABB}"/>
          </ac:spMkLst>
        </pc:spChg>
        <pc:spChg chg="add del mod">
          <ac:chgData name="Kebba Jeng" userId="fe4cc296-ba7d-48a2-8799-89b58d218255" providerId="ADAL" clId="{FCBD5683-BE61-41A3-82A3-992D8F76D308}" dt="2022-04-08T06:32:20.042" v="450"/>
          <ac:spMkLst>
            <pc:docMk/>
            <pc:sldMk cId="3759988855" sldId="2134803564"/>
            <ac:spMk id="60" creationId="{EB954A2B-45E8-483A-8E86-888E427FFA01}"/>
          </ac:spMkLst>
        </pc:spChg>
        <pc:spChg chg="add del mod">
          <ac:chgData name="Kebba Jeng" userId="fe4cc296-ba7d-48a2-8799-89b58d218255" providerId="ADAL" clId="{FCBD5683-BE61-41A3-82A3-992D8F76D308}" dt="2022-04-08T06:32:20.042" v="450"/>
          <ac:spMkLst>
            <pc:docMk/>
            <pc:sldMk cId="3759988855" sldId="2134803564"/>
            <ac:spMk id="61" creationId="{DE4CC408-DCCF-47F6-9DA7-8FE8D00034EB}"/>
          </ac:spMkLst>
        </pc:spChg>
        <pc:spChg chg="add del mod">
          <ac:chgData name="Kebba Jeng" userId="fe4cc296-ba7d-48a2-8799-89b58d218255" providerId="ADAL" clId="{FCBD5683-BE61-41A3-82A3-992D8F76D308}" dt="2022-04-08T06:32:20.042" v="450"/>
          <ac:spMkLst>
            <pc:docMk/>
            <pc:sldMk cId="3759988855" sldId="2134803564"/>
            <ac:spMk id="62" creationId="{C0F7FCEC-39A3-431D-A3B9-C9614219ED81}"/>
          </ac:spMkLst>
        </pc:spChg>
        <pc:spChg chg="add del mod">
          <ac:chgData name="Kebba Jeng" userId="fe4cc296-ba7d-48a2-8799-89b58d218255" providerId="ADAL" clId="{FCBD5683-BE61-41A3-82A3-992D8F76D308}" dt="2022-04-08T06:32:20.042" v="450"/>
          <ac:spMkLst>
            <pc:docMk/>
            <pc:sldMk cId="3759988855" sldId="2134803564"/>
            <ac:spMk id="63" creationId="{8589E774-EF7E-4095-A158-362DACFD31DF}"/>
          </ac:spMkLst>
        </pc:spChg>
        <pc:spChg chg="add del mod">
          <ac:chgData name="Kebba Jeng" userId="fe4cc296-ba7d-48a2-8799-89b58d218255" providerId="ADAL" clId="{FCBD5683-BE61-41A3-82A3-992D8F76D308}" dt="2022-04-08T06:32:20.042" v="450"/>
          <ac:spMkLst>
            <pc:docMk/>
            <pc:sldMk cId="3759988855" sldId="2134803564"/>
            <ac:spMk id="64" creationId="{879D1987-2241-473E-BF9D-0A3D91409CFC}"/>
          </ac:spMkLst>
        </pc:spChg>
        <pc:spChg chg="add del mod">
          <ac:chgData name="Kebba Jeng" userId="fe4cc296-ba7d-48a2-8799-89b58d218255" providerId="ADAL" clId="{FCBD5683-BE61-41A3-82A3-992D8F76D308}" dt="2022-04-08T06:32:20.042" v="450"/>
          <ac:spMkLst>
            <pc:docMk/>
            <pc:sldMk cId="3759988855" sldId="2134803564"/>
            <ac:spMk id="65" creationId="{EF3B3E02-4AFF-4C1B-BA92-D318B2D77505}"/>
          </ac:spMkLst>
        </pc:spChg>
        <pc:spChg chg="add del mod">
          <ac:chgData name="Kebba Jeng" userId="fe4cc296-ba7d-48a2-8799-89b58d218255" providerId="ADAL" clId="{FCBD5683-BE61-41A3-82A3-992D8F76D308}" dt="2022-04-08T06:32:20.042" v="450"/>
          <ac:spMkLst>
            <pc:docMk/>
            <pc:sldMk cId="3759988855" sldId="2134803564"/>
            <ac:spMk id="66" creationId="{8C6FFDA4-CC49-4FE5-8F6F-27E26321B220}"/>
          </ac:spMkLst>
        </pc:spChg>
        <pc:spChg chg="add del mod">
          <ac:chgData name="Kebba Jeng" userId="fe4cc296-ba7d-48a2-8799-89b58d218255" providerId="ADAL" clId="{FCBD5683-BE61-41A3-82A3-992D8F76D308}" dt="2022-04-08T06:32:20.042" v="450"/>
          <ac:spMkLst>
            <pc:docMk/>
            <pc:sldMk cId="3759988855" sldId="2134803564"/>
            <ac:spMk id="67" creationId="{4F9B1879-7891-4369-9D3A-564AD1D1F8CB}"/>
          </ac:spMkLst>
        </pc:spChg>
        <pc:spChg chg="add del mod">
          <ac:chgData name="Kebba Jeng" userId="fe4cc296-ba7d-48a2-8799-89b58d218255" providerId="ADAL" clId="{FCBD5683-BE61-41A3-82A3-992D8F76D308}" dt="2022-04-08T06:32:20.042" v="450"/>
          <ac:spMkLst>
            <pc:docMk/>
            <pc:sldMk cId="3759988855" sldId="2134803564"/>
            <ac:spMk id="68" creationId="{880FC328-D4E6-4101-BDD1-63CD8AFA9E60}"/>
          </ac:spMkLst>
        </pc:spChg>
        <pc:spChg chg="add del mod">
          <ac:chgData name="Kebba Jeng" userId="fe4cc296-ba7d-48a2-8799-89b58d218255" providerId="ADAL" clId="{FCBD5683-BE61-41A3-82A3-992D8F76D308}" dt="2022-04-08T06:32:20.042" v="450"/>
          <ac:spMkLst>
            <pc:docMk/>
            <pc:sldMk cId="3759988855" sldId="2134803564"/>
            <ac:spMk id="69" creationId="{6B23ACED-5D07-48E5-9EB0-CA971028CFA9}"/>
          </ac:spMkLst>
        </pc:spChg>
        <pc:spChg chg="add del mod">
          <ac:chgData name="Kebba Jeng" userId="fe4cc296-ba7d-48a2-8799-89b58d218255" providerId="ADAL" clId="{FCBD5683-BE61-41A3-82A3-992D8F76D308}" dt="2022-04-08T06:32:20.042" v="450"/>
          <ac:spMkLst>
            <pc:docMk/>
            <pc:sldMk cId="3759988855" sldId="2134803564"/>
            <ac:spMk id="70" creationId="{5F451185-9A69-49AF-B643-31880CA9437D}"/>
          </ac:spMkLst>
        </pc:spChg>
        <pc:spChg chg="add del mod">
          <ac:chgData name="Kebba Jeng" userId="fe4cc296-ba7d-48a2-8799-89b58d218255" providerId="ADAL" clId="{FCBD5683-BE61-41A3-82A3-992D8F76D308}" dt="2022-04-08T06:32:20.042" v="450"/>
          <ac:spMkLst>
            <pc:docMk/>
            <pc:sldMk cId="3759988855" sldId="2134803564"/>
            <ac:spMk id="71" creationId="{42D41C2F-03F4-4466-95B3-324C7D5657FE}"/>
          </ac:spMkLst>
        </pc:spChg>
        <pc:spChg chg="add del mod">
          <ac:chgData name="Kebba Jeng" userId="fe4cc296-ba7d-48a2-8799-89b58d218255" providerId="ADAL" clId="{FCBD5683-BE61-41A3-82A3-992D8F76D308}" dt="2022-04-08T06:32:20.042" v="450"/>
          <ac:spMkLst>
            <pc:docMk/>
            <pc:sldMk cId="3759988855" sldId="2134803564"/>
            <ac:spMk id="72" creationId="{C688FBD1-1835-4A30-8A3A-4342DBFB165D}"/>
          </ac:spMkLst>
        </pc:spChg>
        <pc:spChg chg="add del mod">
          <ac:chgData name="Kebba Jeng" userId="fe4cc296-ba7d-48a2-8799-89b58d218255" providerId="ADAL" clId="{FCBD5683-BE61-41A3-82A3-992D8F76D308}" dt="2022-04-08T06:32:20.042" v="450"/>
          <ac:spMkLst>
            <pc:docMk/>
            <pc:sldMk cId="3759988855" sldId="2134803564"/>
            <ac:spMk id="73" creationId="{4C99A7E1-FE11-4590-8E8F-2AC13CEF8623}"/>
          </ac:spMkLst>
        </pc:spChg>
        <pc:spChg chg="add del mod">
          <ac:chgData name="Kebba Jeng" userId="fe4cc296-ba7d-48a2-8799-89b58d218255" providerId="ADAL" clId="{FCBD5683-BE61-41A3-82A3-992D8F76D308}" dt="2022-04-08T06:32:20.042" v="450"/>
          <ac:spMkLst>
            <pc:docMk/>
            <pc:sldMk cId="3759988855" sldId="2134803564"/>
            <ac:spMk id="74" creationId="{C3821D0B-6ADE-4F2B-8561-30FC3C4935B5}"/>
          </ac:spMkLst>
        </pc:spChg>
        <pc:spChg chg="add del mod">
          <ac:chgData name="Kebba Jeng" userId="fe4cc296-ba7d-48a2-8799-89b58d218255" providerId="ADAL" clId="{FCBD5683-BE61-41A3-82A3-992D8F76D308}" dt="2022-04-08T06:32:20.042" v="450"/>
          <ac:spMkLst>
            <pc:docMk/>
            <pc:sldMk cId="3759988855" sldId="2134803564"/>
            <ac:spMk id="75" creationId="{6F023A15-3614-48D5-AC17-CD145FDF00DE}"/>
          </ac:spMkLst>
        </pc:spChg>
        <pc:spChg chg="add del mod">
          <ac:chgData name="Kebba Jeng" userId="fe4cc296-ba7d-48a2-8799-89b58d218255" providerId="ADAL" clId="{FCBD5683-BE61-41A3-82A3-992D8F76D308}" dt="2022-04-08T06:32:20.042" v="450"/>
          <ac:spMkLst>
            <pc:docMk/>
            <pc:sldMk cId="3759988855" sldId="2134803564"/>
            <ac:spMk id="76" creationId="{40C8D2FA-5F10-4EC3-B89F-090FCE63184A}"/>
          </ac:spMkLst>
        </pc:spChg>
        <pc:spChg chg="add del mod">
          <ac:chgData name="Kebba Jeng" userId="fe4cc296-ba7d-48a2-8799-89b58d218255" providerId="ADAL" clId="{FCBD5683-BE61-41A3-82A3-992D8F76D308}" dt="2022-04-08T06:32:20.042" v="450"/>
          <ac:spMkLst>
            <pc:docMk/>
            <pc:sldMk cId="3759988855" sldId="2134803564"/>
            <ac:spMk id="77" creationId="{33A4E481-F4F9-4608-93E0-2D7068529AFD}"/>
          </ac:spMkLst>
        </pc:spChg>
        <pc:spChg chg="add del mod">
          <ac:chgData name="Kebba Jeng" userId="fe4cc296-ba7d-48a2-8799-89b58d218255" providerId="ADAL" clId="{FCBD5683-BE61-41A3-82A3-992D8F76D308}" dt="2022-04-08T06:32:20.042" v="450"/>
          <ac:spMkLst>
            <pc:docMk/>
            <pc:sldMk cId="3759988855" sldId="2134803564"/>
            <ac:spMk id="78" creationId="{937FF5FA-6A9C-4BBF-A37A-3073E1577B43}"/>
          </ac:spMkLst>
        </pc:spChg>
        <pc:spChg chg="add del mod">
          <ac:chgData name="Kebba Jeng" userId="fe4cc296-ba7d-48a2-8799-89b58d218255" providerId="ADAL" clId="{FCBD5683-BE61-41A3-82A3-992D8F76D308}" dt="2022-04-08T06:32:20.042" v="450"/>
          <ac:spMkLst>
            <pc:docMk/>
            <pc:sldMk cId="3759988855" sldId="2134803564"/>
            <ac:spMk id="79" creationId="{4C3801DC-EB0A-4EDC-A43A-328BA687C049}"/>
          </ac:spMkLst>
        </pc:spChg>
        <pc:spChg chg="add del mod">
          <ac:chgData name="Kebba Jeng" userId="fe4cc296-ba7d-48a2-8799-89b58d218255" providerId="ADAL" clId="{FCBD5683-BE61-41A3-82A3-992D8F76D308}" dt="2022-04-08T06:32:20.042" v="450"/>
          <ac:spMkLst>
            <pc:docMk/>
            <pc:sldMk cId="3759988855" sldId="2134803564"/>
            <ac:spMk id="80" creationId="{9C07E084-550B-4446-89E7-39E864B6AA80}"/>
          </ac:spMkLst>
        </pc:spChg>
        <pc:spChg chg="add del mod">
          <ac:chgData name="Kebba Jeng" userId="fe4cc296-ba7d-48a2-8799-89b58d218255" providerId="ADAL" clId="{FCBD5683-BE61-41A3-82A3-992D8F76D308}" dt="2022-04-08T06:32:20.042" v="450"/>
          <ac:spMkLst>
            <pc:docMk/>
            <pc:sldMk cId="3759988855" sldId="2134803564"/>
            <ac:spMk id="81" creationId="{97D73984-FCB8-4E64-A385-8E69778F7558}"/>
          </ac:spMkLst>
        </pc:spChg>
        <pc:spChg chg="add del mod">
          <ac:chgData name="Kebba Jeng" userId="fe4cc296-ba7d-48a2-8799-89b58d218255" providerId="ADAL" clId="{FCBD5683-BE61-41A3-82A3-992D8F76D308}" dt="2022-04-08T06:32:20.042" v="450"/>
          <ac:spMkLst>
            <pc:docMk/>
            <pc:sldMk cId="3759988855" sldId="2134803564"/>
            <ac:spMk id="82" creationId="{60B73F75-061A-418F-AF83-B65542ED6EA4}"/>
          </ac:spMkLst>
        </pc:spChg>
        <pc:spChg chg="add del mod">
          <ac:chgData name="Kebba Jeng" userId="fe4cc296-ba7d-48a2-8799-89b58d218255" providerId="ADAL" clId="{FCBD5683-BE61-41A3-82A3-992D8F76D308}" dt="2022-04-08T06:32:20.042" v="450"/>
          <ac:spMkLst>
            <pc:docMk/>
            <pc:sldMk cId="3759988855" sldId="2134803564"/>
            <ac:spMk id="83" creationId="{89C013AA-F951-4EAC-9CC4-053A7A9FDF4E}"/>
          </ac:spMkLst>
        </pc:spChg>
        <pc:spChg chg="add del mod">
          <ac:chgData name="Kebba Jeng" userId="fe4cc296-ba7d-48a2-8799-89b58d218255" providerId="ADAL" clId="{FCBD5683-BE61-41A3-82A3-992D8F76D308}" dt="2022-04-08T06:32:20.042" v="450"/>
          <ac:spMkLst>
            <pc:docMk/>
            <pc:sldMk cId="3759988855" sldId="2134803564"/>
            <ac:spMk id="84" creationId="{06FC84A5-2CF1-4CE2-A30E-CF2F17BDA831}"/>
          </ac:spMkLst>
        </pc:spChg>
        <pc:spChg chg="add del mod">
          <ac:chgData name="Kebba Jeng" userId="fe4cc296-ba7d-48a2-8799-89b58d218255" providerId="ADAL" clId="{FCBD5683-BE61-41A3-82A3-992D8F76D308}" dt="2022-04-08T06:32:20.042" v="450"/>
          <ac:spMkLst>
            <pc:docMk/>
            <pc:sldMk cId="3759988855" sldId="2134803564"/>
            <ac:spMk id="85" creationId="{E351840B-0CF2-46F1-90B5-68F689E0A1E4}"/>
          </ac:spMkLst>
        </pc:spChg>
        <pc:spChg chg="add del mod">
          <ac:chgData name="Kebba Jeng" userId="fe4cc296-ba7d-48a2-8799-89b58d218255" providerId="ADAL" clId="{FCBD5683-BE61-41A3-82A3-992D8F76D308}" dt="2022-04-08T06:32:20.042" v="450"/>
          <ac:spMkLst>
            <pc:docMk/>
            <pc:sldMk cId="3759988855" sldId="2134803564"/>
            <ac:spMk id="86" creationId="{905170A4-F24F-4B5F-86A9-63233B3D335C}"/>
          </ac:spMkLst>
        </pc:spChg>
        <pc:spChg chg="add del mod">
          <ac:chgData name="Kebba Jeng" userId="fe4cc296-ba7d-48a2-8799-89b58d218255" providerId="ADAL" clId="{FCBD5683-BE61-41A3-82A3-992D8F76D308}" dt="2022-04-08T06:32:20.042" v="450"/>
          <ac:spMkLst>
            <pc:docMk/>
            <pc:sldMk cId="3759988855" sldId="2134803564"/>
            <ac:spMk id="87" creationId="{20BFEE47-6537-474F-87B6-1B8FC614F51D}"/>
          </ac:spMkLst>
        </pc:spChg>
        <pc:spChg chg="add del mod">
          <ac:chgData name="Kebba Jeng" userId="fe4cc296-ba7d-48a2-8799-89b58d218255" providerId="ADAL" clId="{FCBD5683-BE61-41A3-82A3-992D8F76D308}" dt="2022-04-08T06:32:20.042" v="450"/>
          <ac:spMkLst>
            <pc:docMk/>
            <pc:sldMk cId="3759988855" sldId="2134803564"/>
            <ac:spMk id="88" creationId="{6777CD02-A39A-41AE-8010-E3FFFDF34CD6}"/>
          </ac:spMkLst>
        </pc:spChg>
        <pc:spChg chg="add del mod">
          <ac:chgData name="Kebba Jeng" userId="fe4cc296-ba7d-48a2-8799-89b58d218255" providerId="ADAL" clId="{FCBD5683-BE61-41A3-82A3-992D8F76D308}" dt="2022-04-08T06:32:20.042" v="450"/>
          <ac:spMkLst>
            <pc:docMk/>
            <pc:sldMk cId="3759988855" sldId="2134803564"/>
            <ac:spMk id="89" creationId="{FB89FD72-2C84-4054-B1F8-BEE970B4D122}"/>
          </ac:spMkLst>
        </pc:spChg>
        <pc:spChg chg="add del mod">
          <ac:chgData name="Kebba Jeng" userId="fe4cc296-ba7d-48a2-8799-89b58d218255" providerId="ADAL" clId="{FCBD5683-BE61-41A3-82A3-992D8F76D308}" dt="2022-04-08T06:32:20.042" v="450"/>
          <ac:spMkLst>
            <pc:docMk/>
            <pc:sldMk cId="3759988855" sldId="2134803564"/>
            <ac:spMk id="90" creationId="{CC945FDB-058D-453E-BA52-BF8BD175016E}"/>
          </ac:spMkLst>
        </pc:spChg>
        <pc:spChg chg="add del mod">
          <ac:chgData name="Kebba Jeng" userId="fe4cc296-ba7d-48a2-8799-89b58d218255" providerId="ADAL" clId="{FCBD5683-BE61-41A3-82A3-992D8F76D308}" dt="2022-04-08T06:32:20.042" v="450"/>
          <ac:spMkLst>
            <pc:docMk/>
            <pc:sldMk cId="3759988855" sldId="2134803564"/>
            <ac:spMk id="91" creationId="{435CC443-0F6C-4E46-AEB9-84E64452A4A1}"/>
          </ac:spMkLst>
        </pc:spChg>
        <pc:spChg chg="add del mod">
          <ac:chgData name="Kebba Jeng" userId="fe4cc296-ba7d-48a2-8799-89b58d218255" providerId="ADAL" clId="{FCBD5683-BE61-41A3-82A3-992D8F76D308}" dt="2022-04-08T06:32:20.042" v="450"/>
          <ac:spMkLst>
            <pc:docMk/>
            <pc:sldMk cId="3759988855" sldId="2134803564"/>
            <ac:spMk id="92" creationId="{6CEC41FC-1FEB-4B47-A486-FB8B7AE40A73}"/>
          </ac:spMkLst>
        </pc:spChg>
        <pc:spChg chg="add del mod">
          <ac:chgData name="Kebba Jeng" userId="fe4cc296-ba7d-48a2-8799-89b58d218255" providerId="ADAL" clId="{FCBD5683-BE61-41A3-82A3-992D8F76D308}" dt="2022-04-08T06:32:20.042" v="450"/>
          <ac:spMkLst>
            <pc:docMk/>
            <pc:sldMk cId="3759988855" sldId="2134803564"/>
            <ac:spMk id="93" creationId="{329A1507-3A65-47C2-AF5F-5A9208D3B145}"/>
          </ac:spMkLst>
        </pc:spChg>
        <pc:spChg chg="add del mod">
          <ac:chgData name="Kebba Jeng" userId="fe4cc296-ba7d-48a2-8799-89b58d218255" providerId="ADAL" clId="{FCBD5683-BE61-41A3-82A3-992D8F76D308}" dt="2022-04-08T06:32:20.042" v="450"/>
          <ac:spMkLst>
            <pc:docMk/>
            <pc:sldMk cId="3759988855" sldId="2134803564"/>
            <ac:spMk id="94" creationId="{3D567A7A-61D3-47B1-8DD8-070FF4D907B8}"/>
          </ac:spMkLst>
        </pc:spChg>
        <pc:spChg chg="add del mod">
          <ac:chgData name="Kebba Jeng" userId="fe4cc296-ba7d-48a2-8799-89b58d218255" providerId="ADAL" clId="{FCBD5683-BE61-41A3-82A3-992D8F76D308}" dt="2022-04-08T06:32:20.042" v="450"/>
          <ac:spMkLst>
            <pc:docMk/>
            <pc:sldMk cId="3759988855" sldId="2134803564"/>
            <ac:spMk id="95" creationId="{A794BCB3-F7FB-45AB-8DAF-DBA528B0520E}"/>
          </ac:spMkLst>
        </pc:spChg>
        <pc:spChg chg="add del mod">
          <ac:chgData name="Kebba Jeng" userId="fe4cc296-ba7d-48a2-8799-89b58d218255" providerId="ADAL" clId="{FCBD5683-BE61-41A3-82A3-992D8F76D308}" dt="2022-04-08T06:32:20.042" v="450"/>
          <ac:spMkLst>
            <pc:docMk/>
            <pc:sldMk cId="3759988855" sldId="2134803564"/>
            <ac:spMk id="96" creationId="{A296D056-A2B4-40B8-8EB2-FEDAC6C1BA3F}"/>
          </ac:spMkLst>
        </pc:spChg>
        <pc:spChg chg="add del mod">
          <ac:chgData name="Kebba Jeng" userId="fe4cc296-ba7d-48a2-8799-89b58d218255" providerId="ADAL" clId="{FCBD5683-BE61-41A3-82A3-992D8F76D308}" dt="2022-04-08T06:32:20.042" v="450"/>
          <ac:spMkLst>
            <pc:docMk/>
            <pc:sldMk cId="3759988855" sldId="2134803564"/>
            <ac:spMk id="97" creationId="{B5236B44-FB0C-4A6D-AEC3-16EB36F5086F}"/>
          </ac:spMkLst>
        </pc:spChg>
        <pc:spChg chg="add del mod">
          <ac:chgData name="Kebba Jeng" userId="fe4cc296-ba7d-48a2-8799-89b58d218255" providerId="ADAL" clId="{FCBD5683-BE61-41A3-82A3-992D8F76D308}" dt="2022-04-08T06:32:20.042" v="450"/>
          <ac:spMkLst>
            <pc:docMk/>
            <pc:sldMk cId="3759988855" sldId="2134803564"/>
            <ac:spMk id="98" creationId="{72DD3F05-8C42-44FC-AB04-C7D320E790EB}"/>
          </ac:spMkLst>
        </pc:spChg>
        <pc:spChg chg="add del mod">
          <ac:chgData name="Kebba Jeng" userId="fe4cc296-ba7d-48a2-8799-89b58d218255" providerId="ADAL" clId="{FCBD5683-BE61-41A3-82A3-992D8F76D308}" dt="2022-04-08T06:32:20.042" v="450"/>
          <ac:spMkLst>
            <pc:docMk/>
            <pc:sldMk cId="3759988855" sldId="2134803564"/>
            <ac:spMk id="99" creationId="{2D9A82E5-A449-4491-8DA9-853D21E96B7E}"/>
          </ac:spMkLst>
        </pc:spChg>
        <pc:spChg chg="add del mod">
          <ac:chgData name="Kebba Jeng" userId="fe4cc296-ba7d-48a2-8799-89b58d218255" providerId="ADAL" clId="{FCBD5683-BE61-41A3-82A3-992D8F76D308}" dt="2022-04-08T06:32:20.042" v="450"/>
          <ac:spMkLst>
            <pc:docMk/>
            <pc:sldMk cId="3759988855" sldId="2134803564"/>
            <ac:spMk id="100" creationId="{D51B5116-ACF4-4F9D-BBAB-C835541F0DE4}"/>
          </ac:spMkLst>
        </pc:spChg>
        <pc:spChg chg="add del mod">
          <ac:chgData name="Kebba Jeng" userId="fe4cc296-ba7d-48a2-8799-89b58d218255" providerId="ADAL" clId="{FCBD5683-BE61-41A3-82A3-992D8F76D308}" dt="2022-04-08T06:32:20.042" v="450"/>
          <ac:spMkLst>
            <pc:docMk/>
            <pc:sldMk cId="3759988855" sldId="2134803564"/>
            <ac:spMk id="101" creationId="{5E6997A4-78C3-4EC1-A9A0-975391DEE65D}"/>
          </ac:spMkLst>
        </pc:spChg>
        <pc:spChg chg="add del mod">
          <ac:chgData name="Kebba Jeng" userId="fe4cc296-ba7d-48a2-8799-89b58d218255" providerId="ADAL" clId="{FCBD5683-BE61-41A3-82A3-992D8F76D308}" dt="2022-04-08T06:32:20.042" v="450"/>
          <ac:spMkLst>
            <pc:docMk/>
            <pc:sldMk cId="3759988855" sldId="2134803564"/>
            <ac:spMk id="102" creationId="{0F596F32-9C66-47ED-B5B7-0E9E711A392B}"/>
          </ac:spMkLst>
        </pc:spChg>
        <pc:spChg chg="add del mod">
          <ac:chgData name="Kebba Jeng" userId="fe4cc296-ba7d-48a2-8799-89b58d218255" providerId="ADAL" clId="{FCBD5683-BE61-41A3-82A3-992D8F76D308}" dt="2022-04-08T06:32:20.042" v="450"/>
          <ac:spMkLst>
            <pc:docMk/>
            <pc:sldMk cId="3759988855" sldId="2134803564"/>
            <ac:spMk id="103" creationId="{32AB5D0F-3D65-4DED-A514-94CBC6475FC0}"/>
          </ac:spMkLst>
        </pc:spChg>
        <pc:spChg chg="add del mod">
          <ac:chgData name="Kebba Jeng" userId="fe4cc296-ba7d-48a2-8799-89b58d218255" providerId="ADAL" clId="{FCBD5683-BE61-41A3-82A3-992D8F76D308}" dt="2022-04-08T06:32:20.042" v="450"/>
          <ac:spMkLst>
            <pc:docMk/>
            <pc:sldMk cId="3759988855" sldId="2134803564"/>
            <ac:spMk id="104" creationId="{319DBF9D-1E4A-4D42-B931-9A0F68D0DF5B}"/>
          </ac:spMkLst>
        </pc:spChg>
        <pc:spChg chg="add del mod">
          <ac:chgData name="Kebba Jeng" userId="fe4cc296-ba7d-48a2-8799-89b58d218255" providerId="ADAL" clId="{FCBD5683-BE61-41A3-82A3-992D8F76D308}" dt="2022-04-08T06:32:20.042" v="450"/>
          <ac:spMkLst>
            <pc:docMk/>
            <pc:sldMk cId="3759988855" sldId="2134803564"/>
            <ac:spMk id="105" creationId="{85802B71-6AED-4F54-BA0E-C3C29539B7E5}"/>
          </ac:spMkLst>
        </pc:spChg>
        <pc:spChg chg="add del mod">
          <ac:chgData name="Kebba Jeng" userId="fe4cc296-ba7d-48a2-8799-89b58d218255" providerId="ADAL" clId="{FCBD5683-BE61-41A3-82A3-992D8F76D308}" dt="2022-04-08T06:32:20.042" v="450"/>
          <ac:spMkLst>
            <pc:docMk/>
            <pc:sldMk cId="3759988855" sldId="2134803564"/>
            <ac:spMk id="106" creationId="{E986F584-FE82-44D9-BACD-31241EB3CA3E}"/>
          </ac:spMkLst>
        </pc:spChg>
        <pc:spChg chg="add del mod">
          <ac:chgData name="Kebba Jeng" userId="fe4cc296-ba7d-48a2-8799-89b58d218255" providerId="ADAL" clId="{FCBD5683-BE61-41A3-82A3-992D8F76D308}" dt="2022-04-08T06:32:20.042" v="450"/>
          <ac:spMkLst>
            <pc:docMk/>
            <pc:sldMk cId="3759988855" sldId="2134803564"/>
            <ac:spMk id="107" creationId="{2DBDB725-135F-4661-A24F-D1C9DBEAF749}"/>
          </ac:spMkLst>
        </pc:spChg>
        <pc:spChg chg="add del mod">
          <ac:chgData name="Kebba Jeng" userId="fe4cc296-ba7d-48a2-8799-89b58d218255" providerId="ADAL" clId="{FCBD5683-BE61-41A3-82A3-992D8F76D308}" dt="2022-04-08T06:32:20.042" v="450"/>
          <ac:spMkLst>
            <pc:docMk/>
            <pc:sldMk cId="3759988855" sldId="2134803564"/>
            <ac:spMk id="108" creationId="{5F74001F-77AA-484D-8707-5A59E97E9E49}"/>
          </ac:spMkLst>
        </pc:spChg>
        <pc:spChg chg="add del mod">
          <ac:chgData name="Kebba Jeng" userId="fe4cc296-ba7d-48a2-8799-89b58d218255" providerId="ADAL" clId="{FCBD5683-BE61-41A3-82A3-992D8F76D308}" dt="2022-04-08T06:32:20.042" v="450"/>
          <ac:spMkLst>
            <pc:docMk/>
            <pc:sldMk cId="3759988855" sldId="2134803564"/>
            <ac:spMk id="109" creationId="{42EB0875-B6E6-4E9F-B25D-6D82EE0BCDBF}"/>
          </ac:spMkLst>
        </pc:spChg>
        <pc:spChg chg="add del mod">
          <ac:chgData name="Kebba Jeng" userId="fe4cc296-ba7d-48a2-8799-89b58d218255" providerId="ADAL" clId="{FCBD5683-BE61-41A3-82A3-992D8F76D308}" dt="2022-04-08T06:32:20.042" v="450"/>
          <ac:spMkLst>
            <pc:docMk/>
            <pc:sldMk cId="3759988855" sldId="2134803564"/>
            <ac:spMk id="110" creationId="{A3ABC416-7EC4-42F5-B08B-3A124AF64015}"/>
          </ac:spMkLst>
        </pc:spChg>
        <pc:spChg chg="add del mod">
          <ac:chgData name="Kebba Jeng" userId="fe4cc296-ba7d-48a2-8799-89b58d218255" providerId="ADAL" clId="{FCBD5683-BE61-41A3-82A3-992D8F76D308}" dt="2022-04-08T06:32:20.042" v="450"/>
          <ac:spMkLst>
            <pc:docMk/>
            <pc:sldMk cId="3759988855" sldId="2134803564"/>
            <ac:spMk id="111" creationId="{8BD5BC66-E003-4CB4-96C8-D8304F169B8F}"/>
          </ac:spMkLst>
        </pc:spChg>
        <pc:spChg chg="add del mod">
          <ac:chgData name="Kebba Jeng" userId="fe4cc296-ba7d-48a2-8799-89b58d218255" providerId="ADAL" clId="{FCBD5683-BE61-41A3-82A3-992D8F76D308}" dt="2022-04-08T06:32:20.042" v="450"/>
          <ac:spMkLst>
            <pc:docMk/>
            <pc:sldMk cId="3759988855" sldId="2134803564"/>
            <ac:spMk id="112" creationId="{3AAD6BCF-BC76-4CE2-AD25-7F1E18ABD8F8}"/>
          </ac:spMkLst>
        </pc:spChg>
        <pc:spChg chg="add del mod">
          <ac:chgData name="Kebba Jeng" userId="fe4cc296-ba7d-48a2-8799-89b58d218255" providerId="ADAL" clId="{FCBD5683-BE61-41A3-82A3-992D8F76D308}" dt="2022-04-08T06:32:20.042" v="450"/>
          <ac:spMkLst>
            <pc:docMk/>
            <pc:sldMk cId="3759988855" sldId="2134803564"/>
            <ac:spMk id="113" creationId="{88186DEC-4272-478E-B603-ADC68CB9C312}"/>
          </ac:spMkLst>
        </pc:spChg>
        <pc:spChg chg="add del mod">
          <ac:chgData name="Kebba Jeng" userId="fe4cc296-ba7d-48a2-8799-89b58d218255" providerId="ADAL" clId="{FCBD5683-BE61-41A3-82A3-992D8F76D308}" dt="2022-04-08T06:32:20.042" v="450"/>
          <ac:spMkLst>
            <pc:docMk/>
            <pc:sldMk cId="3759988855" sldId="2134803564"/>
            <ac:spMk id="114" creationId="{D42B4F7F-6AF0-44ED-80A8-5526047BCBF5}"/>
          </ac:spMkLst>
        </pc:spChg>
        <pc:spChg chg="add del mod">
          <ac:chgData name="Kebba Jeng" userId="fe4cc296-ba7d-48a2-8799-89b58d218255" providerId="ADAL" clId="{FCBD5683-BE61-41A3-82A3-992D8F76D308}" dt="2022-04-08T06:32:20.042" v="450"/>
          <ac:spMkLst>
            <pc:docMk/>
            <pc:sldMk cId="3759988855" sldId="2134803564"/>
            <ac:spMk id="115" creationId="{B975F644-9E26-4EE3-B243-3CE9C0DDCD60}"/>
          </ac:spMkLst>
        </pc:spChg>
        <pc:spChg chg="add del mod">
          <ac:chgData name="Kebba Jeng" userId="fe4cc296-ba7d-48a2-8799-89b58d218255" providerId="ADAL" clId="{FCBD5683-BE61-41A3-82A3-992D8F76D308}" dt="2022-04-08T06:32:20.042" v="450"/>
          <ac:spMkLst>
            <pc:docMk/>
            <pc:sldMk cId="3759988855" sldId="2134803564"/>
            <ac:spMk id="116" creationId="{6B6FDE0E-474F-4436-B843-96E84F5C8CCD}"/>
          </ac:spMkLst>
        </pc:spChg>
        <pc:spChg chg="add del mod">
          <ac:chgData name="Kebba Jeng" userId="fe4cc296-ba7d-48a2-8799-89b58d218255" providerId="ADAL" clId="{FCBD5683-BE61-41A3-82A3-992D8F76D308}" dt="2022-04-08T06:32:20.042" v="450"/>
          <ac:spMkLst>
            <pc:docMk/>
            <pc:sldMk cId="3759988855" sldId="2134803564"/>
            <ac:spMk id="117" creationId="{7449E598-826E-474B-A1CA-D71CEA7576C3}"/>
          </ac:spMkLst>
        </pc:spChg>
        <pc:spChg chg="add del mod">
          <ac:chgData name="Kebba Jeng" userId="fe4cc296-ba7d-48a2-8799-89b58d218255" providerId="ADAL" clId="{FCBD5683-BE61-41A3-82A3-992D8F76D308}" dt="2022-04-08T06:32:20.042" v="450"/>
          <ac:spMkLst>
            <pc:docMk/>
            <pc:sldMk cId="3759988855" sldId="2134803564"/>
            <ac:spMk id="118" creationId="{5CF88F58-027F-484B-A1DE-485D17E9D764}"/>
          </ac:spMkLst>
        </pc:spChg>
        <pc:spChg chg="add del mod">
          <ac:chgData name="Kebba Jeng" userId="fe4cc296-ba7d-48a2-8799-89b58d218255" providerId="ADAL" clId="{FCBD5683-BE61-41A3-82A3-992D8F76D308}" dt="2022-04-08T06:32:20.042" v="450"/>
          <ac:spMkLst>
            <pc:docMk/>
            <pc:sldMk cId="3759988855" sldId="2134803564"/>
            <ac:spMk id="119" creationId="{63AE0E48-9FD7-468C-8CF4-BEF2F75DFCCD}"/>
          </ac:spMkLst>
        </pc:spChg>
        <pc:spChg chg="add del mod">
          <ac:chgData name="Kebba Jeng" userId="fe4cc296-ba7d-48a2-8799-89b58d218255" providerId="ADAL" clId="{FCBD5683-BE61-41A3-82A3-992D8F76D308}" dt="2022-04-08T06:32:20.042" v="450"/>
          <ac:spMkLst>
            <pc:docMk/>
            <pc:sldMk cId="3759988855" sldId="2134803564"/>
            <ac:spMk id="120" creationId="{F0FE4D5C-0858-4C8D-9A39-07F1BD7173E2}"/>
          </ac:spMkLst>
        </pc:spChg>
        <pc:spChg chg="add del mod">
          <ac:chgData name="Kebba Jeng" userId="fe4cc296-ba7d-48a2-8799-89b58d218255" providerId="ADAL" clId="{FCBD5683-BE61-41A3-82A3-992D8F76D308}" dt="2022-04-08T06:32:20.042" v="450"/>
          <ac:spMkLst>
            <pc:docMk/>
            <pc:sldMk cId="3759988855" sldId="2134803564"/>
            <ac:spMk id="121" creationId="{0AFD7E16-2716-48BC-97EB-98E786B3A2D0}"/>
          </ac:spMkLst>
        </pc:spChg>
        <pc:spChg chg="add del mod">
          <ac:chgData name="Kebba Jeng" userId="fe4cc296-ba7d-48a2-8799-89b58d218255" providerId="ADAL" clId="{FCBD5683-BE61-41A3-82A3-992D8F76D308}" dt="2022-04-08T06:32:20.042" v="450"/>
          <ac:spMkLst>
            <pc:docMk/>
            <pc:sldMk cId="3759988855" sldId="2134803564"/>
            <ac:spMk id="122" creationId="{F5F6D2A1-0718-4A0D-9AC2-F3EA20D9A1F2}"/>
          </ac:spMkLst>
        </pc:spChg>
        <pc:spChg chg="add del mod">
          <ac:chgData name="Kebba Jeng" userId="fe4cc296-ba7d-48a2-8799-89b58d218255" providerId="ADAL" clId="{FCBD5683-BE61-41A3-82A3-992D8F76D308}" dt="2022-04-08T06:32:20.042" v="450"/>
          <ac:spMkLst>
            <pc:docMk/>
            <pc:sldMk cId="3759988855" sldId="2134803564"/>
            <ac:spMk id="123" creationId="{EBC1EF3F-D5FD-42DD-8F6D-A1A6A63581AF}"/>
          </ac:spMkLst>
        </pc:spChg>
        <pc:spChg chg="add del mod">
          <ac:chgData name="Kebba Jeng" userId="fe4cc296-ba7d-48a2-8799-89b58d218255" providerId="ADAL" clId="{FCBD5683-BE61-41A3-82A3-992D8F76D308}" dt="2022-04-08T06:32:20.042" v="450"/>
          <ac:spMkLst>
            <pc:docMk/>
            <pc:sldMk cId="3759988855" sldId="2134803564"/>
            <ac:spMk id="124" creationId="{B0FF0B57-3F9A-41EA-BF63-CEBED5982155}"/>
          </ac:spMkLst>
        </pc:spChg>
        <pc:spChg chg="add del mod">
          <ac:chgData name="Kebba Jeng" userId="fe4cc296-ba7d-48a2-8799-89b58d218255" providerId="ADAL" clId="{FCBD5683-BE61-41A3-82A3-992D8F76D308}" dt="2022-04-08T06:32:20.042" v="450"/>
          <ac:spMkLst>
            <pc:docMk/>
            <pc:sldMk cId="3759988855" sldId="2134803564"/>
            <ac:spMk id="125" creationId="{DCE1CAD9-72B4-4F15-90E8-61CA7F35D87D}"/>
          </ac:spMkLst>
        </pc:spChg>
        <pc:spChg chg="add del mod">
          <ac:chgData name="Kebba Jeng" userId="fe4cc296-ba7d-48a2-8799-89b58d218255" providerId="ADAL" clId="{FCBD5683-BE61-41A3-82A3-992D8F76D308}" dt="2022-04-08T06:32:20.042" v="450"/>
          <ac:spMkLst>
            <pc:docMk/>
            <pc:sldMk cId="3759988855" sldId="2134803564"/>
            <ac:spMk id="126" creationId="{A5912276-4859-4766-80DA-76D655CC4487}"/>
          </ac:spMkLst>
        </pc:spChg>
        <pc:spChg chg="add del mod">
          <ac:chgData name="Kebba Jeng" userId="fe4cc296-ba7d-48a2-8799-89b58d218255" providerId="ADAL" clId="{FCBD5683-BE61-41A3-82A3-992D8F76D308}" dt="2022-04-08T06:32:20.042" v="450"/>
          <ac:spMkLst>
            <pc:docMk/>
            <pc:sldMk cId="3759988855" sldId="2134803564"/>
            <ac:spMk id="127" creationId="{E7870794-144C-4FA7-8C4B-70CBCCBB8266}"/>
          </ac:spMkLst>
        </pc:spChg>
        <pc:spChg chg="add del mod">
          <ac:chgData name="Kebba Jeng" userId="fe4cc296-ba7d-48a2-8799-89b58d218255" providerId="ADAL" clId="{FCBD5683-BE61-41A3-82A3-992D8F76D308}" dt="2022-04-08T06:32:20.042" v="450"/>
          <ac:spMkLst>
            <pc:docMk/>
            <pc:sldMk cId="3759988855" sldId="2134803564"/>
            <ac:spMk id="128" creationId="{00D10457-6526-41CE-A657-46FD68658488}"/>
          </ac:spMkLst>
        </pc:spChg>
        <pc:spChg chg="add del mod">
          <ac:chgData name="Kebba Jeng" userId="fe4cc296-ba7d-48a2-8799-89b58d218255" providerId="ADAL" clId="{FCBD5683-BE61-41A3-82A3-992D8F76D308}" dt="2022-04-08T06:32:20.042" v="450"/>
          <ac:spMkLst>
            <pc:docMk/>
            <pc:sldMk cId="3759988855" sldId="2134803564"/>
            <ac:spMk id="129" creationId="{F3385EFC-B151-440B-81B1-7954EDE0A25D}"/>
          </ac:spMkLst>
        </pc:spChg>
        <pc:spChg chg="add del mod">
          <ac:chgData name="Kebba Jeng" userId="fe4cc296-ba7d-48a2-8799-89b58d218255" providerId="ADAL" clId="{FCBD5683-BE61-41A3-82A3-992D8F76D308}" dt="2022-04-08T06:32:20.042" v="450"/>
          <ac:spMkLst>
            <pc:docMk/>
            <pc:sldMk cId="3759988855" sldId="2134803564"/>
            <ac:spMk id="130" creationId="{FE59CFD3-0C03-4C91-A23F-64165C532F55}"/>
          </ac:spMkLst>
        </pc:spChg>
        <pc:spChg chg="add del mod">
          <ac:chgData name="Kebba Jeng" userId="fe4cc296-ba7d-48a2-8799-89b58d218255" providerId="ADAL" clId="{FCBD5683-BE61-41A3-82A3-992D8F76D308}" dt="2022-04-08T06:32:20.042" v="450"/>
          <ac:spMkLst>
            <pc:docMk/>
            <pc:sldMk cId="3759988855" sldId="2134803564"/>
            <ac:spMk id="131" creationId="{FA383BC6-57BE-4D27-ADF4-0938DBEEE571}"/>
          </ac:spMkLst>
        </pc:spChg>
        <pc:spChg chg="add del mod">
          <ac:chgData name="Kebba Jeng" userId="fe4cc296-ba7d-48a2-8799-89b58d218255" providerId="ADAL" clId="{FCBD5683-BE61-41A3-82A3-992D8F76D308}" dt="2022-04-08T06:32:20.042" v="450"/>
          <ac:spMkLst>
            <pc:docMk/>
            <pc:sldMk cId="3759988855" sldId="2134803564"/>
            <ac:spMk id="132" creationId="{5575ADAC-F3B6-478A-99E6-988454598EE2}"/>
          </ac:spMkLst>
        </pc:spChg>
        <pc:spChg chg="add del mod">
          <ac:chgData name="Kebba Jeng" userId="fe4cc296-ba7d-48a2-8799-89b58d218255" providerId="ADAL" clId="{FCBD5683-BE61-41A3-82A3-992D8F76D308}" dt="2022-04-08T06:32:20.042" v="450"/>
          <ac:spMkLst>
            <pc:docMk/>
            <pc:sldMk cId="3759988855" sldId="2134803564"/>
            <ac:spMk id="133" creationId="{66A90A1D-8FF2-4DC4-9545-D76FCAFED5EC}"/>
          </ac:spMkLst>
        </pc:spChg>
        <pc:spChg chg="add del mod">
          <ac:chgData name="Kebba Jeng" userId="fe4cc296-ba7d-48a2-8799-89b58d218255" providerId="ADAL" clId="{FCBD5683-BE61-41A3-82A3-992D8F76D308}" dt="2022-04-08T06:32:20.042" v="450"/>
          <ac:spMkLst>
            <pc:docMk/>
            <pc:sldMk cId="3759988855" sldId="2134803564"/>
            <ac:spMk id="134" creationId="{0CD1974B-8E32-448E-86DC-761206337123}"/>
          </ac:spMkLst>
        </pc:spChg>
        <pc:spChg chg="add del mod">
          <ac:chgData name="Kebba Jeng" userId="fe4cc296-ba7d-48a2-8799-89b58d218255" providerId="ADAL" clId="{FCBD5683-BE61-41A3-82A3-992D8F76D308}" dt="2022-04-08T06:32:20.042" v="450"/>
          <ac:spMkLst>
            <pc:docMk/>
            <pc:sldMk cId="3759988855" sldId="2134803564"/>
            <ac:spMk id="135" creationId="{06A4E846-D889-412E-AA53-6881C4A18F01}"/>
          </ac:spMkLst>
        </pc:spChg>
        <pc:spChg chg="add del mod">
          <ac:chgData name="Kebba Jeng" userId="fe4cc296-ba7d-48a2-8799-89b58d218255" providerId="ADAL" clId="{FCBD5683-BE61-41A3-82A3-992D8F76D308}" dt="2022-04-08T06:32:20.042" v="450"/>
          <ac:spMkLst>
            <pc:docMk/>
            <pc:sldMk cId="3759988855" sldId="2134803564"/>
            <ac:spMk id="136" creationId="{371033D5-B118-4762-9264-4B140D2132FC}"/>
          </ac:spMkLst>
        </pc:spChg>
        <pc:spChg chg="add del mod">
          <ac:chgData name="Kebba Jeng" userId="fe4cc296-ba7d-48a2-8799-89b58d218255" providerId="ADAL" clId="{FCBD5683-BE61-41A3-82A3-992D8F76D308}" dt="2022-04-08T06:32:20.042" v="450"/>
          <ac:spMkLst>
            <pc:docMk/>
            <pc:sldMk cId="3759988855" sldId="2134803564"/>
            <ac:spMk id="137" creationId="{798A7F7C-26A5-4DF3-BE1E-2220566FFE01}"/>
          </ac:spMkLst>
        </pc:spChg>
        <pc:spChg chg="add del mod">
          <ac:chgData name="Kebba Jeng" userId="fe4cc296-ba7d-48a2-8799-89b58d218255" providerId="ADAL" clId="{FCBD5683-BE61-41A3-82A3-992D8F76D308}" dt="2022-04-08T06:32:20.042" v="450"/>
          <ac:spMkLst>
            <pc:docMk/>
            <pc:sldMk cId="3759988855" sldId="2134803564"/>
            <ac:spMk id="138" creationId="{82B79B7E-2F4E-4FA3-9075-6B707C6EF436}"/>
          </ac:spMkLst>
        </pc:spChg>
        <pc:spChg chg="add del mod">
          <ac:chgData name="Kebba Jeng" userId="fe4cc296-ba7d-48a2-8799-89b58d218255" providerId="ADAL" clId="{FCBD5683-BE61-41A3-82A3-992D8F76D308}" dt="2022-04-08T06:32:20.042" v="450"/>
          <ac:spMkLst>
            <pc:docMk/>
            <pc:sldMk cId="3759988855" sldId="2134803564"/>
            <ac:spMk id="139" creationId="{CB22A5AC-9DE0-4013-B80E-782433198B12}"/>
          </ac:spMkLst>
        </pc:spChg>
        <pc:spChg chg="add del mod">
          <ac:chgData name="Kebba Jeng" userId="fe4cc296-ba7d-48a2-8799-89b58d218255" providerId="ADAL" clId="{FCBD5683-BE61-41A3-82A3-992D8F76D308}" dt="2022-04-08T06:32:20.042" v="450"/>
          <ac:spMkLst>
            <pc:docMk/>
            <pc:sldMk cId="3759988855" sldId="2134803564"/>
            <ac:spMk id="140" creationId="{AF8DF20D-8563-465E-995E-E4C77108925A}"/>
          </ac:spMkLst>
        </pc:spChg>
        <pc:spChg chg="add del mod">
          <ac:chgData name="Kebba Jeng" userId="fe4cc296-ba7d-48a2-8799-89b58d218255" providerId="ADAL" clId="{FCBD5683-BE61-41A3-82A3-992D8F76D308}" dt="2022-04-08T06:32:20.042" v="450"/>
          <ac:spMkLst>
            <pc:docMk/>
            <pc:sldMk cId="3759988855" sldId="2134803564"/>
            <ac:spMk id="141" creationId="{9EDB510B-6042-46C6-A3C6-69EFAF3EC037}"/>
          </ac:spMkLst>
        </pc:spChg>
        <pc:spChg chg="add del mod">
          <ac:chgData name="Kebba Jeng" userId="fe4cc296-ba7d-48a2-8799-89b58d218255" providerId="ADAL" clId="{FCBD5683-BE61-41A3-82A3-992D8F76D308}" dt="2022-04-08T06:32:20.042" v="450"/>
          <ac:spMkLst>
            <pc:docMk/>
            <pc:sldMk cId="3759988855" sldId="2134803564"/>
            <ac:spMk id="142" creationId="{5BD18A75-07C0-4496-B8E9-6A7C8616E8AB}"/>
          </ac:spMkLst>
        </pc:spChg>
        <pc:spChg chg="add del mod">
          <ac:chgData name="Kebba Jeng" userId="fe4cc296-ba7d-48a2-8799-89b58d218255" providerId="ADAL" clId="{FCBD5683-BE61-41A3-82A3-992D8F76D308}" dt="2022-04-08T06:32:20.042" v="450"/>
          <ac:spMkLst>
            <pc:docMk/>
            <pc:sldMk cId="3759988855" sldId="2134803564"/>
            <ac:spMk id="143" creationId="{1972391B-88C6-49DD-ACBF-49D58976B394}"/>
          </ac:spMkLst>
        </pc:spChg>
        <pc:spChg chg="add del mod">
          <ac:chgData name="Kebba Jeng" userId="fe4cc296-ba7d-48a2-8799-89b58d218255" providerId="ADAL" clId="{FCBD5683-BE61-41A3-82A3-992D8F76D308}" dt="2022-04-08T06:32:20.042" v="450"/>
          <ac:spMkLst>
            <pc:docMk/>
            <pc:sldMk cId="3759988855" sldId="2134803564"/>
            <ac:spMk id="144" creationId="{1BD51BB8-F538-4739-8211-39A058F1530E}"/>
          </ac:spMkLst>
        </pc:spChg>
        <pc:spChg chg="add del mod">
          <ac:chgData name="Kebba Jeng" userId="fe4cc296-ba7d-48a2-8799-89b58d218255" providerId="ADAL" clId="{FCBD5683-BE61-41A3-82A3-992D8F76D308}" dt="2022-04-08T06:32:20.042" v="450"/>
          <ac:spMkLst>
            <pc:docMk/>
            <pc:sldMk cId="3759988855" sldId="2134803564"/>
            <ac:spMk id="145" creationId="{763C2BB4-5F66-46EE-820D-659CEA42C58E}"/>
          </ac:spMkLst>
        </pc:spChg>
        <pc:spChg chg="add del mod">
          <ac:chgData name="Kebba Jeng" userId="fe4cc296-ba7d-48a2-8799-89b58d218255" providerId="ADAL" clId="{FCBD5683-BE61-41A3-82A3-992D8F76D308}" dt="2022-04-08T06:32:20.042" v="450"/>
          <ac:spMkLst>
            <pc:docMk/>
            <pc:sldMk cId="3759988855" sldId="2134803564"/>
            <ac:spMk id="146" creationId="{6B0A9FA3-7B43-4A86-810F-C2429A4FC099}"/>
          </ac:spMkLst>
        </pc:spChg>
        <pc:spChg chg="add del mod">
          <ac:chgData name="Kebba Jeng" userId="fe4cc296-ba7d-48a2-8799-89b58d218255" providerId="ADAL" clId="{FCBD5683-BE61-41A3-82A3-992D8F76D308}" dt="2022-04-08T06:32:20.042" v="450"/>
          <ac:spMkLst>
            <pc:docMk/>
            <pc:sldMk cId="3759988855" sldId="2134803564"/>
            <ac:spMk id="147" creationId="{24096CFC-38AC-447F-881E-47030ABF2F5E}"/>
          </ac:spMkLst>
        </pc:spChg>
        <pc:spChg chg="add del mod">
          <ac:chgData name="Kebba Jeng" userId="fe4cc296-ba7d-48a2-8799-89b58d218255" providerId="ADAL" clId="{FCBD5683-BE61-41A3-82A3-992D8F76D308}" dt="2022-04-08T06:32:20.042" v="450"/>
          <ac:spMkLst>
            <pc:docMk/>
            <pc:sldMk cId="3759988855" sldId="2134803564"/>
            <ac:spMk id="148" creationId="{B5358002-A7F0-452B-811A-CC445178D546}"/>
          </ac:spMkLst>
        </pc:spChg>
        <pc:spChg chg="add del mod">
          <ac:chgData name="Kebba Jeng" userId="fe4cc296-ba7d-48a2-8799-89b58d218255" providerId="ADAL" clId="{FCBD5683-BE61-41A3-82A3-992D8F76D308}" dt="2022-04-08T06:32:20.042" v="450"/>
          <ac:spMkLst>
            <pc:docMk/>
            <pc:sldMk cId="3759988855" sldId="2134803564"/>
            <ac:spMk id="149" creationId="{C86E98E4-94DC-4FE3-927F-09827F467361}"/>
          </ac:spMkLst>
        </pc:spChg>
        <pc:spChg chg="add del mod">
          <ac:chgData name="Kebba Jeng" userId="fe4cc296-ba7d-48a2-8799-89b58d218255" providerId="ADAL" clId="{FCBD5683-BE61-41A3-82A3-992D8F76D308}" dt="2022-04-08T06:32:20.042" v="450"/>
          <ac:spMkLst>
            <pc:docMk/>
            <pc:sldMk cId="3759988855" sldId="2134803564"/>
            <ac:spMk id="150" creationId="{339DA552-2E4A-42FC-9F08-58F1672E71F4}"/>
          </ac:spMkLst>
        </pc:spChg>
        <pc:spChg chg="add del mod">
          <ac:chgData name="Kebba Jeng" userId="fe4cc296-ba7d-48a2-8799-89b58d218255" providerId="ADAL" clId="{FCBD5683-BE61-41A3-82A3-992D8F76D308}" dt="2022-04-08T06:32:20.042" v="450"/>
          <ac:spMkLst>
            <pc:docMk/>
            <pc:sldMk cId="3759988855" sldId="2134803564"/>
            <ac:spMk id="151" creationId="{C0E3D8AC-C1B0-4F0F-96B0-B947188D54E7}"/>
          </ac:spMkLst>
        </pc:spChg>
        <pc:spChg chg="add del mod">
          <ac:chgData name="Kebba Jeng" userId="fe4cc296-ba7d-48a2-8799-89b58d218255" providerId="ADAL" clId="{FCBD5683-BE61-41A3-82A3-992D8F76D308}" dt="2022-04-08T06:32:20.042" v="450"/>
          <ac:spMkLst>
            <pc:docMk/>
            <pc:sldMk cId="3759988855" sldId="2134803564"/>
            <ac:spMk id="152" creationId="{917FBDE9-DAAB-4120-B91F-F4455DA89AC7}"/>
          </ac:spMkLst>
        </pc:spChg>
        <pc:spChg chg="add del mod">
          <ac:chgData name="Kebba Jeng" userId="fe4cc296-ba7d-48a2-8799-89b58d218255" providerId="ADAL" clId="{FCBD5683-BE61-41A3-82A3-992D8F76D308}" dt="2022-04-08T06:32:20.042" v="450"/>
          <ac:spMkLst>
            <pc:docMk/>
            <pc:sldMk cId="3759988855" sldId="2134803564"/>
            <ac:spMk id="153" creationId="{11FD64F0-B169-41B6-ACE6-F26E0899745F}"/>
          </ac:spMkLst>
        </pc:spChg>
        <pc:spChg chg="add del mod">
          <ac:chgData name="Kebba Jeng" userId="fe4cc296-ba7d-48a2-8799-89b58d218255" providerId="ADAL" clId="{FCBD5683-BE61-41A3-82A3-992D8F76D308}" dt="2022-04-08T06:32:20.042" v="450"/>
          <ac:spMkLst>
            <pc:docMk/>
            <pc:sldMk cId="3759988855" sldId="2134803564"/>
            <ac:spMk id="154" creationId="{6B2D5CF5-0055-4F4E-8A6D-A57594611310}"/>
          </ac:spMkLst>
        </pc:spChg>
        <pc:spChg chg="add del mod">
          <ac:chgData name="Kebba Jeng" userId="fe4cc296-ba7d-48a2-8799-89b58d218255" providerId="ADAL" clId="{FCBD5683-BE61-41A3-82A3-992D8F76D308}" dt="2022-04-08T06:32:20.042" v="450"/>
          <ac:spMkLst>
            <pc:docMk/>
            <pc:sldMk cId="3759988855" sldId="2134803564"/>
            <ac:spMk id="155" creationId="{F70818E9-6725-4C39-AAD6-588F3E155535}"/>
          </ac:spMkLst>
        </pc:spChg>
        <pc:spChg chg="add del mod">
          <ac:chgData name="Kebba Jeng" userId="fe4cc296-ba7d-48a2-8799-89b58d218255" providerId="ADAL" clId="{FCBD5683-BE61-41A3-82A3-992D8F76D308}" dt="2022-04-08T06:32:20.042" v="450"/>
          <ac:spMkLst>
            <pc:docMk/>
            <pc:sldMk cId="3759988855" sldId="2134803564"/>
            <ac:spMk id="156" creationId="{17110229-56C8-484C-AAE7-D4FABC05A30D}"/>
          </ac:spMkLst>
        </pc:spChg>
        <pc:spChg chg="add del mod">
          <ac:chgData name="Kebba Jeng" userId="fe4cc296-ba7d-48a2-8799-89b58d218255" providerId="ADAL" clId="{FCBD5683-BE61-41A3-82A3-992D8F76D308}" dt="2022-04-08T06:32:20.042" v="450"/>
          <ac:spMkLst>
            <pc:docMk/>
            <pc:sldMk cId="3759988855" sldId="2134803564"/>
            <ac:spMk id="157" creationId="{FAF13B82-8E99-4993-BD61-3DCF531980F3}"/>
          </ac:spMkLst>
        </pc:spChg>
        <pc:spChg chg="add del mod">
          <ac:chgData name="Kebba Jeng" userId="fe4cc296-ba7d-48a2-8799-89b58d218255" providerId="ADAL" clId="{FCBD5683-BE61-41A3-82A3-992D8F76D308}" dt="2022-04-08T06:32:20.042" v="450"/>
          <ac:spMkLst>
            <pc:docMk/>
            <pc:sldMk cId="3759988855" sldId="2134803564"/>
            <ac:spMk id="158" creationId="{86F05450-1EF8-4011-9E15-9ECEFD2F28C3}"/>
          </ac:spMkLst>
        </pc:spChg>
        <pc:spChg chg="add del mod">
          <ac:chgData name="Kebba Jeng" userId="fe4cc296-ba7d-48a2-8799-89b58d218255" providerId="ADAL" clId="{FCBD5683-BE61-41A3-82A3-992D8F76D308}" dt="2022-04-08T06:32:20.042" v="450"/>
          <ac:spMkLst>
            <pc:docMk/>
            <pc:sldMk cId="3759988855" sldId="2134803564"/>
            <ac:spMk id="159" creationId="{E96D9CA7-A9C4-4EBB-B655-07BE1F89BEF7}"/>
          </ac:spMkLst>
        </pc:spChg>
        <pc:spChg chg="add del mod">
          <ac:chgData name="Kebba Jeng" userId="fe4cc296-ba7d-48a2-8799-89b58d218255" providerId="ADAL" clId="{FCBD5683-BE61-41A3-82A3-992D8F76D308}" dt="2022-04-08T06:32:20.042" v="450"/>
          <ac:spMkLst>
            <pc:docMk/>
            <pc:sldMk cId="3759988855" sldId="2134803564"/>
            <ac:spMk id="160" creationId="{42FD015B-E2BD-4506-94BE-2610EA082ED8}"/>
          </ac:spMkLst>
        </pc:spChg>
        <pc:spChg chg="add del mod">
          <ac:chgData name="Kebba Jeng" userId="fe4cc296-ba7d-48a2-8799-89b58d218255" providerId="ADAL" clId="{FCBD5683-BE61-41A3-82A3-992D8F76D308}" dt="2022-04-08T06:32:20.042" v="450"/>
          <ac:spMkLst>
            <pc:docMk/>
            <pc:sldMk cId="3759988855" sldId="2134803564"/>
            <ac:spMk id="161" creationId="{36D6E46C-19F2-4700-B88F-CC746714E125}"/>
          </ac:spMkLst>
        </pc:spChg>
        <pc:spChg chg="add del mod">
          <ac:chgData name="Kebba Jeng" userId="fe4cc296-ba7d-48a2-8799-89b58d218255" providerId="ADAL" clId="{FCBD5683-BE61-41A3-82A3-992D8F76D308}" dt="2022-04-08T06:32:20.042" v="450"/>
          <ac:spMkLst>
            <pc:docMk/>
            <pc:sldMk cId="3759988855" sldId="2134803564"/>
            <ac:spMk id="162" creationId="{EEC8A7E1-DD4B-4D8B-A3DF-505013AD3918}"/>
          </ac:spMkLst>
        </pc:spChg>
        <pc:spChg chg="add del mod">
          <ac:chgData name="Kebba Jeng" userId="fe4cc296-ba7d-48a2-8799-89b58d218255" providerId="ADAL" clId="{FCBD5683-BE61-41A3-82A3-992D8F76D308}" dt="2022-04-08T06:32:20.042" v="450"/>
          <ac:spMkLst>
            <pc:docMk/>
            <pc:sldMk cId="3759988855" sldId="2134803564"/>
            <ac:spMk id="163" creationId="{C9765622-6405-429E-8FC4-33EE3EDC4254}"/>
          </ac:spMkLst>
        </pc:spChg>
        <pc:spChg chg="add del mod">
          <ac:chgData name="Kebba Jeng" userId="fe4cc296-ba7d-48a2-8799-89b58d218255" providerId="ADAL" clId="{FCBD5683-BE61-41A3-82A3-992D8F76D308}" dt="2022-04-08T06:32:20.042" v="450"/>
          <ac:spMkLst>
            <pc:docMk/>
            <pc:sldMk cId="3759988855" sldId="2134803564"/>
            <ac:spMk id="164" creationId="{525F0053-6EE4-463D-B0C0-E91D40AE84A9}"/>
          </ac:spMkLst>
        </pc:spChg>
        <pc:spChg chg="add del mod">
          <ac:chgData name="Kebba Jeng" userId="fe4cc296-ba7d-48a2-8799-89b58d218255" providerId="ADAL" clId="{FCBD5683-BE61-41A3-82A3-992D8F76D308}" dt="2022-04-08T06:32:20.042" v="450"/>
          <ac:spMkLst>
            <pc:docMk/>
            <pc:sldMk cId="3759988855" sldId="2134803564"/>
            <ac:spMk id="165" creationId="{F300E881-9456-403C-B47F-ED0CC868CEFB}"/>
          </ac:spMkLst>
        </pc:spChg>
        <pc:spChg chg="add del mod">
          <ac:chgData name="Kebba Jeng" userId="fe4cc296-ba7d-48a2-8799-89b58d218255" providerId="ADAL" clId="{FCBD5683-BE61-41A3-82A3-992D8F76D308}" dt="2022-04-08T06:32:20.042" v="450"/>
          <ac:spMkLst>
            <pc:docMk/>
            <pc:sldMk cId="3759988855" sldId="2134803564"/>
            <ac:spMk id="166" creationId="{E6198B9F-EC60-402E-8FFD-B295FCA21E37}"/>
          </ac:spMkLst>
        </pc:spChg>
        <pc:spChg chg="add del mod">
          <ac:chgData name="Kebba Jeng" userId="fe4cc296-ba7d-48a2-8799-89b58d218255" providerId="ADAL" clId="{FCBD5683-BE61-41A3-82A3-992D8F76D308}" dt="2022-04-08T06:32:20.042" v="450"/>
          <ac:spMkLst>
            <pc:docMk/>
            <pc:sldMk cId="3759988855" sldId="2134803564"/>
            <ac:spMk id="167" creationId="{56B10AD4-D80D-4588-953E-23B63544177C}"/>
          </ac:spMkLst>
        </pc:spChg>
        <pc:spChg chg="add del mod">
          <ac:chgData name="Kebba Jeng" userId="fe4cc296-ba7d-48a2-8799-89b58d218255" providerId="ADAL" clId="{FCBD5683-BE61-41A3-82A3-992D8F76D308}" dt="2022-04-08T06:32:20.042" v="450"/>
          <ac:spMkLst>
            <pc:docMk/>
            <pc:sldMk cId="3759988855" sldId="2134803564"/>
            <ac:spMk id="168" creationId="{D700D250-20D5-4ABA-BE4B-7559861EF6B4}"/>
          </ac:spMkLst>
        </pc:spChg>
        <pc:spChg chg="add del mod">
          <ac:chgData name="Kebba Jeng" userId="fe4cc296-ba7d-48a2-8799-89b58d218255" providerId="ADAL" clId="{FCBD5683-BE61-41A3-82A3-992D8F76D308}" dt="2022-04-08T06:32:20.042" v="450"/>
          <ac:spMkLst>
            <pc:docMk/>
            <pc:sldMk cId="3759988855" sldId="2134803564"/>
            <ac:spMk id="169" creationId="{AA482FB0-5980-48FF-9716-8E60842EAE19}"/>
          </ac:spMkLst>
        </pc:spChg>
        <pc:spChg chg="add del mod">
          <ac:chgData name="Kebba Jeng" userId="fe4cc296-ba7d-48a2-8799-89b58d218255" providerId="ADAL" clId="{FCBD5683-BE61-41A3-82A3-992D8F76D308}" dt="2022-04-08T06:32:20.042" v="450"/>
          <ac:spMkLst>
            <pc:docMk/>
            <pc:sldMk cId="3759988855" sldId="2134803564"/>
            <ac:spMk id="170" creationId="{CEA2E8FC-D6C1-4CAC-A06D-C980F40B4305}"/>
          </ac:spMkLst>
        </pc:spChg>
        <pc:spChg chg="add del mod">
          <ac:chgData name="Kebba Jeng" userId="fe4cc296-ba7d-48a2-8799-89b58d218255" providerId="ADAL" clId="{FCBD5683-BE61-41A3-82A3-992D8F76D308}" dt="2022-04-08T06:32:20.042" v="450"/>
          <ac:spMkLst>
            <pc:docMk/>
            <pc:sldMk cId="3759988855" sldId="2134803564"/>
            <ac:spMk id="171" creationId="{DA4A0AF1-A0BA-4AEF-BA1B-1D580C9BB424}"/>
          </ac:spMkLst>
        </pc:spChg>
        <pc:spChg chg="add del mod">
          <ac:chgData name="Kebba Jeng" userId="fe4cc296-ba7d-48a2-8799-89b58d218255" providerId="ADAL" clId="{FCBD5683-BE61-41A3-82A3-992D8F76D308}" dt="2022-04-08T06:32:20.042" v="450"/>
          <ac:spMkLst>
            <pc:docMk/>
            <pc:sldMk cId="3759988855" sldId="2134803564"/>
            <ac:spMk id="172" creationId="{2E91070A-53F1-4AC7-9715-3D7992CC7745}"/>
          </ac:spMkLst>
        </pc:spChg>
        <pc:spChg chg="add del mod">
          <ac:chgData name="Kebba Jeng" userId="fe4cc296-ba7d-48a2-8799-89b58d218255" providerId="ADAL" clId="{FCBD5683-BE61-41A3-82A3-992D8F76D308}" dt="2022-04-08T06:32:20.042" v="450"/>
          <ac:spMkLst>
            <pc:docMk/>
            <pc:sldMk cId="3759988855" sldId="2134803564"/>
            <ac:spMk id="173" creationId="{96712644-FAB5-4C4E-A3AB-DDD251EE0157}"/>
          </ac:spMkLst>
        </pc:spChg>
        <pc:spChg chg="add del mod">
          <ac:chgData name="Kebba Jeng" userId="fe4cc296-ba7d-48a2-8799-89b58d218255" providerId="ADAL" clId="{FCBD5683-BE61-41A3-82A3-992D8F76D308}" dt="2022-04-08T06:32:20.042" v="450"/>
          <ac:spMkLst>
            <pc:docMk/>
            <pc:sldMk cId="3759988855" sldId="2134803564"/>
            <ac:spMk id="174" creationId="{0A854DF1-47E0-40B0-841D-4CB4231885AB}"/>
          </ac:spMkLst>
        </pc:spChg>
        <pc:spChg chg="add del mod">
          <ac:chgData name="Kebba Jeng" userId="fe4cc296-ba7d-48a2-8799-89b58d218255" providerId="ADAL" clId="{FCBD5683-BE61-41A3-82A3-992D8F76D308}" dt="2022-04-08T06:32:20.042" v="450"/>
          <ac:spMkLst>
            <pc:docMk/>
            <pc:sldMk cId="3759988855" sldId="2134803564"/>
            <ac:spMk id="175" creationId="{68D0BB64-6BCD-448E-B945-F1174DB797A2}"/>
          </ac:spMkLst>
        </pc:spChg>
        <pc:spChg chg="add del mod">
          <ac:chgData name="Kebba Jeng" userId="fe4cc296-ba7d-48a2-8799-89b58d218255" providerId="ADAL" clId="{FCBD5683-BE61-41A3-82A3-992D8F76D308}" dt="2022-04-08T06:32:20.042" v="450"/>
          <ac:spMkLst>
            <pc:docMk/>
            <pc:sldMk cId="3759988855" sldId="2134803564"/>
            <ac:spMk id="176" creationId="{B3F70185-C077-4F94-9FDB-54020C71DB15}"/>
          </ac:spMkLst>
        </pc:spChg>
        <pc:spChg chg="add del mod">
          <ac:chgData name="Kebba Jeng" userId="fe4cc296-ba7d-48a2-8799-89b58d218255" providerId="ADAL" clId="{FCBD5683-BE61-41A3-82A3-992D8F76D308}" dt="2022-04-08T06:32:20.042" v="450"/>
          <ac:spMkLst>
            <pc:docMk/>
            <pc:sldMk cId="3759988855" sldId="2134803564"/>
            <ac:spMk id="177" creationId="{8737C7E4-287C-43E2-BC76-7F9139A90F33}"/>
          </ac:spMkLst>
        </pc:spChg>
        <pc:spChg chg="add del mod">
          <ac:chgData name="Kebba Jeng" userId="fe4cc296-ba7d-48a2-8799-89b58d218255" providerId="ADAL" clId="{FCBD5683-BE61-41A3-82A3-992D8F76D308}" dt="2022-04-08T06:32:20.042" v="450"/>
          <ac:spMkLst>
            <pc:docMk/>
            <pc:sldMk cId="3759988855" sldId="2134803564"/>
            <ac:spMk id="178" creationId="{B1BEC1FF-99B0-4A00-8EF8-245F24703FB8}"/>
          </ac:spMkLst>
        </pc:spChg>
        <pc:spChg chg="add del mod">
          <ac:chgData name="Kebba Jeng" userId="fe4cc296-ba7d-48a2-8799-89b58d218255" providerId="ADAL" clId="{FCBD5683-BE61-41A3-82A3-992D8F76D308}" dt="2022-04-08T06:32:20.042" v="450"/>
          <ac:spMkLst>
            <pc:docMk/>
            <pc:sldMk cId="3759988855" sldId="2134803564"/>
            <ac:spMk id="179" creationId="{0AC88D5D-504C-49A4-9677-C1D8B88D0D78}"/>
          </ac:spMkLst>
        </pc:spChg>
        <pc:spChg chg="add del mod">
          <ac:chgData name="Kebba Jeng" userId="fe4cc296-ba7d-48a2-8799-89b58d218255" providerId="ADAL" clId="{FCBD5683-BE61-41A3-82A3-992D8F76D308}" dt="2022-04-08T06:32:20.042" v="450"/>
          <ac:spMkLst>
            <pc:docMk/>
            <pc:sldMk cId="3759988855" sldId="2134803564"/>
            <ac:spMk id="180" creationId="{F4A9F9B0-568C-4E2F-81BC-5A563DDE5B04}"/>
          </ac:spMkLst>
        </pc:spChg>
        <pc:spChg chg="add del mod">
          <ac:chgData name="Kebba Jeng" userId="fe4cc296-ba7d-48a2-8799-89b58d218255" providerId="ADAL" clId="{FCBD5683-BE61-41A3-82A3-992D8F76D308}" dt="2022-04-08T06:32:20.042" v="450"/>
          <ac:spMkLst>
            <pc:docMk/>
            <pc:sldMk cId="3759988855" sldId="2134803564"/>
            <ac:spMk id="181" creationId="{86095BC4-E413-4EF0-8261-FD178B03ED9C}"/>
          </ac:spMkLst>
        </pc:spChg>
        <pc:spChg chg="add del mod">
          <ac:chgData name="Kebba Jeng" userId="fe4cc296-ba7d-48a2-8799-89b58d218255" providerId="ADAL" clId="{FCBD5683-BE61-41A3-82A3-992D8F76D308}" dt="2022-04-08T06:32:20.042" v="450"/>
          <ac:spMkLst>
            <pc:docMk/>
            <pc:sldMk cId="3759988855" sldId="2134803564"/>
            <ac:spMk id="182" creationId="{5E80A5E5-1A46-4C71-B2AB-1EB21385611C}"/>
          </ac:spMkLst>
        </pc:spChg>
        <pc:spChg chg="add del mod">
          <ac:chgData name="Kebba Jeng" userId="fe4cc296-ba7d-48a2-8799-89b58d218255" providerId="ADAL" clId="{FCBD5683-BE61-41A3-82A3-992D8F76D308}" dt="2022-04-08T06:32:20.042" v="450"/>
          <ac:spMkLst>
            <pc:docMk/>
            <pc:sldMk cId="3759988855" sldId="2134803564"/>
            <ac:spMk id="183" creationId="{C5C22080-15FC-4B56-AB1D-BCC562278031}"/>
          </ac:spMkLst>
        </pc:spChg>
        <pc:spChg chg="add del mod">
          <ac:chgData name="Kebba Jeng" userId="fe4cc296-ba7d-48a2-8799-89b58d218255" providerId="ADAL" clId="{FCBD5683-BE61-41A3-82A3-992D8F76D308}" dt="2022-04-08T06:32:20.042" v="450"/>
          <ac:spMkLst>
            <pc:docMk/>
            <pc:sldMk cId="3759988855" sldId="2134803564"/>
            <ac:spMk id="184" creationId="{2DB84249-0CDB-45C6-A4E2-E79AAE5DEBCC}"/>
          </ac:spMkLst>
        </pc:spChg>
        <pc:spChg chg="add del mod">
          <ac:chgData name="Kebba Jeng" userId="fe4cc296-ba7d-48a2-8799-89b58d218255" providerId="ADAL" clId="{FCBD5683-BE61-41A3-82A3-992D8F76D308}" dt="2022-04-08T06:32:20.042" v="450"/>
          <ac:spMkLst>
            <pc:docMk/>
            <pc:sldMk cId="3759988855" sldId="2134803564"/>
            <ac:spMk id="185" creationId="{AD67560C-3451-4EA3-A68E-A0F1474BD47C}"/>
          </ac:spMkLst>
        </pc:spChg>
        <pc:spChg chg="add del mod">
          <ac:chgData name="Kebba Jeng" userId="fe4cc296-ba7d-48a2-8799-89b58d218255" providerId="ADAL" clId="{FCBD5683-BE61-41A3-82A3-992D8F76D308}" dt="2022-04-08T06:32:20.042" v="450"/>
          <ac:spMkLst>
            <pc:docMk/>
            <pc:sldMk cId="3759988855" sldId="2134803564"/>
            <ac:spMk id="186" creationId="{699022CA-DA54-469A-B716-04B6A6FAA8F2}"/>
          </ac:spMkLst>
        </pc:spChg>
        <pc:spChg chg="add del mod">
          <ac:chgData name="Kebba Jeng" userId="fe4cc296-ba7d-48a2-8799-89b58d218255" providerId="ADAL" clId="{FCBD5683-BE61-41A3-82A3-992D8F76D308}" dt="2022-04-08T06:32:20.042" v="450"/>
          <ac:spMkLst>
            <pc:docMk/>
            <pc:sldMk cId="3759988855" sldId="2134803564"/>
            <ac:spMk id="187" creationId="{03A31158-C364-4812-9148-7395305FCD3F}"/>
          </ac:spMkLst>
        </pc:spChg>
        <pc:spChg chg="add del mod">
          <ac:chgData name="Kebba Jeng" userId="fe4cc296-ba7d-48a2-8799-89b58d218255" providerId="ADAL" clId="{FCBD5683-BE61-41A3-82A3-992D8F76D308}" dt="2022-04-08T06:32:20.042" v="450"/>
          <ac:spMkLst>
            <pc:docMk/>
            <pc:sldMk cId="3759988855" sldId="2134803564"/>
            <ac:spMk id="188" creationId="{4601098A-A011-4B9A-AC90-915DED93064F}"/>
          </ac:spMkLst>
        </pc:spChg>
        <pc:spChg chg="add del mod">
          <ac:chgData name="Kebba Jeng" userId="fe4cc296-ba7d-48a2-8799-89b58d218255" providerId="ADAL" clId="{FCBD5683-BE61-41A3-82A3-992D8F76D308}" dt="2022-04-08T06:32:20.042" v="450"/>
          <ac:spMkLst>
            <pc:docMk/>
            <pc:sldMk cId="3759988855" sldId="2134803564"/>
            <ac:spMk id="189" creationId="{00C4EEF6-9105-451C-93C7-8FE45B40C817}"/>
          </ac:spMkLst>
        </pc:spChg>
        <pc:spChg chg="add del mod">
          <ac:chgData name="Kebba Jeng" userId="fe4cc296-ba7d-48a2-8799-89b58d218255" providerId="ADAL" clId="{FCBD5683-BE61-41A3-82A3-992D8F76D308}" dt="2022-04-08T06:32:20.042" v="450"/>
          <ac:spMkLst>
            <pc:docMk/>
            <pc:sldMk cId="3759988855" sldId="2134803564"/>
            <ac:spMk id="190" creationId="{DB60CA18-2114-438B-9BB8-BF768E02BED6}"/>
          </ac:spMkLst>
        </pc:spChg>
        <pc:spChg chg="add del mod">
          <ac:chgData name="Kebba Jeng" userId="fe4cc296-ba7d-48a2-8799-89b58d218255" providerId="ADAL" clId="{FCBD5683-BE61-41A3-82A3-992D8F76D308}" dt="2022-04-08T06:32:20.042" v="450"/>
          <ac:spMkLst>
            <pc:docMk/>
            <pc:sldMk cId="3759988855" sldId="2134803564"/>
            <ac:spMk id="191" creationId="{222CC6E6-EDE3-4EB5-A73B-E76FB9A1FE58}"/>
          </ac:spMkLst>
        </pc:spChg>
        <pc:spChg chg="add del mod">
          <ac:chgData name="Kebba Jeng" userId="fe4cc296-ba7d-48a2-8799-89b58d218255" providerId="ADAL" clId="{FCBD5683-BE61-41A3-82A3-992D8F76D308}" dt="2022-04-08T06:32:20.042" v="450"/>
          <ac:spMkLst>
            <pc:docMk/>
            <pc:sldMk cId="3759988855" sldId="2134803564"/>
            <ac:spMk id="192" creationId="{53856E37-4DB8-43A4-9E69-CFF090916E3C}"/>
          </ac:spMkLst>
        </pc:spChg>
        <pc:spChg chg="add del mod">
          <ac:chgData name="Kebba Jeng" userId="fe4cc296-ba7d-48a2-8799-89b58d218255" providerId="ADAL" clId="{FCBD5683-BE61-41A3-82A3-992D8F76D308}" dt="2022-04-08T06:32:20.042" v="450"/>
          <ac:spMkLst>
            <pc:docMk/>
            <pc:sldMk cId="3759988855" sldId="2134803564"/>
            <ac:spMk id="193" creationId="{40DC1FDD-0F11-41E4-8EB1-312AAD402F34}"/>
          </ac:spMkLst>
        </pc:spChg>
        <pc:spChg chg="add del mod">
          <ac:chgData name="Kebba Jeng" userId="fe4cc296-ba7d-48a2-8799-89b58d218255" providerId="ADAL" clId="{FCBD5683-BE61-41A3-82A3-992D8F76D308}" dt="2022-04-08T06:32:20.042" v="450"/>
          <ac:spMkLst>
            <pc:docMk/>
            <pc:sldMk cId="3759988855" sldId="2134803564"/>
            <ac:spMk id="194" creationId="{9B2262A6-49CF-41BE-8DA0-EE8AC61E4417}"/>
          </ac:spMkLst>
        </pc:spChg>
        <pc:spChg chg="add del mod">
          <ac:chgData name="Kebba Jeng" userId="fe4cc296-ba7d-48a2-8799-89b58d218255" providerId="ADAL" clId="{FCBD5683-BE61-41A3-82A3-992D8F76D308}" dt="2022-04-08T06:32:20.042" v="450"/>
          <ac:spMkLst>
            <pc:docMk/>
            <pc:sldMk cId="3759988855" sldId="2134803564"/>
            <ac:spMk id="195" creationId="{CB9B44C4-DE0C-4E91-9FE4-421A6755187A}"/>
          </ac:spMkLst>
        </pc:spChg>
        <pc:spChg chg="add del mod">
          <ac:chgData name="Kebba Jeng" userId="fe4cc296-ba7d-48a2-8799-89b58d218255" providerId="ADAL" clId="{FCBD5683-BE61-41A3-82A3-992D8F76D308}" dt="2022-04-08T06:32:20.042" v="450"/>
          <ac:spMkLst>
            <pc:docMk/>
            <pc:sldMk cId="3759988855" sldId="2134803564"/>
            <ac:spMk id="196" creationId="{6E85A455-28FD-486D-831D-047FCA3BAA61}"/>
          </ac:spMkLst>
        </pc:spChg>
        <pc:spChg chg="add del mod">
          <ac:chgData name="Kebba Jeng" userId="fe4cc296-ba7d-48a2-8799-89b58d218255" providerId="ADAL" clId="{FCBD5683-BE61-41A3-82A3-992D8F76D308}" dt="2022-04-08T06:32:20.042" v="450"/>
          <ac:spMkLst>
            <pc:docMk/>
            <pc:sldMk cId="3759988855" sldId="2134803564"/>
            <ac:spMk id="197" creationId="{D90FC435-E0F7-4909-A16D-A69958780B13}"/>
          </ac:spMkLst>
        </pc:spChg>
        <pc:spChg chg="add del mod">
          <ac:chgData name="Kebba Jeng" userId="fe4cc296-ba7d-48a2-8799-89b58d218255" providerId="ADAL" clId="{FCBD5683-BE61-41A3-82A3-992D8F76D308}" dt="2022-04-08T06:32:20.042" v="450"/>
          <ac:spMkLst>
            <pc:docMk/>
            <pc:sldMk cId="3759988855" sldId="2134803564"/>
            <ac:spMk id="198" creationId="{AEF53F8D-8F37-4C69-B9BA-665F84193901}"/>
          </ac:spMkLst>
        </pc:spChg>
        <pc:spChg chg="add del mod">
          <ac:chgData name="Kebba Jeng" userId="fe4cc296-ba7d-48a2-8799-89b58d218255" providerId="ADAL" clId="{FCBD5683-BE61-41A3-82A3-992D8F76D308}" dt="2022-04-08T06:32:20.042" v="450"/>
          <ac:spMkLst>
            <pc:docMk/>
            <pc:sldMk cId="3759988855" sldId="2134803564"/>
            <ac:spMk id="199" creationId="{74CF8033-0918-422B-82CF-E2DAAC85C316}"/>
          </ac:spMkLst>
        </pc:spChg>
        <pc:spChg chg="add del mod">
          <ac:chgData name="Kebba Jeng" userId="fe4cc296-ba7d-48a2-8799-89b58d218255" providerId="ADAL" clId="{FCBD5683-BE61-41A3-82A3-992D8F76D308}" dt="2022-04-08T06:32:20.042" v="450"/>
          <ac:spMkLst>
            <pc:docMk/>
            <pc:sldMk cId="3759988855" sldId="2134803564"/>
            <ac:spMk id="200" creationId="{F0A5B631-4F03-48EE-950D-BB7381B4B4DA}"/>
          </ac:spMkLst>
        </pc:spChg>
        <pc:spChg chg="add del mod">
          <ac:chgData name="Kebba Jeng" userId="fe4cc296-ba7d-48a2-8799-89b58d218255" providerId="ADAL" clId="{FCBD5683-BE61-41A3-82A3-992D8F76D308}" dt="2022-04-08T06:32:20.042" v="450"/>
          <ac:spMkLst>
            <pc:docMk/>
            <pc:sldMk cId="3759988855" sldId="2134803564"/>
            <ac:spMk id="201" creationId="{C9E63346-5C98-4159-9BCE-B83BE9AF3773}"/>
          </ac:spMkLst>
        </pc:spChg>
        <pc:spChg chg="add del mod">
          <ac:chgData name="Kebba Jeng" userId="fe4cc296-ba7d-48a2-8799-89b58d218255" providerId="ADAL" clId="{FCBD5683-BE61-41A3-82A3-992D8F76D308}" dt="2022-04-08T06:32:20.042" v="450"/>
          <ac:spMkLst>
            <pc:docMk/>
            <pc:sldMk cId="3759988855" sldId="2134803564"/>
            <ac:spMk id="202" creationId="{B6008FA8-65FD-42EC-98CC-F3E4BF7FA0C4}"/>
          </ac:spMkLst>
        </pc:spChg>
        <pc:spChg chg="add del mod">
          <ac:chgData name="Kebba Jeng" userId="fe4cc296-ba7d-48a2-8799-89b58d218255" providerId="ADAL" clId="{FCBD5683-BE61-41A3-82A3-992D8F76D308}" dt="2022-04-08T06:32:20.042" v="450"/>
          <ac:spMkLst>
            <pc:docMk/>
            <pc:sldMk cId="3759988855" sldId="2134803564"/>
            <ac:spMk id="203" creationId="{D9E01AB0-008E-49C5-BAF7-B66DAD5DC4D4}"/>
          </ac:spMkLst>
        </pc:spChg>
        <pc:spChg chg="add del mod">
          <ac:chgData name="Kebba Jeng" userId="fe4cc296-ba7d-48a2-8799-89b58d218255" providerId="ADAL" clId="{FCBD5683-BE61-41A3-82A3-992D8F76D308}" dt="2022-04-08T06:32:20.042" v="450"/>
          <ac:spMkLst>
            <pc:docMk/>
            <pc:sldMk cId="3759988855" sldId="2134803564"/>
            <ac:spMk id="204" creationId="{B0E1B49D-5801-4928-9398-084E1182D8C7}"/>
          </ac:spMkLst>
        </pc:spChg>
        <pc:spChg chg="add del mod">
          <ac:chgData name="Kebba Jeng" userId="fe4cc296-ba7d-48a2-8799-89b58d218255" providerId="ADAL" clId="{FCBD5683-BE61-41A3-82A3-992D8F76D308}" dt="2022-04-08T06:32:20.042" v="450"/>
          <ac:spMkLst>
            <pc:docMk/>
            <pc:sldMk cId="3759988855" sldId="2134803564"/>
            <ac:spMk id="205" creationId="{F01467C5-730A-4113-8481-AAAF3FDE507D}"/>
          </ac:spMkLst>
        </pc:spChg>
        <pc:picChg chg="add mod ord">
          <ac:chgData name="Kebba Jeng" userId="fe4cc296-ba7d-48a2-8799-89b58d218255" providerId="ADAL" clId="{FCBD5683-BE61-41A3-82A3-992D8F76D308}" dt="2022-04-08T06:32:30.571" v="454" actId="167"/>
          <ac:picMkLst>
            <pc:docMk/>
            <pc:sldMk cId="3759988855" sldId="2134803564"/>
            <ac:picMk id="4" creationId="{D5692597-18CD-436B-9BF0-4EB6021F01B1}"/>
          </ac:picMkLst>
        </pc:picChg>
        <pc:picChg chg="del">
          <ac:chgData name="Kebba Jeng" userId="fe4cc296-ba7d-48a2-8799-89b58d218255" providerId="ADAL" clId="{FCBD5683-BE61-41A3-82A3-992D8F76D308}" dt="2022-04-08T06:32:32.297" v="455" actId="478"/>
          <ac:picMkLst>
            <pc:docMk/>
            <pc:sldMk cId="3759988855" sldId="2134803564"/>
            <ac:picMk id="10" creationId="{04B6FB34-308C-4463-B0EE-B58B22741189}"/>
          </ac:picMkLst>
        </pc:picChg>
      </pc:sldChg>
      <pc:sldChg chg="modSp add mod">
        <pc:chgData name="Kebba Jeng" userId="fe4cc296-ba7d-48a2-8799-89b58d218255" providerId="ADAL" clId="{FCBD5683-BE61-41A3-82A3-992D8F76D308}" dt="2022-04-07T18:16:55.839" v="282" actId="5793"/>
        <pc:sldMkLst>
          <pc:docMk/>
          <pc:sldMk cId="2773746863" sldId="2134803565"/>
        </pc:sldMkLst>
        <pc:spChg chg="mod">
          <ac:chgData name="Kebba Jeng" userId="fe4cc296-ba7d-48a2-8799-89b58d218255" providerId="ADAL" clId="{FCBD5683-BE61-41A3-82A3-992D8F76D308}" dt="2022-04-07T18:16:55.839" v="282" actId="5793"/>
          <ac:spMkLst>
            <pc:docMk/>
            <pc:sldMk cId="2773746863" sldId="2134803565"/>
            <ac:spMk id="11" creationId="{8B5F5FED-5017-454A-B9EE-B34F4561AE22}"/>
          </ac:spMkLst>
        </pc:spChg>
      </pc:sldChg>
      <pc:sldChg chg="add">
        <pc:chgData name="Kebba Jeng" userId="fe4cc296-ba7d-48a2-8799-89b58d218255" providerId="ADAL" clId="{FCBD5683-BE61-41A3-82A3-992D8F76D308}" dt="2022-04-07T18:24:52.267" v="293" actId="2890"/>
        <pc:sldMkLst>
          <pc:docMk/>
          <pc:sldMk cId="2496363771" sldId="2134803566"/>
        </pc:sldMkLst>
      </pc:sldChg>
      <pc:sldChg chg="addSp delSp modSp add mod ord modAnim">
        <pc:chgData name="Kebba Jeng" userId="fe4cc296-ba7d-48a2-8799-89b58d218255" providerId="ADAL" clId="{FCBD5683-BE61-41A3-82A3-992D8F76D308}" dt="2022-04-08T07:17:05.889" v="507" actId="20577"/>
        <pc:sldMkLst>
          <pc:docMk/>
          <pc:sldMk cId="290817067" sldId="2134803567"/>
        </pc:sldMkLst>
        <pc:spChg chg="add del mod">
          <ac:chgData name="Kebba Jeng" userId="fe4cc296-ba7d-48a2-8799-89b58d218255" providerId="ADAL" clId="{FCBD5683-BE61-41A3-82A3-992D8F76D308}" dt="2022-04-08T06:52:43.303" v="485" actId="478"/>
          <ac:spMkLst>
            <pc:docMk/>
            <pc:sldMk cId="290817067" sldId="2134803567"/>
            <ac:spMk id="2" creationId="{47D9E66E-5F9F-4E12-9482-58C6CD404BE0}"/>
          </ac:spMkLst>
        </pc:spChg>
        <pc:spChg chg="mod">
          <ac:chgData name="Kebba Jeng" userId="fe4cc296-ba7d-48a2-8799-89b58d218255" providerId="ADAL" clId="{FCBD5683-BE61-41A3-82A3-992D8F76D308}" dt="2022-04-08T07:17:05.889" v="507" actId="20577"/>
          <ac:spMkLst>
            <pc:docMk/>
            <pc:sldMk cId="290817067" sldId="2134803567"/>
            <ac:spMk id="521" creationId="{00000000-0000-0000-0000-000000000000}"/>
          </ac:spMkLst>
        </pc:spChg>
        <pc:picChg chg="add mod ord">
          <ac:chgData name="Kebba Jeng" userId="fe4cc296-ba7d-48a2-8799-89b58d218255" providerId="ADAL" clId="{FCBD5683-BE61-41A3-82A3-992D8F76D308}" dt="2022-04-08T06:52:41.999" v="484" actId="167"/>
          <ac:picMkLst>
            <pc:docMk/>
            <pc:sldMk cId="290817067" sldId="2134803567"/>
            <ac:picMk id="3" creationId="{779390ED-2344-4B2D-8B73-5DA7F1ACE021}"/>
          </ac:picMkLst>
        </pc:picChg>
        <pc:picChg chg="del">
          <ac:chgData name="Kebba Jeng" userId="fe4cc296-ba7d-48a2-8799-89b58d218255" providerId="ADAL" clId="{FCBD5683-BE61-41A3-82A3-992D8F76D308}" dt="2022-04-07T18:26:45.218" v="331" actId="478"/>
          <ac:picMkLst>
            <pc:docMk/>
            <pc:sldMk cId="290817067" sldId="2134803567"/>
            <ac:picMk id="6" creationId="{548DCB64-C9C2-4428-981A-5CEF2F9FBE93}"/>
          </ac:picMkLst>
        </pc:picChg>
        <pc:picChg chg="del">
          <ac:chgData name="Kebba Jeng" userId="fe4cc296-ba7d-48a2-8799-89b58d218255" providerId="ADAL" clId="{FCBD5683-BE61-41A3-82A3-992D8F76D308}" dt="2022-04-07T18:26:45.218" v="331" actId="478"/>
          <ac:picMkLst>
            <pc:docMk/>
            <pc:sldMk cId="290817067" sldId="2134803567"/>
            <ac:picMk id="522" creationId="{00000000-0000-0000-0000-000000000000}"/>
          </ac:picMkLst>
        </pc:picChg>
      </pc:sldChg>
      <pc:sldChg chg="add del">
        <pc:chgData name="Kebba Jeng" userId="fe4cc296-ba7d-48a2-8799-89b58d218255" providerId="ADAL" clId="{FCBD5683-BE61-41A3-82A3-992D8F76D308}" dt="2022-04-07T18:32:45.956" v="389" actId="47"/>
        <pc:sldMkLst>
          <pc:docMk/>
          <pc:sldMk cId="2340563675" sldId="2134803568"/>
        </pc:sldMkLst>
      </pc:sldChg>
      <pc:sldChg chg="add del">
        <pc:chgData name="Kebba Jeng" userId="fe4cc296-ba7d-48a2-8799-89b58d218255" providerId="ADAL" clId="{FCBD5683-BE61-41A3-82A3-992D8F76D308}" dt="2022-04-07T18:32:45.956" v="389" actId="47"/>
        <pc:sldMkLst>
          <pc:docMk/>
          <pc:sldMk cId="3777194672" sldId="2134803569"/>
        </pc:sldMkLst>
      </pc:sldChg>
      <pc:sldChg chg="modSp add mod">
        <pc:chgData name="Kebba Jeng" userId="fe4cc296-ba7d-48a2-8799-89b58d218255" providerId="ADAL" clId="{FCBD5683-BE61-41A3-82A3-992D8F76D308}" dt="2022-04-07T18:32:31.655" v="386"/>
        <pc:sldMkLst>
          <pc:docMk/>
          <pc:sldMk cId="677562391" sldId="2134803570"/>
        </pc:sldMkLst>
        <pc:spChg chg="mod">
          <ac:chgData name="Kebba Jeng" userId="fe4cc296-ba7d-48a2-8799-89b58d218255" providerId="ADAL" clId="{FCBD5683-BE61-41A3-82A3-992D8F76D308}" dt="2022-04-07T18:32:31.655" v="386"/>
          <ac:spMkLst>
            <pc:docMk/>
            <pc:sldMk cId="677562391" sldId="2134803570"/>
            <ac:spMk id="9" creationId="{499140DB-6BC3-4EDD-92D3-1911C8E3BD65}"/>
          </ac:spMkLst>
        </pc:spChg>
      </pc:sldChg>
      <pc:sldChg chg="modSp add mod">
        <pc:chgData name="Kebba Jeng" userId="fe4cc296-ba7d-48a2-8799-89b58d218255" providerId="ADAL" clId="{FCBD5683-BE61-41A3-82A3-992D8F76D308}" dt="2022-04-07T18:32:43.640" v="388"/>
        <pc:sldMkLst>
          <pc:docMk/>
          <pc:sldMk cId="2706517719" sldId="2134803571"/>
        </pc:sldMkLst>
        <pc:spChg chg="mod">
          <ac:chgData name="Kebba Jeng" userId="fe4cc296-ba7d-48a2-8799-89b58d218255" providerId="ADAL" clId="{FCBD5683-BE61-41A3-82A3-992D8F76D308}" dt="2022-04-07T18:32:43.640" v="388"/>
          <ac:spMkLst>
            <pc:docMk/>
            <pc:sldMk cId="2706517719" sldId="2134803571"/>
            <ac:spMk id="9" creationId="{499140DB-6BC3-4EDD-92D3-1911C8E3BD65}"/>
          </ac:spMkLst>
        </pc:spChg>
      </pc:sldChg>
      <pc:sldChg chg="modSp add mod">
        <pc:chgData name="Kebba Jeng" userId="fe4cc296-ba7d-48a2-8799-89b58d218255" providerId="ADAL" clId="{FCBD5683-BE61-41A3-82A3-992D8F76D308}" dt="2022-04-08T06:26:18.991" v="415" actId="207"/>
        <pc:sldMkLst>
          <pc:docMk/>
          <pc:sldMk cId="2499674548" sldId="2134803572"/>
        </pc:sldMkLst>
        <pc:spChg chg="mod">
          <ac:chgData name="Kebba Jeng" userId="fe4cc296-ba7d-48a2-8799-89b58d218255" providerId="ADAL" clId="{FCBD5683-BE61-41A3-82A3-992D8F76D308}" dt="2022-04-08T06:26:18.991" v="415" actId="207"/>
          <ac:spMkLst>
            <pc:docMk/>
            <pc:sldMk cId="2499674548" sldId="2134803572"/>
            <ac:spMk id="1768" creationId="{00000000-0000-0000-0000-000000000000}"/>
          </ac:spMkLst>
        </pc:spChg>
        <pc:spChg chg="mod">
          <ac:chgData name="Kebba Jeng" userId="fe4cc296-ba7d-48a2-8799-89b58d218255" providerId="ADAL" clId="{FCBD5683-BE61-41A3-82A3-992D8F76D308}" dt="2022-04-08T06:26:18.991" v="415" actId="207"/>
          <ac:spMkLst>
            <pc:docMk/>
            <pc:sldMk cId="2499674548" sldId="2134803572"/>
            <ac:spMk id="1769" creationId="{00000000-0000-0000-0000-000000000000}"/>
          </ac:spMkLst>
        </pc:spChg>
        <pc:spChg chg="mod">
          <ac:chgData name="Kebba Jeng" userId="fe4cc296-ba7d-48a2-8799-89b58d218255" providerId="ADAL" clId="{FCBD5683-BE61-41A3-82A3-992D8F76D308}" dt="2022-04-08T06:26:18.991" v="415" actId="207"/>
          <ac:spMkLst>
            <pc:docMk/>
            <pc:sldMk cId="2499674548" sldId="2134803572"/>
            <ac:spMk id="1776" creationId="{00000000-0000-0000-0000-000000000000}"/>
          </ac:spMkLst>
        </pc:spChg>
        <pc:spChg chg="mod">
          <ac:chgData name="Kebba Jeng" userId="fe4cc296-ba7d-48a2-8799-89b58d218255" providerId="ADAL" clId="{FCBD5683-BE61-41A3-82A3-992D8F76D308}" dt="2022-04-08T06:26:18.991" v="415" actId="207"/>
          <ac:spMkLst>
            <pc:docMk/>
            <pc:sldMk cId="2499674548" sldId="2134803572"/>
            <ac:spMk id="1777" creationId="{00000000-0000-0000-0000-000000000000}"/>
          </ac:spMkLst>
        </pc:spChg>
        <pc:spChg chg="mod">
          <ac:chgData name="Kebba Jeng" userId="fe4cc296-ba7d-48a2-8799-89b58d218255" providerId="ADAL" clId="{FCBD5683-BE61-41A3-82A3-992D8F76D308}" dt="2022-04-08T06:25:20.504" v="414" actId="207"/>
          <ac:spMkLst>
            <pc:docMk/>
            <pc:sldMk cId="2499674548" sldId="2134803572"/>
            <ac:spMk id="1828" creationId="{00000000-0000-0000-0000-000000000000}"/>
          </ac:spMkLst>
        </pc:spChg>
        <pc:spChg chg="mod">
          <ac:chgData name="Kebba Jeng" userId="fe4cc296-ba7d-48a2-8799-89b58d218255" providerId="ADAL" clId="{FCBD5683-BE61-41A3-82A3-992D8F76D308}" dt="2022-04-08T06:25:20.504" v="414" actId="207"/>
          <ac:spMkLst>
            <pc:docMk/>
            <pc:sldMk cId="2499674548" sldId="2134803572"/>
            <ac:spMk id="1829" creationId="{00000000-0000-0000-0000-000000000000}"/>
          </ac:spMkLst>
        </pc:spChg>
        <pc:spChg chg="mod">
          <ac:chgData name="Kebba Jeng" userId="fe4cc296-ba7d-48a2-8799-89b58d218255" providerId="ADAL" clId="{FCBD5683-BE61-41A3-82A3-992D8F76D308}" dt="2022-04-08T06:25:20.504" v="414" actId="207"/>
          <ac:spMkLst>
            <pc:docMk/>
            <pc:sldMk cId="2499674548" sldId="2134803572"/>
            <ac:spMk id="1836" creationId="{00000000-0000-0000-0000-000000000000}"/>
          </ac:spMkLst>
        </pc:spChg>
        <pc:spChg chg="mod">
          <ac:chgData name="Kebba Jeng" userId="fe4cc296-ba7d-48a2-8799-89b58d218255" providerId="ADAL" clId="{FCBD5683-BE61-41A3-82A3-992D8F76D308}" dt="2022-04-08T06:25:20.504" v="414" actId="207"/>
          <ac:spMkLst>
            <pc:docMk/>
            <pc:sldMk cId="2499674548" sldId="2134803572"/>
            <ac:spMk id="1837" creationId="{00000000-0000-0000-0000-000000000000}"/>
          </ac:spMkLst>
        </pc:spChg>
      </pc:sldChg>
      <pc:sldChg chg="modSp add mod">
        <pc:chgData name="Kebba Jeng" userId="fe4cc296-ba7d-48a2-8799-89b58d218255" providerId="ADAL" clId="{FCBD5683-BE61-41A3-82A3-992D8F76D308}" dt="2022-04-08T06:28:13.990" v="421" actId="207"/>
        <pc:sldMkLst>
          <pc:docMk/>
          <pc:sldMk cId="2580212704" sldId="2134803573"/>
        </pc:sldMkLst>
        <pc:spChg chg="mod">
          <ac:chgData name="Kebba Jeng" userId="fe4cc296-ba7d-48a2-8799-89b58d218255" providerId="ADAL" clId="{FCBD5683-BE61-41A3-82A3-992D8F76D308}" dt="2022-04-08T06:27:24.593" v="419" actId="207"/>
          <ac:spMkLst>
            <pc:docMk/>
            <pc:sldMk cId="2580212704" sldId="2134803573"/>
            <ac:spMk id="1733" creationId="{00000000-0000-0000-0000-000000000000}"/>
          </ac:spMkLst>
        </pc:spChg>
        <pc:spChg chg="mod">
          <ac:chgData name="Kebba Jeng" userId="fe4cc296-ba7d-48a2-8799-89b58d218255" providerId="ADAL" clId="{FCBD5683-BE61-41A3-82A3-992D8F76D308}" dt="2022-04-08T06:27:24.593" v="419" actId="207"/>
          <ac:spMkLst>
            <pc:docMk/>
            <pc:sldMk cId="2580212704" sldId="2134803573"/>
            <ac:spMk id="1734" creationId="{00000000-0000-0000-0000-000000000000}"/>
          </ac:spMkLst>
        </pc:spChg>
        <pc:spChg chg="mod">
          <ac:chgData name="Kebba Jeng" userId="fe4cc296-ba7d-48a2-8799-89b58d218255" providerId="ADAL" clId="{FCBD5683-BE61-41A3-82A3-992D8F76D308}" dt="2022-04-08T06:27:24.593" v="419" actId="207"/>
          <ac:spMkLst>
            <pc:docMk/>
            <pc:sldMk cId="2580212704" sldId="2134803573"/>
            <ac:spMk id="1741" creationId="{00000000-0000-0000-0000-000000000000}"/>
          </ac:spMkLst>
        </pc:spChg>
        <pc:spChg chg="mod">
          <ac:chgData name="Kebba Jeng" userId="fe4cc296-ba7d-48a2-8799-89b58d218255" providerId="ADAL" clId="{FCBD5683-BE61-41A3-82A3-992D8F76D308}" dt="2022-04-08T06:27:24.593" v="419" actId="207"/>
          <ac:spMkLst>
            <pc:docMk/>
            <pc:sldMk cId="2580212704" sldId="2134803573"/>
            <ac:spMk id="1742" creationId="{00000000-0000-0000-0000-000000000000}"/>
          </ac:spMkLst>
        </pc:spChg>
        <pc:spChg chg="mod">
          <ac:chgData name="Kebba Jeng" userId="fe4cc296-ba7d-48a2-8799-89b58d218255" providerId="ADAL" clId="{FCBD5683-BE61-41A3-82A3-992D8F76D308}" dt="2022-04-08T06:27:24.593" v="419" actId="207"/>
          <ac:spMkLst>
            <pc:docMk/>
            <pc:sldMk cId="2580212704" sldId="2134803573"/>
            <ac:spMk id="1749" creationId="{00000000-0000-0000-0000-000000000000}"/>
          </ac:spMkLst>
        </pc:spChg>
        <pc:spChg chg="mod">
          <ac:chgData name="Kebba Jeng" userId="fe4cc296-ba7d-48a2-8799-89b58d218255" providerId="ADAL" clId="{FCBD5683-BE61-41A3-82A3-992D8F76D308}" dt="2022-04-08T06:27:24.593" v="419" actId="207"/>
          <ac:spMkLst>
            <pc:docMk/>
            <pc:sldMk cId="2580212704" sldId="2134803573"/>
            <ac:spMk id="1750" creationId="{00000000-0000-0000-0000-000000000000}"/>
          </ac:spMkLst>
        </pc:spChg>
        <pc:spChg chg="mod">
          <ac:chgData name="Kebba Jeng" userId="fe4cc296-ba7d-48a2-8799-89b58d218255" providerId="ADAL" clId="{FCBD5683-BE61-41A3-82A3-992D8F76D308}" dt="2022-04-08T06:26:58.892" v="417" actId="207"/>
          <ac:spMkLst>
            <pc:docMk/>
            <pc:sldMk cId="2580212704" sldId="2134803573"/>
            <ac:spMk id="1757" creationId="{00000000-0000-0000-0000-000000000000}"/>
          </ac:spMkLst>
        </pc:spChg>
        <pc:spChg chg="mod">
          <ac:chgData name="Kebba Jeng" userId="fe4cc296-ba7d-48a2-8799-89b58d218255" providerId="ADAL" clId="{FCBD5683-BE61-41A3-82A3-992D8F76D308}" dt="2022-04-08T06:26:58.892" v="417" actId="207"/>
          <ac:spMkLst>
            <pc:docMk/>
            <pc:sldMk cId="2580212704" sldId="2134803573"/>
            <ac:spMk id="1758" creationId="{00000000-0000-0000-0000-000000000000}"/>
          </ac:spMkLst>
        </pc:spChg>
        <pc:spChg chg="mod">
          <ac:chgData name="Kebba Jeng" userId="fe4cc296-ba7d-48a2-8799-89b58d218255" providerId="ADAL" clId="{FCBD5683-BE61-41A3-82A3-992D8F76D308}" dt="2022-04-08T06:28:13.990" v="421" actId="207"/>
          <ac:spMkLst>
            <pc:docMk/>
            <pc:sldMk cId="2580212704" sldId="2134803573"/>
            <ac:spMk id="1765" creationId="{00000000-0000-0000-0000-000000000000}"/>
          </ac:spMkLst>
        </pc:spChg>
        <pc:spChg chg="mod">
          <ac:chgData name="Kebba Jeng" userId="fe4cc296-ba7d-48a2-8799-89b58d218255" providerId="ADAL" clId="{FCBD5683-BE61-41A3-82A3-992D8F76D308}" dt="2022-04-08T06:28:13.990" v="421" actId="207"/>
          <ac:spMkLst>
            <pc:docMk/>
            <pc:sldMk cId="2580212704" sldId="2134803573"/>
            <ac:spMk id="1766" creationId="{00000000-0000-0000-0000-000000000000}"/>
          </ac:spMkLst>
        </pc:spChg>
        <pc:spChg chg="mod">
          <ac:chgData name="Kebba Jeng" userId="fe4cc296-ba7d-48a2-8799-89b58d218255" providerId="ADAL" clId="{FCBD5683-BE61-41A3-82A3-992D8F76D308}" dt="2022-04-08T06:28:05.514" v="420" actId="207"/>
          <ac:spMkLst>
            <pc:docMk/>
            <pc:sldMk cId="2580212704" sldId="2134803573"/>
            <ac:spMk id="1768" creationId="{00000000-0000-0000-0000-000000000000}"/>
          </ac:spMkLst>
        </pc:spChg>
        <pc:spChg chg="mod">
          <ac:chgData name="Kebba Jeng" userId="fe4cc296-ba7d-48a2-8799-89b58d218255" providerId="ADAL" clId="{FCBD5683-BE61-41A3-82A3-992D8F76D308}" dt="2022-04-08T06:28:05.514" v="420" actId="207"/>
          <ac:spMkLst>
            <pc:docMk/>
            <pc:sldMk cId="2580212704" sldId="2134803573"/>
            <ac:spMk id="1769" creationId="{00000000-0000-0000-0000-000000000000}"/>
          </ac:spMkLst>
        </pc:spChg>
        <pc:spChg chg="mod">
          <ac:chgData name="Kebba Jeng" userId="fe4cc296-ba7d-48a2-8799-89b58d218255" providerId="ADAL" clId="{FCBD5683-BE61-41A3-82A3-992D8F76D308}" dt="2022-04-08T06:28:13.990" v="421" actId="207"/>
          <ac:spMkLst>
            <pc:docMk/>
            <pc:sldMk cId="2580212704" sldId="2134803573"/>
            <ac:spMk id="1773" creationId="{00000000-0000-0000-0000-000000000000}"/>
          </ac:spMkLst>
        </pc:spChg>
        <pc:spChg chg="mod">
          <ac:chgData name="Kebba Jeng" userId="fe4cc296-ba7d-48a2-8799-89b58d218255" providerId="ADAL" clId="{FCBD5683-BE61-41A3-82A3-992D8F76D308}" dt="2022-04-08T06:28:13.990" v="421" actId="207"/>
          <ac:spMkLst>
            <pc:docMk/>
            <pc:sldMk cId="2580212704" sldId="2134803573"/>
            <ac:spMk id="1774" creationId="{00000000-0000-0000-0000-000000000000}"/>
          </ac:spMkLst>
        </pc:spChg>
        <pc:spChg chg="mod">
          <ac:chgData name="Kebba Jeng" userId="fe4cc296-ba7d-48a2-8799-89b58d218255" providerId="ADAL" clId="{FCBD5683-BE61-41A3-82A3-992D8F76D308}" dt="2022-04-08T06:28:05.514" v="420" actId="207"/>
          <ac:spMkLst>
            <pc:docMk/>
            <pc:sldMk cId="2580212704" sldId="2134803573"/>
            <ac:spMk id="1776" creationId="{00000000-0000-0000-0000-000000000000}"/>
          </ac:spMkLst>
        </pc:spChg>
        <pc:spChg chg="mod">
          <ac:chgData name="Kebba Jeng" userId="fe4cc296-ba7d-48a2-8799-89b58d218255" providerId="ADAL" clId="{FCBD5683-BE61-41A3-82A3-992D8F76D308}" dt="2022-04-08T06:28:05.514" v="420" actId="207"/>
          <ac:spMkLst>
            <pc:docMk/>
            <pc:sldMk cId="2580212704" sldId="2134803573"/>
            <ac:spMk id="1777" creationId="{00000000-0000-0000-0000-000000000000}"/>
          </ac:spMkLst>
        </pc:spChg>
      </pc:sldChg>
      <pc:sldChg chg="modSp add mod">
        <pc:chgData name="Kebba Jeng" userId="fe4cc296-ba7d-48a2-8799-89b58d218255" providerId="ADAL" clId="{FCBD5683-BE61-41A3-82A3-992D8F76D308}" dt="2022-04-08T06:28:37.583" v="424" actId="207"/>
        <pc:sldMkLst>
          <pc:docMk/>
          <pc:sldMk cId="3455550797" sldId="2134803574"/>
        </pc:sldMkLst>
        <pc:spChg chg="mod">
          <ac:chgData name="Kebba Jeng" userId="fe4cc296-ba7d-48a2-8799-89b58d218255" providerId="ADAL" clId="{FCBD5683-BE61-41A3-82A3-992D8F76D308}" dt="2022-04-08T06:28:37.583" v="424" actId="207"/>
          <ac:spMkLst>
            <pc:docMk/>
            <pc:sldMk cId="3455550797" sldId="2134803574"/>
            <ac:spMk id="1763" creationId="{00000000-0000-0000-0000-000000000000}"/>
          </ac:spMkLst>
        </pc:spChg>
        <pc:spChg chg="mod">
          <ac:chgData name="Kebba Jeng" userId="fe4cc296-ba7d-48a2-8799-89b58d218255" providerId="ADAL" clId="{FCBD5683-BE61-41A3-82A3-992D8F76D308}" dt="2022-04-08T06:28:37.583" v="424" actId="207"/>
          <ac:spMkLst>
            <pc:docMk/>
            <pc:sldMk cId="3455550797" sldId="2134803574"/>
            <ac:spMk id="1764" creationId="{00000000-0000-0000-0000-000000000000}"/>
          </ac:spMkLst>
        </pc:spChg>
        <pc:spChg chg="mod">
          <ac:chgData name="Kebba Jeng" userId="fe4cc296-ba7d-48a2-8799-89b58d218255" providerId="ADAL" clId="{FCBD5683-BE61-41A3-82A3-992D8F76D308}" dt="2022-04-08T06:28:26.661" v="423" actId="207"/>
          <ac:spMkLst>
            <pc:docMk/>
            <pc:sldMk cId="3455550797" sldId="2134803574"/>
            <ac:spMk id="1765" creationId="{00000000-0000-0000-0000-000000000000}"/>
          </ac:spMkLst>
        </pc:spChg>
        <pc:spChg chg="mod">
          <ac:chgData name="Kebba Jeng" userId="fe4cc296-ba7d-48a2-8799-89b58d218255" providerId="ADAL" clId="{FCBD5683-BE61-41A3-82A3-992D8F76D308}" dt="2022-04-08T06:28:26.661" v="423" actId="207"/>
          <ac:spMkLst>
            <pc:docMk/>
            <pc:sldMk cId="3455550797" sldId="2134803574"/>
            <ac:spMk id="1766" creationId="{00000000-0000-0000-0000-000000000000}"/>
          </ac:spMkLst>
        </pc:spChg>
        <pc:spChg chg="mod">
          <ac:chgData name="Kebba Jeng" userId="fe4cc296-ba7d-48a2-8799-89b58d218255" providerId="ADAL" clId="{FCBD5683-BE61-41A3-82A3-992D8F76D308}" dt="2022-04-08T06:28:37.583" v="424" actId="207"/>
          <ac:spMkLst>
            <pc:docMk/>
            <pc:sldMk cId="3455550797" sldId="2134803574"/>
            <ac:spMk id="1771" creationId="{00000000-0000-0000-0000-000000000000}"/>
          </ac:spMkLst>
        </pc:spChg>
        <pc:spChg chg="mod">
          <ac:chgData name="Kebba Jeng" userId="fe4cc296-ba7d-48a2-8799-89b58d218255" providerId="ADAL" clId="{FCBD5683-BE61-41A3-82A3-992D8F76D308}" dt="2022-04-08T06:28:37.583" v="424" actId="207"/>
          <ac:spMkLst>
            <pc:docMk/>
            <pc:sldMk cId="3455550797" sldId="2134803574"/>
            <ac:spMk id="1772" creationId="{00000000-0000-0000-0000-000000000000}"/>
          </ac:spMkLst>
        </pc:spChg>
        <pc:spChg chg="mod">
          <ac:chgData name="Kebba Jeng" userId="fe4cc296-ba7d-48a2-8799-89b58d218255" providerId="ADAL" clId="{FCBD5683-BE61-41A3-82A3-992D8F76D308}" dt="2022-04-08T06:28:26.661" v="423" actId="207"/>
          <ac:spMkLst>
            <pc:docMk/>
            <pc:sldMk cId="3455550797" sldId="2134803574"/>
            <ac:spMk id="1773" creationId="{00000000-0000-0000-0000-000000000000}"/>
          </ac:spMkLst>
        </pc:spChg>
        <pc:spChg chg="mod">
          <ac:chgData name="Kebba Jeng" userId="fe4cc296-ba7d-48a2-8799-89b58d218255" providerId="ADAL" clId="{FCBD5683-BE61-41A3-82A3-992D8F76D308}" dt="2022-04-08T06:28:26.661" v="423" actId="207"/>
          <ac:spMkLst>
            <pc:docMk/>
            <pc:sldMk cId="3455550797" sldId="2134803574"/>
            <ac:spMk id="1774" creationId="{00000000-0000-0000-0000-000000000000}"/>
          </ac:spMkLst>
        </pc:spChg>
      </pc:sldChg>
      <pc:sldChg chg="modSp add mod">
        <pc:chgData name="Kebba Jeng" userId="fe4cc296-ba7d-48a2-8799-89b58d218255" providerId="ADAL" clId="{FCBD5683-BE61-41A3-82A3-992D8F76D308}" dt="2022-04-08T06:29:59.277" v="432" actId="207"/>
        <pc:sldMkLst>
          <pc:docMk/>
          <pc:sldMk cId="1821985377" sldId="2134803575"/>
        </pc:sldMkLst>
        <pc:spChg chg="mod">
          <ac:chgData name="Kebba Jeng" userId="fe4cc296-ba7d-48a2-8799-89b58d218255" providerId="ADAL" clId="{FCBD5683-BE61-41A3-82A3-992D8F76D308}" dt="2022-04-08T06:29:25.488" v="428" actId="207"/>
          <ac:spMkLst>
            <pc:docMk/>
            <pc:sldMk cId="1821985377" sldId="2134803575"/>
            <ac:spMk id="1733" creationId="{00000000-0000-0000-0000-000000000000}"/>
          </ac:spMkLst>
        </pc:spChg>
        <pc:spChg chg="mod">
          <ac:chgData name="Kebba Jeng" userId="fe4cc296-ba7d-48a2-8799-89b58d218255" providerId="ADAL" clId="{FCBD5683-BE61-41A3-82A3-992D8F76D308}" dt="2022-04-08T06:29:25.488" v="428" actId="207"/>
          <ac:spMkLst>
            <pc:docMk/>
            <pc:sldMk cId="1821985377" sldId="2134803575"/>
            <ac:spMk id="1734" creationId="{00000000-0000-0000-0000-000000000000}"/>
          </ac:spMkLst>
        </pc:spChg>
        <pc:spChg chg="mod">
          <ac:chgData name="Kebba Jeng" userId="fe4cc296-ba7d-48a2-8799-89b58d218255" providerId="ADAL" clId="{FCBD5683-BE61-41A3-82A3-992D8F76D308}" dt="2022-04-08T06:29:25.488" v="428" actId="207"/>
          <ac:spMkLst>
            <pc:docMk/>
            <pc:sldMk cId="1821985377" sldId="2134803575"/>
            <ac:spMk id="1741" creationId="{00000000-0000-0000-0000-000000000000}"/>
          </ac:spMkLst>
        </pc:spChg>
        <pc:spChg chg="mod">
          <ac:chgData name="Kebba Jeng" userId="fe4cc296-ba7d-48a2-8799-89b58d218255" providerId="ADAL" clId="{FCBD5683-BE61-41A3-82A3-992D8F76D308}" dt="2022-04-08T06:29:25.488" v="428" actId="207"/>
          <ac:spMkLst>
            <pc:docMk/>
            <pc:sldMk cId="1821985377" sldId="2134803575"/>
            <ac:spMk id="1742" creationId="{00000000-0000-0000-0000-000000000000}"/>
          </ac:spMkLst>
        </pc:spChg>
        <pc:spChg chg="mod">
          <ac:chgData name="Kebba Jeng" userId="fe4cc296-ba7d-48a2-8799-89b58d218255" providerId="ADAL" clId="{FCBD5683-BE61-41A3-82A3-992D8F76D308}" dt="2022-04-08T06:29:25.488" v="428" actId="207"/>
          <ac:spMkLst>
            <pc:docMk/>
            <pc:sldMk cId="1821985377" sldId="2134803575"/>
            <ac:spMk id="1749" creationId="{00000000-0000-0000-0000-000000000000}"/>
          </ac:spMkLst>
        </pc:spChg>
        <pc:spChg chg="mod">
          <ac:chgData name="Kebba Jeng" userId="fe4cc296-ba7d-48a2-8799-89b58d218255" providerId="ADAL" clId="{FCBD5683-BE61-41A3-82A3-992D8F76D308}" dt="2022-04-08T06:29:25.488" v="428" actId="207"/>
          <ac:spMkLst>
            <pc:docMk/>
            <pc:sldMk cId="1821985377" sldId="2134803575"/>
            <ac:spMk id="1750" creationId="{00000000-0000-0000-0000-000000000000}"/>
          </ac:spMkLst>
        </pc:spChg>
        <pc:spChg chg="mod">
          <ac:chgData name="Kebba Jeng" userId="fe4cc296-ba7d-48a2-8799-89b58d218255" providerId="ADAL" clId="{FCBD5683-BE61-41A3-82A3-992D8F76D308}" dt="2022-04-08T06:29:59.277" v="432" actId="207"/>
          <ac:spMkLst>
            <pc:docMk/>
            <pc:sldMk cId="1821985377" sldId="2134803575"/>
            <ac:spMk id="1757" creationId="{00000000-0000-0000-0000-000000000000}"/>
          </ac:spMkLst>
        </pc:spChg>
        <pc:spChg chg="mod">
          <ac:chgData name="Kebba Jeng" userId="fe4cc296-ba7d-48a2-8799-89b58d218255" providerId="ADAL" clId="{FCBD5683-BE61-41A3-82A3-992D8F76D308}" dt="2022-04-08T06:29:59.277" v="432" actId="207"/>
          <ac:spMkLst>
            <pc:docMk/>
            <pc:sldMk cId="1821985377" sldId="2134803575"/>
            <ac:spMk id="1758" creationId="{00000000-0000-0000-0000-000000000000}"/>
          </ac:spMkLst>
        </pc:spChg>
        <pc:spChg chg="mod">
          <ac:chgData name="Kebba Jeng" userId="fe4cc296-ba7d-48a2-8799-89b58d218255" providerId="ADAL" clId="{FCBD5683-BE61-41A3-82A3-992D8F76D308}" dt="2022-04-08T06:29:14.941" v="427" actId="207"/>
          <ac:spMkLst>
            <pc:docMk/>
            <pc:sldMk cId="1821985377" sldId="2134803575"/>
            <ac:spMk id="1763" creationId="{00000000-0000-0000-0000-000000000000}"/>
          </ac:spMkLst>
        </pc:spChg>
        <pc:spChg chg="mod">
          <ac:chgData name="Kebba Jeng" userId="fe4cc296-ba7d-48a2-8799-89b58d218255" providerId="ADAL" clId="{FCBD5683-BE61-41A3-82A3-992D8F76D308}" dt="2022-04-08T06:29:36.437" v="429" actId="207"/>
          <ac:spMkLst>
            <pc:docMk/>
            <pc:sldMk cId="1821985377" sldId="2134803575"/>
            <ac:spMk id="1764" creationId="{00000000-0000-0000-0000-000000000000}"/>
          </ac:spMkLst>
        </pc:spChg>
        <pc:spChg chg="mod">
          <ac:chgData name="Kebba Jeng" userId="fe4cc296-ba7d-48a2-8799-89b58d218255" providerId="ADAL" clId="{FCBD5683-BE61-41A3-82A3-992D8F76D308}" dt="2022-04-08T06:29:55.323" v="431" actId="207"/>
          <ac:spMkLst>
            <pc:docMk/>
            <pc:sldMk cId="1821985377" sldId="2134803575"/>
            <ac:spMk id="1765" creationId="{00000000-0000-0000-0000-000000000000}"/>
          </ac:spMkLst>
        </pc:spChg>
        <pc:spChg chg="mod">
          <ac:chgData name="Kebba Jeng" userId="fe4cc296-ba7d-48a2-8799-89b58d218255" providerId="ADAL" clId="{FCBD5683-BE61-41A3-82A3-992D8F76D308}" dt="2022-04-08T06:29:55.323" v="431" actId="207"/>
          <ac:spMkLst>
            <pc:docMk/>
            <pc:sldMk cId="1821985377" sldId="2134803575"/>
            <ac:spMk id="1766" creationId="{00000000-0000-0000-0000-000000000000}"/>
          </ac:spMkLst>
        </pc:spChg>
        <pc:spChg chg="mod">
          <ac:chgData name="Kebba Jeng" userId="fe4cc296-ba7d-48a2-8799-89b58d218255" providerId="ADAL" clId="{FCBD5683-BE61-41A3-82A3-992D8F76D308}" dt="2022-04-08T06:29:14.941" v="427" actId="207"/>
          <ac:spMkLst>
            <pc:docMk/>
            <pc:sldMk cId="1821985377" sldId="2134803575"/>
            <ac:spMk id="1771" creationId="{00000000-0000-0000-0000-000000000000}"/>
          </ac:spMkLst>
        </pc:spChg>
        <pc:spChg chg="mod">
          <ac:chgData name="Kebba Jeng" userId="fe4cc296-ba7d-48a2-8799-89b58d218255" providerId="ADAL" clId="{FCBD5683-BE61-41A3-82A3-992D8F76D308}" dt="2022-04-08T06:29:36.437" v="429" actId="207"/>
          <ac:spMkLst>
            <pc:docMk/>
            <pc:sldMk cId="1821985377" sldId="2134803575"/>
            <ac:spMk id="1772" creationId="{00000000-0000-0000-0000-000000000000}"/>
          </ac:spMkLst>
        </pc:spChg>
        <pc:spChg chg="mod">
          <ac:chgData name="Kebba Jeng" userId="fe4cc296-ba7d-48a2-8799-89b58d218255" providerId="ADAL" clId="{FCBD5683-BE61-41A3-82A3-992D8F76D308}" dt="2022-04-08T06:29:55.323" v="431" actId="207"/>
          <ac:spMkLst>
            <pc:docMk/>
            <pc:sldMk cId="1821985377" sldId="2134803575"/>
            <ac:spMk id="1773" creationId="{00000000-0000-0000-0000-000000000000}"/>
          </ac:spMkLst>
        </pc:spChg>
        <pc:spChg chg="mod">
          <ac:chgData name="Kebba Jeng" userId="fe4cc296-ba7d-48a2-8799-89b58d218255" providerId="ADAL" clId="{FCBD5683-BE61-41A3-82A3-992D8F76D308}" dt="2022-04-08T06:29:55.323" v="431" actId="207"/>
          <ac:spMkLst>
            <pc:docMk/>
            <pc:sldMk cId="1821985377" sldId="2134803575"/>
            <ac:spMk id="1774" creationId="{00000000-0000-0000-0000-000000000000}"/>
          </ac:spMkLst>
        </pc:spChg>
      </pc:sldChg>
      <pc:sldChg chg="add">
        <pc:chgData name="Kebba Jeng" userId="fe4cc296-ba7d-48a2-8799-89b58d218255" providerId="ADAL" clId="{FCBD5683-BE61-41A3-82A3-992D8F76D308}" dt="2022-04-08T07:16:33.390" v="491" actId="2890"/>
        <pc:sldMkLst>
          <pc:docMk/>
          <pc:sldMk cId="375039560" sldId="2134803576"/>
        </pc:sldMkLst>
      </pc:sldChg>
      <pc:sldChg chg="add del">
        <pc:chgData name="Kebba Jeng" userId="fe4cc296-ba7d-48a2-8799-89b58d218255" providerId="ADAL" clId="{FCBD5683-BE61-41A3-82A3-992D8F76D308}" dt="2022-04-08T07:16:23.561" v="490"/>
        <pc:sldMkLst>
          <pc:docMk/>
          <pc:sldMk cId="3393205769" sldId="2134803576"/>
        </pc:sldMkLst>
      </pc:sldChg>
      <pc:sldMasterChg chg="del delSldLayout">
        <pc:chgData name="Kebba Jeng" userId="fe4cc296-ba7d-48a2-8799-89b58d218255" providerId="ADAL" clId="{FCBD5683-BE61-41A3-82A3-992D8F76D308}" dt="2022-04-07T18:08:53.545" v="249" actId="47"/>
        <pc:sldMasterMkLst>
          <pc:docMk/>
          <pc:sldMasterMk cId="0" sldId="2147483661"/>
        </pc:sldMasterMkLst>
        <pc:sldLayoutChg chg="del">
          <pc:chgData name="Kebba Jeng" userId="fe4cc296-ba7d-48a2-8799-89b58d218255" providerId="ADAL" clId="{FCBD5683-BE61-41A3-82A3-992D8F76D308}" dt="2022-04-07T18:08:53.545" v="249" actId="47"/>
          <pc:sldLayoutMkLst>
            <pc:docMk/>
            <pc:sldMasterMk cId="0" sldId="2147483661"/>
            <pc:sldLayoutMk cId="0" sldId="2147483662"/>
          </pc:sldLayoutMkLst>
        </pc:sldLayoutChg>
        <pc:sldLayoutChg chg="del">
          <pc:chgData name="Kebba Jeng" userId="fe4cc296-ba7d-48a2-8799-89b58d218255" providerId="ADAL" clId="{FCBD5683-BE61-41A3-82A3-992D8F76D308}" dt="2022-04-07T18:08:53.545" v="249" actId="47"/>
          <pc:sldLayoutMkLst>
            <pc:docMk/>
            <pc:sldMasterMk cId="0" sldId="2147483661"/>
            <pc:sldLayoutMk cId="0" sldId="2147483663"/>
          </pc:sldLayoutMkLst>
        </pc:sldLayoutChg>
        <pc:sldLayoutChg chg="del">
          <pc:chgData name="Kebba Jeng" userId="fe4cc296-ba7d-48a2-8799-89b58d218255" providerId="ADAL" clId="{FCBD5683-BE61-41A3-82A3-992D8F76D308}" dt="2022-04-07T18:08:53.545" v="249" actId="47"/>
          <pc:sldLayoutMkLst>
            <pc:docMk/>
            <pc:sldMasterMk cId="0" sldId="2147483661"/>
            <pc:sldLayoutMk cId="0" sldId="2147483664"/>
          </pc:sldLayoutMkLst>
        </pc:sldLayoutChg>
        <pc:sldLayoutChg chg="del">
          <pc:chgData name="Kebba Jeng" userId="fe4cc296-ba7d-48a2-8799-89b58d218255" providerId="ADAL" clId="{FCBD5683-BE61-41A3-82A3-992D8F76D308}" dt="2022-04-07T18:08:53.545" v="249" actId="47"/>
          <pc:sldLayoutMkLst>
            <pc:docMk/>
            <pc:sldMasterMk cId="0" sldId="2147483661"/>
            <pc:sldLayoutMk cId="0" sldId="2147483665"/>
          </pc:sldLayoutMkLst>
        </pc:sldLayoutChg>
        <pc:sldLayoutChg chg="del">
          <pc:chgData name="Kebba Jeng" userId="fe4cc296-ba7d-48a2-8799-89b58d218255" providerId="ADAL" clId="{FCBD5683-BE61-41A3-82A3-992D8F76D308}" dt="2022-04-07T18:08:53.545" v="249" actId="47"/>
          <pc:sldLayoutMkLst>
            <pc:docMk/>
            <pc:sldMasterMk cId="0" sldId="2147483661"/>
            <pc:sldLayoutMk cId="0" sldId="2147483666"/>
          </pc:sldLayoutMkLst>
        </pc:sldLayoutChg>
        <pc:sldLayoutChg chg="del">
          <pc:chgData name="Kebba Jeng" userId="fe4cc296-ba7d-48a2-8799-89b58d218255" providerId="ADAL" clId="{FCBD5683-BE61-41A3-82A3-992D8F76D308}" dt="2022-04-07T18:08:53.545" v="249" actId="47"/>
          <pc:sldLayoutMkLst>
            <pc:docMk/>
            <pc:sldMasterMk cId="0" sldId="2147483661"/>
            <pc:sldLayoutMk cId="0" sldId="2147483667"/>
          </pc:sldLayoutMkLst>
        </pc:sldLayoutChg>
        <pc:sldLayoutChg chg="del">
          <pc:chgData name="Kebba Jeng" userId="fe4cc296-ba7d-48a2-8799-89b58d218255" providerId="ADAL" clId="{FCBD5683-BE61-41A3-82A3-992D8F76D308}" dt="2022-04-07T18:08:53.545" v="249" actId="47"/>
          <pc:sldLayoutMkLst>
            <pc:docMk/>
            <pc:sldMasterMk cId="0" sldId="2147483661"/>
            <pc:sldLayoutMk cId="0" sldId="2147483668"/>
          </pc:sldLayoutMkLst>
        </pc:sldLayoutChg>
        <pc:sldLayoutChg chg="del">
          <pc:chgData name="Kebba Jeng" userId="fe4cc296-ba7d-48a2-8799-89b58d218255" providerId="ADAL" clId="{FCBD5683-BE61-41A3-82A3-992D8F76D308}" dt="2022-04-07T18:08:53.545" v="249" actId="47"/>
          <pc:sldLayoutMkLst>
            <pc:docMk/>
            <pc:sldMasterMk cId="0" sldId="2147483661"/>
            <pc:sldLayoutMk cId="0" sldId="2147483669"/>
          </pc:sldLayoutMkLst>
        </pc:sldLayoutChg>
        <pc:sldLayoutChg chg="del">
          <pc:chgData name="Kebba Jeng" userId="fe4cc296-ba7d-48a2-8799-89b58d218255" providerId="ADAL" clId="{FCBD5683-BE61-41A3-82A3-992D8F76D308}" dt="2022-04-07T18:08:53.545" v="249" actId="47"/>
          <pc:sldLayoutMkLst>
            <pc:docMk/>
            <pc:sldMasterMk cId="0" sldId="2147483661"/>
            <pc:sldLayoutMk cId="0" sldId="2147483670"/>
          </pc:sldLayoutMkLst>
        </pc:sldLayoutChg>
        <pc:sldLayoutChg chg="del">
          <pc:chgData name="Kebba Jeng" userId="fe4cc296-ba7d-48a2-8799-89b58d218255" providerId="ADAL" clId="{FCBD5683-BE61-41A3-82A3-992D8F76D308}" dt="2022-04-07T18:08:53.545" v="249" actId="47"/>
          <pc:sldLayoutMkLst>
            <pc:docMk/>
            <pc:sldMasterMk cId="0" sldId="2147483661"/>
            <pc:sldLayoutMk cId="0" sldId="2147483671"/>
          </pc:sldLayoutMkLst>
        </pc:sldLayoutChg>
        <pc:sldLayoutChg chg="del">
          <pc:chgData name="Kebba Jeng" userId="fe4cc296-ba7d-48a2-8799-89b58d218255" providerId="ADAL" clId="{FCBD5683-BE61-41A3-82A3-992D8F76D308}" dt="2022-04-07T18:08:53.545" v="249" actId="47"/>
          <pc:sldLayoutMkLst>
            <pc:docMk/>
            <pc:sldMasterMk cId="0" sldId="2147483661"/>
            <pc:sldLayoutMk cId="0" sldId="2147483672"/>
          </pc:sldLayoutMkLst>
        </pc:sldLayoutChg>
        <pc:sldLayoutChg chg="del">
          <pc:chgData name="Kebba Jeng" userId="fe4cc296-ba7d-48a2-8799-89b58d218255" providerId="ADAL" clId="{FCBD5683-BE61-41A3-82A3-992D8F76D308}" dt="2022-04-07T18:08:53.545" v="249" actId="47"/>
          <pc:sldLayoutMkLst>
            <pc:docMk/>
            <pc:sldMasterMk cId="0" sldId="2147483661"/>
            <pc:sldLayoutMk cId="0" sldId="2147483673"/>
          </pc:sldLayoutMkLst>
        </pc:sldLayoutChg>
      </pc:sldMasterChg>
    </pc:docChg>
  </pc:docChgLst>
  <pc:docChgLst>
    <pc:chgData name="Emil Pihl" userId="ca5f082a-1ab2-4eb2-a6d9-33a60d508bb2" providerId="ADAL" clId="{59236405-4971-4371-8CB3-85A70CBC069B}"/>
    <pc:docChg chg="modSld">
      <pc:chgData name="Emil Pihl" userId="ca5f082a-1ab2-4eb2-a6d9-33a60d508bb2" providerId="ADAL" clId="{59236405-4971-4371-8CB3-85A70CBC069B}" dt="2022-04-07T18:35:00.353" v="5" actId="20577"/>
      <pc:docMkLst>
        <pc:docMk/>
      </pc:docMkLst>
      <pc:sldChg chg="modSp mod">
        <pc:chgData name="Emil Pihl" userId="ca5f082a-1ab2-4eb2-a6d9-33a60d508bb2" providerId="ADAL" clId="{59236405-4971-4371-8CB3-85A70CBC069B}" dt="2022-04-07T18:23:29.980" v="0" actId="1076"/>
        <pc:sldMkLst>
          <pc:docMk/>
          <pc:sldMk cId="0" sldId="265"/>
        </pc:sldMkLst>
        <pc:picChg chg="mod">
          <ac:chgData name="Emil Pihl" userId="ca5f082a-1ab2-4eb2-a6d9-33a60d508bb2" providerId="ADAL" clId="{59236405-4971-4371-8CB3-85A70CBC069B}" dt="2022-04-07T18:23:29.980" v="0" actId="1076"/>
          <ac:picMkLst>
            <pc:docMk/>
            <pc:sldMk cId="0" sldId="265"/>
            <ac:picMk id="3" creationId="{4BDFF86A-3ECB-492F-A1C6-3DC21A864F06}"/>
          </ac:picMkLst>
        </pc:picChg>
      </pc:sldChg>
      <pc:sldChg chg="modSp mod">
        <pc:chgData name="Emil Pihl" userId="ca5f082a-1ab2-4eb2-a6d9-33a60d508bb2" providerId="ADAL" clId="{59236405-4971-4371-8CB3-85A70CBC069B}" dt="2022-04-07T18:31:26.309" v="2" actId="20577"/>
        <pc:sldMkLst>
          <pc:docMk/>
          <pc:sldMk cId="1706841322" sldId="2134803552"/>
        </pc:sldMkLst>
        <pc:spChg chg="mod">
          <ac:chgData name="Emil Pihl" userId="ca5f082a-1ab2-4eb2-a6d9-33a60d508bb2" providerId="ADAL" clId="{59236405-4971-4371-8CB3-85A70CBC069B}" dt="2022-04-07T18:31:26.309" v="2" actId="20577"/>
          <ac:spMkLst>
            <pc:docMk/>
            <pc:sldMk cId="1706841322" sldId="2134803552"/>
            <ac:spMk id="8" creationId="{D404991A-1372-4640-9ED2-E8D7C5B945B0}"/>
          </ac:spMkLst>
        </pc:spChg>
      </pc:sldChg>
      <pc:sldChg chg="modSp mod">
        <pc:chgData name="Emil Pihl" userId="ca5f082a-1ab2-4eb2-a6d9-33a60d508bb2" providerId="ADAL" clId="{59236405-4971-4371-8CB3-85A70CBC069B}" dt="2022-04-07T18:35:00.353" v="5" actId="20577"/>
        <pc:sldMkLst>
          <pc:docMk/>
          <pc:sldMk cId="2706517719" sldId="2134803571"/>
        </pc:sldMkLst>
        <pc:spChg chg="mod">
          <ac:chgData name="Emil Pihl" userId="ca5f082a-1ab2-4eb2-a6d9-33a60d508bb2" providerId="ADAL" clId="{59236405-4971-4371-8CB3-85A70CBC069B}" dt="2022-04-07T18:35:00.353" v="5" actId="20577"/>
          <ac:spMkLst>
            <pc:docMk/>
            <pc:sldMk cId="2706517719" sldId="2134803571"/>
            <ac:spMk id="9" creationId="{499140DB-6BC3-4EDD-92D3-1911C8E3BD65}"/>
          </ac:spMkLst>
        </pc:spChg>
      </pc:sldChg>
    </pc:docChg>
  </pc:docChgLst>
  <pc:docChgLst>
    <pc:chgData name="Emil Pihl" userId="ca5f082a-1ab2-4eb2-a6d9-33a60d508bb2" providerId="ADAL" clId="{7272477E-72D5-4C35-90EB-52AED0566E58}"/>
    <pc:docChg chg="custSel modSld">
      <pc:chgData name="Emil Pihl" userId="ca5f082a-1ab2-4eb2-a6d9-33a60d508bb2" providerId="ADAL" clId="{7272477E-72D5-4C35-90EB-52AED0566E58}" dt="2022-03-30T09:38:00.570" v="16" actId="20577"/>
      <pc:docMkLst>
        <pc:docMk/>
      </pc:docMkLst>
      <pc:sldChg chg="delSp modSp mod">
        <pc:chgData name="Emil Pihl" userId="ca5f082a-1ab2-4eb2-a6d9-33a60d508bb2" providerId="ADAL" clId="{7272477E-72D5-4C35-90EB-52AED0566E58}" dt="2022-03-30T09:38:00.570" v="16" actId="20577"/>
        <pc:sldMkLst>
          <pc:docMk/>
          <pc:sldMk cId="0" sldId="265"/>
        </pc:sldMkLst>
        <pc:spChg chg="mod">
          <ac:chgData name="Emil Pihl" userId="ca5f082a-1ab2-4eb2-a6d9-33a60d508bb2" providerId="ADAL" clId="{7272477E-72D5-4C35-90EB-52AED0566E58}" dt="2022-03-30T09:38:00.570" v="16" actId="20577"/>
          <ac:spMkLst>
            <pc:docMk/>
            <pc:sldMk cId="0" sldId="265"/>
            <ac:spMk id="18" creationId="{78814215-0367-481C-9C55-4D1E578BA9A6}"/>
          </ac:spMkLst>
        </pc:spChg>
        <pc:spChg chg="del">
          <ac:chgData name="Emil Pihl" userId="ca5f082a-1ab2-4eb2-a6d9-33a60d508bb2" providerId="ADAL" clId="{7272477E-72D5-4C35-90EB-52AED0566E58}" dt="2022-03-30T09:03:37.022" v="6" actId="478"/>
          <ac:spMkLst>
            <pc:docMk/>
            <pc:sldMk cId="0" sldId="265"/>
            <ac:spMk id="21" creationId="{A5D58EE7-4F8C-4113-BC04-BE70374C11FF}"/>
          </ac:spMkLst>
        </pc:spChg>
        <pc:picChg chg="mod">
          <ac:chgData name="Emil Pihl" userId="ca5f082a-1ab2-4eb2-a6d9-33a60d508bb2" providerId="ADAL" clId="{7272477E-72D5-4C35-90EB-52AED0566E58}" dt="2022-03-30T09:20:51.466" v="7" actId="14826"/>
          <ac:picMkLst>
            <pc:docMk/>
            <pc:sldMk cId="0" sldId="265"/>
            <ac:picMk id="3" creationId="{4BDFF86A-3ECB-492F-A1C6-3DC21A864F06}"/>
          </ac:picMkLst>
        </pc:picChg>
      </pc:sldChg>
      <pc:sldChg chg="modSp mod">
        <pc:chgData name="Emil Pihl" userId="ca5f082a-1ab2-4eb2-a6d9-33a60d508bb2" providerId="ADAL" clId="{7272477E-72D5-4C35-90EB-52AED0566E58}" dt="2022-03-30T09:20:51.595" v="9" actId="27636"/>
        <pc:sldMkLst>
          <pc:docMk/>
          <pc:sldMk cId="355669928" sldId="2134803547"/>
        </pc:sldMkLst>
        <pc:spChg chg="mod">
          <ac:chgData name="Emil Pihl" userId="ca5f082a-1ab2-4eb2-a6d9-33a60d508bb2" providerId="ADAL" clId="{7272477E-72D5-4C35-90EB-52AED0566E58}" dt="2022-03-30T09:20:51.595" v="9" actId="27636"/>
          <ac:spMkLst>
            <pc:docMk/>
            <pc:sldMk cId="355669928" sldId="2134803547"/>
            <ac:spMk id="1720" creationId="{00000000-0000-0000-0000-000000000000}"/>
          </ac:spMkLst>
        </pc:spChg>
      </pc:sldChg>
      <pc:sldChg chg="delSp modSp mod">
        <pc:chgData name="Emil Pihl" userId="ca5f082a-1ab2-4eb2-a6d9-33a60d508bb2" providerId="ADAL" clId="{7272477E-72D5-4C35-90EB-52AED0566E58}" dt="2022-03-30T09:03:18.190" v="5" actId="478"/>
        <pc:sldMkLst>
          <pc:docMk/>
          <pc:sldMk cId="1706841322" sldId="2134803552"/>
        </pc:sldMkLst>
        <pc:spChg chg="mod">
          <ac:chgData name="Emil Pihl" userId="ca5f082a-1ab2-4eb2-a6d9-33a60d508bb2" providerId="ADAL" clId="{7272477E-72D5-4C35-90EB-52AED0566E58}" dt="2022-03-30T09:03:01.214" v="4" actId="20577"/>
          <ac:spMkLst>
            <pc:docMk/>
            <pc:sldMk cId="1706841322" sldId="2134803552"/>
            <ac:spMk id="10" creationId="{A390D919-707F-41BF-A570-908716377120}"/>
          </ac:spMkLst>
        </pc:spChg>
        <pc:spChg chg="del mod">
          <ac:chgData name="Emil Pihl" userId="ca5f082a-1ab2-4eb2-a6d9-33a60d508bb2" providerId="ADAL" clId="{7272477E-72D5-4C35-90EB-52AED0566E58}" dt="2022-03-30T09:03:18.190" v="5" actId="478"/>
          <ac:spMkLst>
            <pc:docMk/>
            <pc:sldMk cId="1706841322" sldId="2134803552"/>
            <ac:spMk id="12" creationId="{41940A20-1F4B-4754-9584-F6383EBE7F0C}"/>
          </ac:spMkLst>
        </pc:spChg>
      </pc:sldChg>
    </pc:docChg>
  </pc:docChgLst>
  <pc:docChgLst>
    <pc:chgData name="Kebba Jeng" userId="fe4cc296-ba7d-48a2-8799-89b58d218255" providerId="ADAL" clId="{253D94E7-442D-460C-9F4C-18558C0A0590}"/>
    <pc:docChg chg="undo custSel addSld modSld sldOrd modSection">
      <pc:chgData name="Kebba Jeng" userId="fe4cc296-ba7d-48a2-8799-89b58d218255" providerId="ADAL" clId="{253D94E7-442D-460C-9F4C-18558C0A0590}" dt="2022-05-29T11:05:18.760" v="2337" actId="20577"/>
      <pc:docMkLst>
        <pc:docMk/>
      </pc:docMkLst>
      <pc:sldChg chg="addSp delSp modSp mod">
        <pc:chgData name="Kebba Jeng" userId="fe4cc296-ba7d-48a2-8799-89b58d218255" providerId="ADAL" clId="{253D94E7-442D-460C-9F4C-18558C0A0590}" dt="2022-05-21T19:54:53.037" v="27" actId="21"/>
        <pc:sldMkLst>
          <pc:docMk/>
          <pc:sldMk cId="1056661577" sldId="2134803553"/>
        </pc:sldMkLst>
        <pc:spChg chg="mod">
          <ac:chgData name="Kebba Jeng" userId="fe4cc296-ba7d-48a2-8799-89b58d218255" providerId="ADAL" clId="{253D94E7-442D-460C-9F4C-18558C0A0590}" dt="2022-05-21T19:54:38.664" v="19" actId="20577"/>
          <ac:spMkLst>
            <pc:docMk/>
            <pc:sldMk cId="1056661577" sldId="2134803553"/>
            <ac:spMk id="5" creationId="{2549C9D4-2731-49F7-B59D-A504666E86DE}"/>
          </ac:spMkLst>
        </pc:spChg>
        <pc:spChg chg="mod">
          <ac:chgData name="Kebba Jeng" userId="fe4cc296-ba7d-48a2-8799-89b58d218255" providerId="ADAL" clId="{253D94E7-442D-460C-9F4C-18558C0A0590}" dt="2022-05-21T19:18:37.623" v="11"/>
          <ac:spMkLst>
            <pc:docMk/>
            <pc:sldMk cId="1056661577" sldId="2134803553"/>
            <ac:spMk id="209" creationId="{D1660BFA-FF7F-E289-BB78-833E30F19019}"/>
          </ac:spMkLst>
        </pc:spChg>
        <pc:spChg chg="mod">
          <ac:chgData name="Kebba Jeng" userId="fe4cc296-ba7d-48a2-8799-89b58d218255" providerId="ADAL" clId="{253D94E7-442D-460C-9F4C-18558C0A0590}" dt="2022-05-21T19:18:37.623" v="11"/>
          <ac:spMkLst>
            <pc:docMk/>
            <pc:sldMk cId="1056661577" sldId="2134803553"/>
            <ac:spMk id="210" creationId="{3A582FC9-7344-AE5F-8B09-42000D6E49A1}"/>
          </ac:spMkLst>
        </pc:spChg>
        <pc:spChg chg="mod">
          <ac:chgData name="Kebba Jeng" userId="fe4cc296-ba7d-48a2-8799-89b58d218255" providerId="ADAL" clId="{253D94E7-442D-460C-9F4C-18558C0A0590}" dt="2022-05-21T19:18:37.623" v="11"/>
          <ac:spMkLst>
            <pc:docMk/>
            <pc:sldMk cId="1056661577" sldId="2134803553"/>
            <ac:spMk id="211" creationId="{4B6EC801-D398-C4A2-DD70-8E3159BCC4C0}"/>
          </ac:spMkLst>
        </pc:spChg>
        <pc:spChg chg="mod">
          <ac:chgData name="Kebba Jeng" userId="fe4cc296-ba7d-48a2-8799-89b58d218255" providerId="ADAL" clId="{253D94E7-442D-460C-9F4C-18558C0A0590}" dt="2022-05-21T19:18:37.623" v="11"/>
          <ac:spMkLst>
            <pc:docMk/>
            <pc:sldMk cId="1056661577" sldId="2134803553"/>
            <ac:spMk id="212" creationId="{6F231F11-CC6C-90C1-CC28-DAB3EAB9C90E}"/>
          </ac:spMkLst>
        </pc:spChg>
        <pc:spChg chg="mod">
          <ac:chgData name="Kebba Jeng" userId="fe4cc296-ba7d-48a2-8799-89b58d218255" providerId="ADAL" clId="{253D94E7-442D-460C-9F4C-18558C0A0590}" dt="2022-05-21T19:18:37.623" v="11"/>
          <ac:spMkLst>
            <pc:docMk/>
            <pc:sldMk cId="1056661577" sldId="2134803553"/>
            <ac:spMk id="213" creationId="{F0000188-6776-6572-7B22-9DAE231D3A65}"/>
          </ac:spMkLst>
        </pc:spChg>
        <pc:spChg chg="mod">
          <ac:chgData name="Kebba Jeng" userId="fe4cc296-ba7d-48a2-8799-89b58d218255" providerId="ADAL" clId="{253D94E7-442D-460C-9F4C-18558C0A0590}" dt="2022-05-21T19:18:37.623" v="11"/>
          <ac:spMkLst>
            <pc:docMk/>
            <pc:sldMk cId="1056661577" sldId="2134803553"/>
            <ac:spMk id="214" creationId="{28C83717-E818-5434-D18F-A33072382043}"/>
          </ac:spMkLst>
        </pc:spChg>
        <pc:spChg chg="mod">
          <ac:chgData name="Kebba Jeng" userId="fe4cc296-ba7d-48a2-8799-89b58d218255" providerId="ADAL" clId="{253D94E7-442D-460C-9F4C-18558C0A0590}" dt="2022-05-21T19:18:37.623" v="11"/>
          <ac:spMkLst>
            <pc:docMk/>
            <pc:sldMk cId="1056661577" sldId="2134803553"/>
            <ac:spMk id="215" creationId="{9E73AD60-BE7D-11B9-7563-9C6CFD32BD2E}"/>
          </ac:spMkLst>
        </pc:spChg>
        <pc:spChg chg="mod">
          <ac:chgData name="Kebba Jeng" userId="fe4cc296-ba7d-48a2-8799-89b58d218255" providerId="ADAL" clId="{253D94E7-442D-460C-9F4C-18558C0A0590}" dt="2022-05-21T19:18:37.623" v="11"/>
          <ac:spMkLst>
            <pc:docMk/>
            <pc:sldMk cId="1056661577" sldId="2134803553"/>
            <ac:spMk id="216" creationId="{BBC96883-336B-D4EE-43A6-8A8E60D74500}"/>
          </ac:spMkLst>
        </pc:spChg>
        <pc:spChg chg="mod">
          <ac:chgData name="Kebba Jeng" userId="fe4cc296-ba7d-48a2-8799-89b58d218255" providerId="ADAL" clId="{253D94E7-442D-460C-9F4C-18558C0A0590}" dt="2022-05-21T19:18:37.623" v="11"/>
          <ac:spMkLst>
            <pc:docMk/>
            <pc:sldMk cId="1056661577" sldId="2134803553"/>
            <ac:spMk id="217" creationId="{B21E761C-1D91-05DD-44AB-88D3697549EA}"/>
          </ac:spMkLst>
        </pc:spChg>
        <pc:spChg chg="mod">
          <ac:chgData name="Kebba Jeng" userId="fe4cc296-ba7d-48a2-8799-89b58d218255" providerId="ADAL" clId="{253D94E7-442D-460C-9F4C-18558C0A0590}" dt="2022-05-21T19:18:37.623" v="11"/>
          <ac:spMkLst>
            <pc:docMk/>
            <pc:sldMk cId="1056661577" sldId="2134803553"/>
            <ac:spMk id="218" creationId="{29EE7945-AF95-CF11-34C9-1613070B40D4}"/>
          </ac:spMkLst>
        </pc:spChg>
        <pc:spChg chg="mod">
          <ac:chgData name="Kebba Jeng" userId="fe4cc296-ba7d-48a2-8799-89b58d218255" providerId="ADAL" clId="{253D94E7-442D-460C-9F4C-18558C0A0590}" dt="2022-05-21T19:18:37.623" v="11"/>
          <ac:spMkLst>
            <pc:docMk/>
            <pc:sldMk cId="1056661577" sldId="2134803553"/>
            <ac:spMk id="219" creationId="{604BAAF8-A149-2659-8C9A-FB231DD907C8}"/>
          </ac:spMkLst>
        </pc:spChg>
        <pc:spChg chg="mod">
          <ac:chgData name="Kebba Jeng" userId="fe4cc296-ba7d-48a2-8799-89b58d218255" providerId="ADAL" clId="{253D94E7-442D-460C-9F4C-18558C0A0590}" dt="2022-05-21T19:18:37.623" v="11"/>
          <ac:spMkLst>
            <pc:docMk/>
            <pc:sldMk cId="1056661577" sldId="2134803553"/>
            <ac:spMk id="220" creationId="{70894E39-E493-30EF-49AD-5C6B152EF7A8}"/>
          </ac:spMkLst>
        </pc:spChg>
        <pc:spChg chg="mod">
          <ac:chgData name="Kebba Jeng" userId="fe4cc296-ba7d-48a2-8799-89b58d218255" providerId="ADAL" clId="{253D94E7-442D-460C-9F4C-18558C0A0590}" dt="2022-05-21T19:18:37.623" v="11"/>
          <ac:spMkLst>
            <pc:docMk/>
            <pc:sldMk cId="1056661577" sldId="2134803553"/>
            <ac:spMk id="221" creationId="{998A3A57-F879-3CB4-CD22-24480E3ED20A}"/>
          </ac:spMkLst>
        </pc:spChg>
        <pc:spChg chg="mod">
          <ac:chgData name="Kebba Jeng" userId="fe4cc296-ba7d-48a2-8799-89b58d218255" providerId="ADAL" clId="{253D94E7-442D-460C-9F4C-18558C0A0590}" dt="2022-05-21T19:18:37.623" v="11"/>
          <ac:spMkLst>
            <pc:docMk/>
            <pc:sldMk cId="1056661577" sldId="2134803553"/>
            <ac:spMk id="222" creationId="{D75DE926-B360-95DA-4157-534AF29589BC}"/>
          </ac:spMkLst>
        </pc:spChg>
        <pc:spChg chg="mod">
          <ac:chgData name="Kebba Jeng" userId="fe4cc296-ba7d-48a2-8799-89b58d218255" providerId="ADAL" clId="{253D94E7-442D-460C-9F4C-18558C0A0590}" dt="2022-05-21T19:18:37.623" v="11"/>
          <ac:spMkLst>
            <pc:docMk/>
            <pc:sldMk cId="1056661577" sldId="2134803553"/>
            <ac:spMk id="223" creationId="{919152BF-03EC-AC90-CA57-874B35B3CFEA}"/>
          </ac:spMkLst>
        </pc:spChg>
        <pc:spChg chg="mod">
          <ac:chgData name="Kebba Jeng" userId="fe4cc296-ba7d-48a2-8799-89b58d218255" providerId="ADAL" clId="{253D94E7-442D-460C-9F4C-18558C0A0590}" dt="2022-05-21T19:18:37.623" v="11"/>
          <ac:spMkLst>
            <pc:docMk/>
            <pc:sldMk cId="1056661577" sldId="2134803553"/>
            <ac:spMk id="224" creationId="{C20EAFF2-0347-C648-C993-580E0D401CF6}"/>
          </ac:spMkLst>
        </pc:spChg>
        <pc:spChg chg="mod">
          <ac:chgData name="Kebba Jeng" userId="fe4cc296-ba7d-48a2-8799-89b58d218255" providerId="ADAL" clId="{253D94E7-442D-460C-9F4C-18558C0A0590}" dt="2022-05-21T19:18:37.623" v="11"/>
          <ac:spMkLst>
            <pc:docMk/>
            <pc:sldMk cId="1056661577" sldId="2134803553"/>
            <ac:spMk id="225" creationId="{A273F002-F3E3-31EB-9A77-8B6F488FCC40}"/>
          </ac:spMkLst>
        </pc:spChg>
        <pc:spChg chg="mod">
          <ac:chgData name="Kebba Jeng" userId="fe4cc296-ba7d-48a2-8799-89b58d218255" providerId="ADAL" clId="{253D94E7-442D-460C-9F4C-18558C0A0590}" dt="2022-05-21T19:18:37.623" v="11"/>
          <ac:spMkLst>
            <pc:docMk/>
            <pc:sldMk cId="1056661577" sldId="2134803553"/>
            <ac:spMk id="226" creationId="{05FB8E31-4318-29E7-F535-CBF58B311436}"/>
          </ac:spMkLst>
        </pc:spChg>
        <pc:spChg chg="mod">
          <ac:chgData name="Kebba Jeng" userId="fe4cc296-ba7d-48a2-8799-89b58d218255" providerId="ADAL" clId="{253D94E7-442D-460C-9F4C-18558C0A0590}" dt="2022-05-21T19:18:37.623" v="11"/>
          <ac:spMkLst>
            <pc:docMk/>
            <pc:sldMk cId="1056661577" sldId="2134803553"/>
            <ac:spMk id="227" creationId="{0F973C10-0EC0-D0BB-5C0D-383AD7E6C9E3}"/>
          </ac:spMkLst>
        </pc:spChg>
        <pc:spChg chg="mod">
          <ac:chgData name="Kebba Jeng" userId="fe4cc296-ba7d-48a2-8799-89b58d218255" providerId="ADAL" clId="{253D94E7-442D-460C-9F4C-18558C0A0590}" dt="2022-05-21T19:18:37.623" v="11"/>
          <ac:spMkLst>
            <pc:docMk/>
            <pc:sldMk cId="1056661577" sldId="2134803553"/>
            <ac:spMk id="228" creationId="{C35E48A4-72F3-A1E2-EDDE-023D2C5C40FE}"/>
          </ac:spMkLst>
        </pc:spChg>
        <pc:spChg chg="mod">
          <ac:chgData name="Kebba Jeng" userId="fe4cc296-ba7d-48a2-8799-89b58d218255" providerId="ADAL" clId="{253D94E7-442D-460C-9F4C-18558C0A0590}" dt="2022-05-21T19:18:37.623" v="11"/>
          <ac:spMkLst>
            <pc:docMk/>
            <pc:sldMk cId="1056661577" sldId="2134803553"/>
            <ac:spMk id="229" creationId="{30DE7288-BF85-F51A-178D-BD729F65CC9C}"/>
          </ac:spMkLst>
        </pc:spChg>
        <pc:spChg chg="mod">
          <ac:chgData name="Kebba Jeng" userId="fe4cc296-ba7d-48a2-8799-89b58d218255" providerId="ADAL" clId="{253D94E7-442D-460C-9F4C-18558C0A0590}" dt="2022-05-21T19:18:37.623" v="11"/>
          <ac:spMkLst>
            <pc:docMk/>
            <pc:sldMk cId="1056661577" sldId="2134803553"/>
            <ac:spMk id="230" creationId="{97DE0243-8A84-5093-CCFA-E973DCA9DE45}"/>
          </ac:spMkLst>
        </pc:spChg>
        <pc:spChg chg="mod">
          <ac:chgData name="Kebba Jeng" userId="fe4cc296-ba7d-48a2-8799-89b58d218255" providerId="ADAL" clId="{253D94E7-442D-460C-9F4C-18558C0A0590}" dt="2022-05-21T19:18:37.623" v="11"/>
          <ac:spMkLst>
            <pc:docMk/>
            <pc:sldMk cId="1056661577" sldId="2134803553"/>
            <ac:spMk id="231" creationId="{C331F158-20BF-4AC3-A676-88DCEF80347C}"/>
          </ac:spMkLst>
        </pc:spChg>
        <pc:spChg chg="mod">
          <ac:chgData name="Kebba Jeng" userId="fe4cc296-ba7d-48a2-8799-89b58d218255" providerId="ADAL" clId="{253D94E7-442D-460C-9F4C-18558C0A0590}" dt="2022-05-21T19:18:37.623" v="11"/>
          <ac:spMkLst>
            <pc:docMk/>
            <pc:sldMk cId="1056661577" sldId="2134803553"/>
            <ac:spMk id="232" creationId="{51AB804D-9C07-427C-E518-22747BBFE4FD}"/>
          </ac:spMkLst>
        </pc:spChg>
        <pc:spChg chg="mod">
          <ac:chgData name="Kebba Jeng" userId="fe4cc296-ba7d-48a2-8799-89b58d218255" providerId="ADAL" clId="{253D94E7-442D-460C-9F4C-18558C0A0590}" dt="2022-05-21T19:18:37.623" v="11"/>
          <ac:spMkLst>
            <pc:docMk/>
            <pc:sldMk cId="1056661577" sldId="2134803553"/>
            <ac:spMk id="233" creationId="{AA4CE267-BBD4-F090-1503-A2ABCE2F2475}"/>
          </ac:spMkLst>
        </pc:spChg>
        <pc:spChg chg="mod">
          <ac:chgData name="Kebba Jeng" userId="fe4cc296-ba7d-48a2-8799-89b58d218255" providerId="ADAL" clId="{253D94E7-442D-460C-9F4C-18558C0A0590}" dt="2022-05-21T19:18:37.623" v="11"/>
          <ac:spMkLst>
            <pc:docMk/>
            <pc:sldMk cId="1056661577" sldId="2134803553"/>
            <ac:spMk id="234" creationId="{8927AC6B-BDB2-1CF4-AE0B-5465E78B56AC}"/>
          </ac:spMkLst>
        </pc:spChg>
        <pc:spChg chg="mod">
          <ac:chgData name="Kebba Jeng" userId="fe4cc296-ba7d-48a2-8799-89b58d218255" providerId="ADAL" clId="{253D94E7-442D-460C-9F4C-18558C0A0590}" dt="2022-05-21T19:18:37.623" v="11"/>
          <ac:spMkLst>
            <pc:docMk/>
            <pc:sldMk cId="1056661577" sldId="2134803553"/>
            <ac:spMk id="235" creationId="{5AA849B6-D119-215C-A60F-30BC38CC5DCF}"/>
          </ac:spMkLst>
        </pc:spChg>
        <pc:spChg chg="mod">
          <ac:chgData name="Kebba Jeng" userId="fe4cc296-ba7d-48a2-8799-89b58d218255" providerId="ADAL" clId="{253D94E7-442D-460C-9F4C-18558C0A0590}" dt="2022-05-21T19:18:37.623" v="11"/>
          <ac:spMkLst>
            <pc:docMk/>
            <pc:sldMk cId="1056661577" sldId="2134803553"/>
            <ac:spMk id="236" creationId="{58306F2A-6B25-E959-52D9-D7B230BF5F92}"/>
          </ac:spMkLst>
        </pc:spChg>
        <pc:spChg chg="mod">
          <ac:chgData name="Kebba Jeng" userId="fe4cc296-ba7d-48a2-8799-89b58d218255" providerId="ADAL" clId="{253D94E7-442D-460C-9F4C-18558C0A0590}" dt="2022-05-21T19:18:37.623" v="11"/>
          <ac:spMkLst>
            <pc:docMk/>
            <pc:sldMk cId="1056661577" sldId="2134803553"/>
            <ac:spMk id="237" creationId="{25F4D74D-6EC0-6488-A703-1018EC7291D7}"/>
          </ac:spMkLst>
        </pc:spChg>
        <pc:spChg chg="mod">
          <ac:chgData name="Kebba Jeng" userId="fe4cc296-ba7d-48a2-8799-89b58d218255" providerId="ADAL" clId="{253D94E7-442D-460C-9F4C-18558C0A0590}" dt="2022-05-21T19:18:37.623" v="11"/>
          <ac:spMkLst>
            <pc:docMk/>
            <pc:sldMk cId="1056661577" sldId="2134803553"/>
            <ac:spMk id="238" creationId="{8DD978F8-8294-7EC7-675B-92F31B8045B3}"/>
          </ac:spMkLst>
        </pc:spChg>
        <pc:spChg chg="mod">
          <ac:chgData name="Kebba Jeng" userId="fe4cc296-ba7d-48a2-8799-89b58d218255" providerId="ADAL" clId="{253D94E7-442D-460C-9F4C-18558C0A0590}" dt="2022-05-21T19:18:37.623" v="11"/>
          <ac:spMkLst>
            <pc:docMk/>
            <pc:sldMk cId="1056661577" sldId="2134803553"/>
            <ac:spMk id="239" creationId="{30CAE50B-2DA0-65DF-56AA-4F041263DF8B}"/>
          </ac:spMkLst>
        </pc:spChg>
        <pc:spChg chg="mod">
          <ac:chgData name="Kebba Jeng" userId="fe4cc296-ba7d-48a2-8799-89b58d218255" providerId="ADAL" clId="{253D94E7-442D-460C-9F4C-18558C0A0590}" dt="2022-05-21T19:18:37.623" v="11"/>
          <ac:spMkLst>
            <pc:docMk/>
            <pc:sldMk cId="1056661577" sldId="2134803553"/>
            <ac:spMk id="240" creationId="{F26E02F6-903C-F628-8DBC-487C0131A2DD}"/>
          </ac:spMkLst>
        </pc:spChg>
        <pc:spChg chg="mod">
          <ac:chgData name="Kebba Jeng" userId="fe4cc296-ba7d-48a2-8799-89b58d218255" providerId="ADAL" clId="{253D94E7-442D-460C-9F4C-18558C0A0590}" dt="2022-05-21T19:18:37.623" v="11"/>
          <ac:spMkLst>
            <pc:docMk/>
            <pc:sldMk cId="1056661577" sldId="2134803553"/>
            <ac:spMk id="241" creationId="{156EE180-A2A7-FAB6-216A-8DDE1CE8BFC9}"/>
          </ac:spMkLst>
        </pc:spChg>
        <pc:spChg chg="mod">
          <ac:chgData name="Kebba Jeng" userId="fe4cc296-ba7d-48a2-8799-89b58d218255" providerId="ADAL" clId="{253D94E7-442D-460C-9F4C-18558C0A0590}" dt="2022-05-21T19:18:37.623" v="11"/>
          <ac:spMkLst>
            <pc:docMk/>
            <pc:sldMk cId="1056661577" sldId="2134803553"/>
            <ac:spMk id="242" creationId="{0A8AC1DA-86E5-C88B-8CE2-E64CBB36C8E4}"/>
          </ac:spMkLst>
        </pc:spChg>
        <pc:spChg chg="mod">
          <ac:chgData name="Kebba Jeng" userId="fe4cc296-ba7d-48a2-8799-89b58d218255" providerId="ADAL" clId="{253D94E7-442D-460C-9F4C-18558C0A0590}" dt="2022-05-21T19:18:37.623" v="11"/>
          <ac:spMkLst>
            <pc:docMk/>
            <pc:sldMk cId="1056661577" sldId="2134803553"/>
            <ac:spMk id="243" creationId="{40DE47E3-71C1-1896-FBBC-D9B55FB57021}"/>
          </ac:spMkLst>
        </pc:spChg>
        <pc:spChg chg="mod">
          <ac:chgData name="Kebba Jeng" userId="fe4cc296-ba7d-48a2-8799-89b58d218255" providerId="ADAL" clId="{253D94E7-442D-460C-9F4C-18558C0A0590}" dt="2022-05-21T19:18:37.623" v="11"/>
          <ac:spMkLst>
            <pc:docMk/>
            <pc:sldMk cId="1056661577" sldId="2134803553"/>
            <ac:spMk id="244" creationId="{76C20A42-3F58-0399-E25E-6AE9ADC22959}"/>
          </ac:spMkLst>
        </pc:spChg>
        <pc:spChg chg="mod">
          <ac:chgData name="Kebba Jeng" userId="fe4cc296-ba7d-48a2-8799-89b58d218255" providerId="ADAL" clId="{253D94E7-442D-460C-9F4C-18558C0A0590}" dt="2022-05-21T19:18:37.623" v="11"/>
          <ac:spMkLst>
            <pc:docMk/>
            <pc:sldMk cId="1056661577" sldId="2134803553"/>
            <ac:spMk id="245" creationId="{7402081B-0FAB-8A69-302A-F12A4A035442}"/>
          </ac:spMkLst>
        </pc:spChg>
        <pc:spChg chg="mod">
          <ac:chgData name="Kebba Jeng" userId="fe4cc296-ba7d-48a2-8799-89b58d218255" providerId="ADAL" clId="{253D94E7-442D-460C-9F4C-18558C0A0590}" dt="2022-05-21T19:18:37.623" v="11"/>
          <ac:spMkLst>
            <pc:docMk/>
            <pc:sldMk cId="1056661577" sldId="2134803553"/>
            <ac:spMk id="246" creationId="{10210C27-B71B-0AAB-3B33-D74996421AF4}"/>
          </ac:spMkLst>
        </pc:spChg>
        <pc:spChg chg="mod">
          <ac:chgData name="Kebba Jeng" userId="fe4cc296-ba7d-48a2-8799-89b58d218255" providerId="ADAL" clId="{253D94E7-442D-460C-9F4C-18558C0A0590}" dt="2022-05-21T19:18:37.623" v="11"/>
          <ac:spMkLst>
            <pc:docMk/>
            <pc:sldMk cId="1056661577" sldId="2134803553"/>
            <ac:spMk id="247" creationId="{F052F1BF-BF50-2B2D-AD08-9475474AE473}"/>
          </ac:spMkLst>
        </pc:spChg>
        <pc:spChg chg="mod">
          <ac:chgData name="Kebba Jeng" userId="fe4cc296-ba7d-48a2-8799-89b58d218255" providerId="ADAL" clId="{253D94E7-442D-460C-9F4C-18558C0A0590}" dt="2022-05-21T19:18:37.623" v="11"/>
          <ac:spMkLst>
            <pc:docMk/>
            <pc:sldMk cId="1056661577" sldId="2134803553"/>
            <ac:spMk id="248" creationId="{A127224B-8EA3-84F7-CC83-99E84F708552}"/>
          </ac:spMkLst>
        </pc:spChg>
        <pc:spChg chg="mod">
          <ac:chgData name="Kebba Jeng" userId="fe4cc296-ba7d-48a2-8799-89b58d218255" providerId="ADAL" clId="{253D94E7-442D-460C-9F4C-18558C0A0590}" dt="2022-05-21T19:18:37.623" v="11"/>
          <ac:spMkLst>
            <pc:docMk/>
            <pc:sldMk cId="1056661577" sldId="2134803553"/>
            <ac:spMk id="249" creationId="{511AA6C1-E249-709E-786B-DEC4FF40D742}"/>
          </ac:spMkLst>
        </pc:spChg>
        <pc:spChg chg="mod">
          <ac:chgData name="Kebba Jeng" userId="fe4cc296-ba7d-48a2-8799-89b58d218255" providerId="ADAL" clId="{253D94E7-442D-460C-9F4C-18558C0A0590}" dt="2022-05-21T19:18:37.623" v="11"/>
          <ac:spMkLst>
            <pc:docMk/>
            <pc:sldMk cId="1056661577" sldId="2134803553"/>
            <ac:spMk id="250" creationId="{3C35D9E2-91EC-231A-FFF7-CA68002F93F0}"/>
          </ac:spMkLst>
        </pc:spChg>
        <pc:spChg chg="mod">
          <ac:chgData name="Kebba Jeng" userId="fe4cc296-ba7d-48a2-8799-89b58d218255" providerId="ADAL" clId="{253D94E7-442D-460C-9F4C-18558C0A0590}" dt="2022-05-21T19:18:37.623" v="11"/>
          <ac:spMkLst>
            <pc:docMk/>
            <pc:sldMk cId="1056661577" sldId="2134803553"/>
            <ac:spMk id="251" creationId="{DE5BF2FA-08F6-E1C2-7832-32AFF07AC57A}"/>
          </ac:spMkLst>
        </pc:spChg>
        <pc:spChg chg="mod">
          <ac:chgData name="Kebba Jeng" userId="fe4cc296-ba7d-48a2-8799-89b58d218255" providerId="ADAL" clId="{253D94E7-442D-460C-9F4C-18558C0A0590}" dt="2022-05-21T19:18:37.623" v="11"/>
          <ac:spMkLst>
            <pc:docMk/>
            <pc:sldMk cId="1056661577" sldId="2134803553"/>
            <ac:spMk id="252" creationId="{C30F427D-12C2-B312-387B-53F11D21718A}"/>
          </ac:spMkLst>
        </pc:spChg>
        <pc:spChg chg="mod">
          <ac:chgData name="Kebba Jeng" userId="fe4cc296-ba7d-48a2-8799-89b58d218255" providerId="ADAL" clId="{253D94E7-442D-460C-9F4C-18558C0A0590}" dt="2022-05-21T19:18:37.623" v="11"/>
          <ac:spMkLst>
            <pc:docMk/>
            <pc:sldMk cId="1056661577" sldId="2134803553"/>
            <ac:spMk id="253" creationId="{BBD70CE2-1359-F4B8-5C62-00D2494C5396}"/>
          </ac:spMkLst>
        </pc:spChg>
        <pc:spChg chg="mod">
          <ac:chgData name="Kebba Jeng" userId="fe4cc296-ba7d-48a2-8799-89b58d218255" providerId="ADAL" clId="{253D94E7-442D-460C-9F4C-18558C0A0590}" dt="2022-05-21T19:18:37.623" v="11"/>
          <ac:spMkLst>
            <pc:docMk/>
            <pc:sldMk cId="1056661577" sldId="2134803553"/>
            <ac:spMk id="254" creationId="{810D45F8-B017-0062-94AD-120F12ACEED1}"/>
          </ac:spMkLst>
        </pc:spChg>
        <pc:spChg chg="mod">
          <ac:chgData name="Kebba Jeng" userId="fe4cc296-ba7d-48a2-8799-89b58d218255" providerId="ADAL" clId="{253D94E7-442D-460C-9F4C-18558C0A0590}" dt="2022-05-21T19:18:37.623" v="11"/>
          <ac:spMkLst>
            <pc:docMk/>
            <pc:sldMk cId="1056661577" sldId="2134803553"/>
            <ac:spMk id="255" creationId="{4B95F677-90CE-17DF-1B28-8CB89B0EFD5C}"/>
          </ac:spMkLst>
        </pc:spChg>
        <pc:spChg chg="mod">
          <ac:chgData name="Kebba Jeng" userId="fe4cc296-ba7d-48a2-8799-89b58d218255" providerId="ADAL" clId="{253D94E7-442D-460C-9F4C-18558C0A0590}" dt="2022-05-21T19:18:37.623" v="11"/>
          <ac:spMkLst>
            <pc:docMk/>
            <pc:sldMk cId="1056661577" sldId="2134803553"/>
            <ac:spMk id="256" creationId="{42BDE5E8-8000-02EF-2048-E1C05D9068AC}"/>
          </ac:spMkLst>
        </pc:spChg>
        <pc:spChg chg="mod">
          <ac:chgData name="Kebba Jeng" userId="fe4cc296-ba7d-48a2-8799-89b58d218255" providerId="ADAL" clId="{253D94E7-442D-460C-9F4C-18558C0A0590}" dt="2022-05-21T19:18:37.623" v="11"/>
          <ac:spMkLst>
            <pc:docMk/>
            <pc:sldMk cId="1056661577" sldId="2134803553"/>
            <ac:spMk id="257" creationId="{79D2E721-0E51-8286-1B32-314949176553}"/>
          </ac:spMkLst>
        </pc:spChg>
        <pc:spChg chg="mod">
          <ac:chgData name="Kebba Jeng" userId="fe4cc296-ba7d-48a2-8799-89b58d218255" providerId="ADAL" clId="{253D94E7-442D-460C-9F4C-18558C0A0590}" dt="2022-05-21T19:18:37.623" v="11"/>
          <ac:spMkLst>
            <pc:docMk/>
            <pc:sldMk cId="1056661577" sldId="2134803553"/>
            <ac:spMk id="258" creationId="{3B9C5836-69CF-0C95-EBDD-72CC90D12387}"/>
          </ac:spMkLst>
        </pc:spChg>
        <pc:spChg chg="mod">
          <ac:chgData name="Kebba Jeng" userId="fe4cc296-ba7d-48a2-8799-89b58d218255" providerId="ADAL" clId="{253D94E7-442D-460C-9F4C-18558C0A0590}" dt="2022-05-21T19:18:37.623" v="11"/>
          <ac:spMkLst>
            <pc:docMk/>
            <pc:sldMk cId="1056661577" sldId="2134803553"/>
            <ac:spMk id="259" creationId="{8A17C477-B96A-EBC8-EC0B-4344A8CF5C28}"/>
          </ac:spMkLst>
        </pc:spChg>
        <pc:spChg chg="mod">
          <ac:chgData name="Kebba Jeng" userId="fe4cc296-ba7d-48a2-8799-89b58d218255" providerId="ADAL" clId="{253D94E7-442D-460C-9F4C-18558C0A0590}" dt="2022-05-21T19:18:37.623" v="11"/>
          <ac:spMkLst>
            <pc:docMk/>
            <pc:sldMk cId="1056661577" sldId="2134803553"/>
            <ac:spMk id="260" creationId="{83E60683-45A2-57AC-0806-F2CCF2B573D7}"/>
          </ac:spMkLst>
        </pc:spChg>
        <pc:spChg chg="mod">
          <ac:chgData name="Kebba Jeng" userId="fe4cc296-ba7d-48a2-8799-89b58d218255" providerId="ADAL" clId="{253D94E7-442D-460C-9F4C-18558C0A0590}" dt="2022-05-21T19:18:37.623" v="11"/>
          <ac:spMkLst>
            <pc:docMk/>
            <pc:sldMk cId="1056661577" sldId="2134803553"/>
            <ac:spMk id="261" creationId="{BC647B33-1059-58E3-39BC-DBFDEFD3CDE2}"/>
          </ac:spMkLst>
        </pc:spChg>
        <pc:spChg chg="mod">
          <ac:chgData name="Kebba Jeng" userId="fe4cc296-ba7d-48a2-8799-89b58d218255" providerId="ADAL" clId="{253D94E7-442D-460C-9F4C-18558C0A0590}" dt="2022-05-21T19:18:37.623" v="11"/>
          <ac:spMkLst>
            <pc:docMk/>
            <pc:sldMk cId="1056661577" sldId="2134803553"/>
            <ac:spMk id="262" creationId="{69B9BD34-E690-226C-543D-54FF9D1DEA7C}"/>
          </ac:spMkLst>
        </pc:spChg>
        <pc:spChg chg="mod">
          <ac:chgData name="Kebba Jeng" userId="fe4cc296-ba7d-48a2-8799-89b58d218255" providerId="ADAL" clId="{253D94E7-442D-460C-9F4C-18558C0A0590}" dt="2022-05-21T19:18:37.623" v="11"/>
          <ac:spMkLst>
            <pc:docMk/>
            <pc:sldMk cId="1056661577" sldId="2134803553"/>
            <ac:spMk id="263" creationId="{C1BC2F32-31B8-7B93-5F0D-107713A7DD46}"/>
          </ac:spMkLst>
        </pc:spChg>
        <pc:spChg chg="mod">
          <ac:chgData name="Kebba Jeng" userId="fe4cc296-ba7d-48a2-8799-89b58d218255" providerId="ADAL" clId="{253D94E7-442D-460C-9F4C-18558C0A0590}" dt="2022-05-21T19:18:37.623" v="11"/>
          <ac:spMkLst>
            <pc:docMk/>
            <pc:sldMk cId="1056661577" sldId="2134803553"/>
            <ac:spMk id="264" creationId="{468C4E72-E91C-C346-9365-48E7330EC674}"/>
          </ac:spMkLst>
        </pc:spChg>
        <pc:spChg chg="mod">
          <ac:chgData name="Kebba Jeng" userId="fe4cc296-ba7d-48a2-8799-89b58d218255" providerId="ADAL" clId="{253D94E7-442D-460C-9F4C-18558C0A0590}" dt="2022-05-21T19:18:37.623" v="11"/>
          <ac:spMkLst>
            <pc:docMk/>
            <pc:sldMk cId="1056661577" sldId="2134803553"/>
            <ac:spMk id="265" creationId="{67A776D7-D596-69FA-74F7-C54C0C201B93}"/>
          </ac:spMkLst>
        </pc:spChg>
        <pc:spChg chg="mod">
          <ac:chgData name="Kebba Jeng" userId="fe4cc296-ba7d-48a2-8799-89b58d218255" providerId="ADAL" clId="{253D94E7-442D-460C-9F4C-18558C0A0590}" dt="2022-05-21T19:18:37.623" v="11"/>
          <ac:spMkLst>
            <pc:docMk/>
            <pc:sldMk cId="1056661577" sldId="2134803553"/>
            <ac:spMk id="266" creationId="{973A896B-9540-8B50-248C-52EA24171D88}"/>
          </ac:spMkLst>
        </pc:spChg>
        <pc:spChg chg="mod">
          <ac:chgData name="Kebba Jeng" userId="fe4cc296-ba7d-48a2-8799-89b58d218255" providerId="ADAL" clId="{253D94E7-442D-460C-9F4C-18558C0A0590}" dt="2022-05-21T19:18:37.623" v="11"/>
          <ac:spMkLst>
            <pc:docMk/>
            <pc:sldMk cId="1056661577" sldId="2134803553"/>
            <ac:spMk id="267" creationId="{5D9C4FE3-B4FA-BEA3-EBA6-00868487D141}"/>
          </ac:spMkLst>
        </pc:spChg>
        <pc:spChg chg="mod">
          <ac:chgData name="Kebba Jeng" userId="fe4cc296-ba7d-48a2-8799-89b58d218255" providerId="ADAL" clId="{253D94E7-442D-460C-9F4C-18558C0A0590}" dt="2022-05-21T19:18:37.623" v="11"/>
          <ac:spMkLst>
            <pc:docMk/>
            <pc:sldMk cId="1056661577" sldId="2134803553"/>
            <ac:spMk id="268" creationId="{2F974915-1E81-D8D2-5A36-E03C78D9A64E}"/>
          </ac:spMkLst>
        </pc:spChg>
        <pc:spChg chg="mod">
          <ac:chgData name="Kebba Jeng" userId="fe4cc296-ba7d-48a2-8799-89b58d218255" providerId="ADAL" clId="{253D94E7-442D-460C-9F4C-18558C0A0590}" dt="2022-05-21T19:18:37.623" v="11"/>
          <ac:spMkLst>
            <pc:docMk/>
            <pc:sldMk cId="1056661577" sldId="2134803553"/>
            <ac:spMk id="269" creationId="{C8228021-0BF7-C811-8E14-3A8A1DE759BC}"/>
          </ac:spMkLst>
        </pc:spChg>
        <pc:spChg chg="mod">
          <ac:chgData name="Kebba Jeng" userId="fe4cc296-ba7d-48a2-8799-89b58d218255" providerId="ADAL" clId="{253D94E7-442D-460C-9F4C-18558C0A0590}" dt="2022-05-21T19:18:37.623" v="11"/>
          <ac:spMkLst>
            <pc:docMk/>
            <pc:sldMk cId="1056661577" sldId="2134803553"/>
            <ac:spMk id="270" creationId="{7B2F1892-876D-0763-37D4-781DF2192A84}"/>
          </ac:spMkLst>
        </pc:spChg>
        <pc:spChg chg="mod">
          <ac:chgData name="Kebba Jeng" userId="fe4cc296-ba7d-48a2-8799-89b58d218255" providerId="ADAL" clId="{253D94E7-442D-460C-9F4C-18558C0A0590}" dt="2022-05-21T19:18:37.623" v="11"/>
          <ac:spMkLst>
            <pc:docMk/>
            <pc:sldMk cId="1056661577" sldId="2134803553"/>
            <ac:spMk id="271" creationId="{082138B1-1774-CD1E-C336-7292B013AD7C}"/>
          </ac:spMkLst>
        </pc:spChg>
        <pc:spChg chg="mod">
          <ac:chgData name="Kebba Jeng" userId="fe4cc296-ba7d-48a2-8799-89b58d218255" providerId="ADAL" clId="{253D94E7-442D-460C-9F4C-18558C0A0590}" dt="2022-05-21T19:18:37.623" v="11"/>
          <ac:spMkLst>
            <pc:docMk/>
            <pc:sldMk cId="1056661577" sldId="2134803553"/>
            <ac:spMk id="272" creationId="{A3607232-F7E9-21A1-0AF7-A1A453516156}"/>
          </ac:spMkLst>
        </pc:spChg>
        <pc:spChg chg="mod">
          <ac:chgData name="Kebba Jeng" userId="fe4cc296-ba7d-48a2-8799-89b58d218255" providerId="ADAL" clId="{253D94E7-442D-460C-9F4C-18558C0A0590}" dt="2022-05-21T19:18:37.623" v="11"/>
          <ac:spMkLst>
            <pc:docMk/>
            <pc:sldMk cId="1056661577" sldId="2134803553"/>
            <ac:spMk id="273" creationId="{884259AB-CFD4-5025-E4DC-5E41C2D23BCA}"/>
          </ac:spMkLst>
        </pc:spChg>
        <pc:spChg chg="mod">
          <ac:chgData name="Kebba Jeng" userId="fe4cc296-ba7d-48a2-8799-89b58d218255" providerId="ADAL" clId="{253D94E7-442D-460C-9F4C-18558C0A0590}" dt="2022-05-21T19:18:37.623" v="11"/>
          <ac:spMkLst>
            <pc:docMk/>
            <pc:sldMk cId="1056661577" sldId="2134803553"/>
            <ac:spMk id="274" creationId="{604D8C55-9D12-6BD7-E510-D5E3C79B5C4C}"/>
          </ac:spMkLst>
        </pc:spChg>
        <pc:spChg chg="mod">
          <ac:chgData name="Kebba Jeng" userId="fe4cc296-ba7d-48a2-8799-89b58d218255" providerId="ADAL" clId="{253D94E7-442D-460C-9F4C-18558C0A0590}" dt="2022-05-21T19:18:37.623" v="11"/>
          <ac:spMkLst>
            <pc:docMk/>
            <pc:sldMk cId="1056661577" sldId="2134803553"/>
            <ac:spMk id="275" creationId="{356BAAD1-8947-E5A7-1C16-1902336BB84C}"/>
          </ac:spMkLst>
        </pc:spChg>
        <pc:spChg chg="mod">
          <ac:chgData name="Kebba Jeng" userId="fe4cc296-ba7d-48a2-8799-89b58d218255" providerId="ADAL" clId="{253D94E7-442D-460C-9F4C-18558C0A0590}" dt="2022-05-21T19:18:37.623" v="11"/>
          <ac:spMkLst>
            <pc:docMk/>
            <pc:sldMk cId="1056661577" sldId="2134803553"/>
            <ac:spMk id="276" creationId="{DAE5B73D-A3E0-8C54-6072-0B9867DA2F77}"/>
          </ac:spMkLst>
        </pc:spChg>
        <pc:spChg chg="mod">
          <ac:chgData name="Kebba Jeng" userId="fe4cc296-ba7d-48a2-8799-89b58d218255" providerId="ADAL" clId="{253D94E7-442D-460C-9F4C-18558C0A0590}" dt="2022-05-21T19:18:37.623" v="11"/>
          <ac:spMkLst>
            <pc:docMk/>
            <pc:sldMk cId="1056661577" sldId="2134803553"/>
            <ac:spMk id="277" creationId="{A120AFB8-3FC0-68EB-3A2D-EC0126844ACE}"/>
          </ac:spMkLst>
        </pc:spChg>
        <pc:spChg chg="mod">
          <ac:chgData name="Kebba Jeng" userId="fe4cc296-ba7d-48a2-8799-89b58d218255" providerId="ADAL" clId="{253D94E7-442D-460C-9F4C-18558C0A0590}" dt="2022-05-21T19:18:37.623" v="11"/>
          <ac:spMkLst>
            <pc:docMk/>
            <pc:sldMk cId="1056661577" sldId="2134803553"/>
            <ac:spMk id="278" creationId="{B7240D74-072E-D38A-ACE0-523084F45D47}"/>
          </ac:spMkLst>
        </pc:spChg>
        <pc:spChg chg="mod">
          <ac:chgData name="Kebba Jeng" userId="fe4cc296-ba7d-48a2-8799-89b58d218255" providerId="ADAL" clId="{253D94E7-442D-460C-9F4C-18558C0A0590}" dt="2022-05-21T19:18:37.623" v="11"/>
          <ac:spMkLst>
            <pc:docMk/>
            <pc:sldMk cId="1056661577" sldId="2134803553"/>
            <ac:spMk id="279" creationId="{2EA94A2E-F3EF-679F-30F6-7DE9806BE0E0}"/>
          </ac:spMkLst>
        </pc:spChg>
        <pc:spChg chg="mod">
          <ac:chgData name="Kebba Jeng" userId="fe4cc296-ba7d-48a2-8799-89b58d218255" providerId="ADAL" clId="{253D94E7-442D-460C-9F4C-18558C0A0590}" dt="2022-05-21T19:18:37.623" v="11"/>
          <ac:spMkLst>
            <pc:docMk/>
            <pc:sldMk cId="1056661577" sldId="2134803553"/>
            <ac:spMk id="280" creationId="{FCC062BF-10D6-DC93-AD74-252A2894F882}"/>
          </ac:spMkLst>
        </pc:spChg>
        <pc:spChg chg="mod">
          <ac:chgData name="Kebba Jeng" userId="fe4cc296-ba7d-48a2-8799-89b58d218255" providerId="ADAL" clId="{253D94E7-442D-460C-9F4C-18558C0A0590}" dt="2022-05-21T19:18:37.623" v="11"/>
          <ac:spMkLst>
            <pc:docMk/>
            <pc:sldMk cId="1056661577" sldId="2134803553"/>
            <ac:spMk id="281" creationId="{1F20A02D-37E4-14C3-C275-6E49CA9AA1BB}"/>
          </ac:spMkLst>
        </pc:spChg>
        <pc:spChg chg="mod">
          <ac:chgData name="Kebba Jeng" userId="fe4cc296-ba7d-48a2-8799-89b58d218255" providerId="ADAL" clId="{253D94E7-442D-460C-9F4C-18558C0A0590}" dt="2022-05-21T19:18:37.623" v="11"/>
          <ac:spMkLst>
            <pc:docMk/>
            <pc:sldMk cId="1056661577" sldId="2134803553"/>
            <ac:spMk id="282" creationId="{865EC566-77C3-D8CA-0BAE-BD041D9A5F21}"/>
          </ac:spMkLst>
        </pc:spChg>
        <pc:spChg chg="mod">
          <ac:chgData name="Kebba Jeng" userId="fe4cc296-ba7d-48a2-8799-89b58d218255" providerId="ADAL" clId="{253D94E7-442D-460C-9F4C-18558C0A0590}" dt="2022-05-21T19:18:37.623" v="11"/>
          <ac:spMkLst>
            <pc:docMk/>
            <pc:sldMk cId="1056661577" sldId="2134803553"/>
            <ac:spMk id="283" creationId="{4A3B5A27-213E-63F7-DA1A-069AA55A9163}"/>
          </ac:spMkLst>
        </pc:spChg>
        <pc:spChg chg="mod">
          <ac:chgData name="Kebba Jeng" userId="fe4cc296-ba7d-48a2-8799-89b58d218255" providerId="ADAL" clId="{253D94E7-442D-460C-9F4C-18558C0A0590}" dt="2022-05-21T19:18:37.623" v="11"/>
          <ac:spMkLst>
            <pc:docMk/>
            <pc:sldMk cId="1056661577" sldId="2134803553"/>
            <ac:spMk id="284" creationId="{5B72CC87-FDF6-D0F2-5A96-EEDC450FAAAF}"/>
          </ac:spMkLst>
        </pc:spChg>
        <pc:spChg chg="mod">
          <ac:chgData name="Kebba Jeng" userId="fe4cc296-ba7d-48a2-8799-89b58d218255" providerId="ADAL" clId="{253D94E7-442D-460C-9F4C-18558C0A0590}" dt="2022-05-21T19:18:37.623" v="11"/>
          <ac:spMkLst>
            <pc:docMk/>
            <pc:sldMk cId="1056661577" sldId="2134803553"/>
            <ac:spMk id="285" creationId="{E6445F7B-DC5A-8B91-2117-62A23E6C6890}"/>
          </ac:spMkLst>
        </pc:spChg>
        <pc:spChg chg="mod">
          <ac:chgData name="Kebba Jeng" userId="fe4cc296-ba7d-48a2-8799-89b58d218255" providerId="ADAL" clId="{253D94E7-442D-460C-9F4C-18558C0A0590}" dt="2022-05-21T19:18:37.623" v="11"/>
          <ac:spMkLst>
            <pc:docMk/>
            <pc:sldMk cId="1056661577" sldId="2134803553"/>
            <ac:spMk id="286" creationId="{9F141AD6-1E0A-E32E-35B1-0B93130ED7FB}"/>
          </ac:spMkLst>
        </pc:spChg>
        <pc:spChg chg="mod">
          <ac:chgData name="Kebba Jeng" userId="fe4cc296-ba7d-48a2-8799-89b58d218255" providerId="ADAL" clId="{253D94E7-442D-460C-9F4C-18558C0A0590}" dt="2022-05-21T19:18:37.623" v="11"/>
          <ac:spMkLst>
            <pc:docMk/>
            <pc:sldMk cId="1056661577" sldId="2134803553"/>
            <ac:spMk id="287" creationId="{19A807BE-D719-2F60-03EE-F768E48707C2}"/>
          </ac:spMkLst>
        </pc:spChg>
        <pc:spChg chg="mod">
          <ac:chgData name="Kebba Jeng" userId="fe4cc296-ba7d-48a2-8799-89b58d218255" providerId="ADAL" clId="{253D94E7-442D-460C-9F4C-18558C0A0590}" dt="2022-05-21T19:18:37.623" v="11"/>
          <ac:spMkLst>
            <pc:docMk/>
            <pc:sldMk cId="1056661577" sldId="2134803553"/>
            <ac:spMk id="288" creationId="{C8D2D9A1-3FBA-AD62-6432-BCC80CC9BB99}"/>
          </ac:spMkLst>
        </pc:spChg>
        <pc:spChg chg="mod">
          <ac:chgData name="Kebba Jeng" userId="fe4cc296-ba7d-48a2-8799-89b58d218255" providerId="ADAL" clId="{253D94E7-442D-460C-9F4C-18558C0A0590}" dt="2022-05-21T19:18:37.623" v="11"/>
          <ac:spMkLst>
            <pc:docMk/>
            <pc:sldMk cId="1056661577" sldId="2134803553"/>
            <ac:spMk id="289" creationId="{C13959D2-F743-362B-24C4-66F4CBED335C}"/>
          </ac:spMkLst>
        </pc:spChg>
        <pc:spChg chg="mod">
          <ac:chgData name="Kebba Jeng" userId="fe4cc296-ba7d-48a2-8799-89b58d218255" providerId="ADAL" clId="{253D94E7-442D-460C-9F4C-18558C0A0590}" dt="2022-05-21T19:18:37.623" v="11"/>
          <ac:spMkLst>
            <pc:docMk/>
            <pc:sldMk cId="1056661577" sldId="2134803553"/>
            <ac:spMk id="290" creationId="{B03AA355-F3FD-2EBD-46A1-74053D5EB340}"/>
          </ac:spMkLst>
        </pc:spChg>
        <pc:spChg chg="mod">
          <ac:chgData name="Kebba Jeng" userId="fe4cc296-ba7d-48a2-8799-89b58d218255" providerId="ADAL" clId="{253D94E7-442D-460C-9F4C-18558C0A0590}" dt="2022-05-21T19:18:37.623" v="11"/>
          <ac:spMkLst>
            <pc:docMk/>
            <pc:sldMk cId="1056661577" sldId="2134803553"/>
            <ac:spMk id="291" creationId="{81AC3333-8D0D-D110-5A4E-56584A3B546B}"/>
          </ac:spMkLst>
        </pc:spChg>
        <pc:spChg chg="mod">
          <ac:chgData name="Kebba Jeng" userId="fe4cc296-ba7d-48a2-8799-89b58d218255" providerId="ADAL" clId="{253D94E7-442D-460C-9F4C-18558C0A0590}" dt="2022-05-21T19:18:37.623" v="11"/>
          <ac:spMkLst>
            <pc:docMk/>
            <pc:sldMk cId="1056661577" sldId="2134803553"/>
            <ac:spMk id="292" creationId="{9B3D8723-9FEC-4FBF-E3AF-D8BFF82B1C97}"/>
          </ac:spMkLst>
        </pc:spChg>
        <pc:spChg chg="mod">
          <ac:chgData name="Kebba Jeng" userId="fe4cc296-ba7d-48a2-8799-89b58d218255" providerId="ADAL" clId="{253D94E7-442D-460C-9F4C-18558C0A0590}" dt="2022-05-21T19:18:37.623" v="11"/>
          <ac:spMkLst>
            <pc:docMk/>
            <pc:sldMk cId="1056661577" sldId="2134803553"/>
            <ac:spMk id="293" creationId="{BAD3C32E-0B38-D69D-5A3D-E1E77F1E8C49}"/>
          </ac:spMkLst>
        </pc:spChg>
        <pc:spChg chg="mod">
          <ac:chgData name="Kebba Jeng" userId="fe4cc296-ba7d-48a2-8799-89b58d218255" providerId="ADAL" clId="{253D94E7-442D-460C-9F4C-18558C0A0590}" dt="2022-05-21T19:18:37.623" v="11"/>
          <ac:spMkLst>
            <pc:docMk/>
            <pc:sldMk cId="1056661577" sldId="2134803553"/>
            <ac:spMk id="294" creationId="{C8D104BC-F8A5-94F5-DAFE-3A168CF4893A}"/>
          </ac:spMkLst>
        </pc:spChg>
        <pc:spChg chg="mod">
          <ac:chgData name="Kebba Jeng" userId="fe4cc296-ba7d-48a2-8799-89b58d218255" providerId="ADAL" clId="{253D94E7-442D-460C-9F4C-18558C0A0590}" dt="2022-05-21T19:18:37.623" v="11"/>
          <ac:spMkLst>
            <pc:docMk/>
            <pc:sldMk cId="1056661577" sldId="2134803553"/>
            <ac:spMk id="295" creationId="{D2FDB8D8-6D45-20D3-D494-4B1DDC44DF40}"/>
          </ac:spMkLst>
        </pc:spChg>
        <pc:spChg chg="mod">
          <ac:chgData name="Kebba Jeng" userId="fe4cc296-ba7d-48a2-8799-89b58d218255" providerId="ADAL" clId="{253D94E7-442D-460C-9F4C-18558C0A0590}" dt="2022-05-21T19:18:37.623" v="11"/>
          <ac:spMkLst>
            <pc:docMk/>
            <pc:sldMk cId="1056661577" sldId="2134803553"/>
            <ac:spMk id="296" creationId="{7D21462E-7607-1EF1-CC48-2751BA3691AD}"/>
          </ac:spMkLst>
        </pc:spChg>
        <pc:spChg chg="mod">
          <ac:chgData name="Kebba Jeng" userId="fe4cc296-ba7d-48a2-8799-89b58d218255" providerId="ADAL" clId="{253D94E7-442D-460C-9F4C-18558C0A0590}" dt="2022-05-21T19:18:37.623" v="11"/>
          <ac:spMkLst>
            <pc:docMk/>
            <pc:sldMk cId="1056661577" sldId="2134803553"/>
            <ac:spMk id="297" creationId="{F0350003-6648-7B14-B1BA-CC6BCE013DC0}"/>
          </ac:spMkLst>
        </pc:spChg>
        <pc:spChg chg="mod">
          <ac:chgData name="Kebba Jeng" userId="fe4cc296-ba7d-48a2-8799-89b58d218255" providerId="ADAL" clId="{253D94E7-442D-460C-9F4C-18558C0A0590}" dt="2022-05-21T19:18:37.623" v="11"/>
          <ac:spMkLst>
            <pc:docMk/>
            <pc:sldMk cId="1056661577" sldId="2134803553"/>
            <ac:spMk id="298" creationId="{872F55FE-2956-F87E-0813-E50ADAB50620}"/>
          </ac:spMkLst>
        </pc:spChg>
        <pc:spChg chg="mod">
          <ac:chgData name="Kebba Jeng" userId="fe4cc296-ba7d-48a2-8799-89b58d218255" providerId="ADAL" clId="{253D94E7-442D-460C-9F4C-18558C0A0590}" dt="2022-05-21T19:18:37.623" v="11"/>
          <ac:spMkLst>
            <pc:docMk/>
            <pc:sldMk cId="1056661577" sldId="2134803553"/>
            <ac:spMk id="299" creationId="{EE448D87-C9EA-B843-A2D7-66DAC39A7ADD}"/>
          </ac:spMkLst>
        </pc:spChg>
        <pc:spChg chg="mod">
          <ac:chgData name="Kebba Jeng" userId="fe4cc296-ba7d-48a2-8799-89b58d218255" providerId="ADAL" clId="{253D94E7-442D-460C-9F4C-18558C0A0590}" dt="2022-05-21T19:18:37.623" v="11"/>
          <ac:spMkLst>
            <pc:docMk/>
            <pc:sldMk cId="1056661577" sldId="2134803553"/>
            <ac:spMk id="300" creationId="{499E4FEC-0D39-C17E-2944-9B1EC576C5EC}"/>
          </ac:spMkLst>
        </pc:spChg>
        <pc:spChg chg="mod">
          <ac:chgData name="Kebba Jeng" userId="fe4cc296-ba7d-48a2-8799-89b58d218255" providerId="ADAL" clId="{253D94E7-442D-460C-9F4C-18558C0A0590}" dt="2022-05-21T19:18:37.623" v="11"/>
          <ac:spMkLst>
            <pc:docMk/>
            <pc:sldMk cId="1056661577" sldId="2134803553"/>
            <ac:spMk id="301" creationId="{F6972273-08CA-144A-EE88-6421B2948E28}"/>
          </ac:spMkLst>
        </pc:spChg>
        <pc:spChg chg="mod">
          <ac:chgData name="Kebba Jeng" userId="fe4cc296-ba7d-48a2-8799-89b58d218255" providerId="ADAL" clId="{253D94E7-442D-460C-9F4C-18558C0A0590}" dt="2022-05-21T19:18:37.623" v="11"/>
          <ac:spMkLst>
            <pc:docMk/>
            <pc:sldMk cId="1056661577" sldId="2134803553"/>
            <ac:spMk id="302" creationId="{E585DC92-E0DC-AEEF-1D7E-9857F2A431E6}"/>
          </ac:spMkLst>
        </pc:spChg>
        <pc:spChg chg="mod">
          <ac:chgData name="Kebba Jeng" userId="fe4cc296-ba7d-48a2-8799-89b58d218255" providerId="ADAL" clId="{253D94E7-442D-460C-9F4C-18558C0A0590}" dt="2022-05-21T19:18:37.623" v="11"/>
          <ac:spMkLst>
            <pc:docMk/>
            <pc:sldMk cId="1056661577" sldId="2134803553"/>
            <ac:spMk id="303" creationId="{503C55D8-2636-CDFA-1098-43136B913C46}"/>
          </ac:spMkLst>
        </pc:spChg>
        <pc:spChg chg="mod">
          <ac:chgData name="Kebba Jeng" userId="fe4cc296-ba7d-48a2-8799-89b58d218255" providerId="ADAL" clId="{253D94E7-442D-460C-9F4C-18558C0A0590}" dt="2022-05-21T19:18:37.623" v="11"/>
          <ac:spMkLst>
            <pc:docMk/>
            <pc:sldMk cId="1056661577" sldId="2134803553"/>
            <ac:spMk id="304" creationId="{E851482A-9F76-9D09-79AA-123E16373187}"/>
          </ac:spMkLst>
        </pc:spChg>
        <pc:spChg chg="mod">
          <ac:chgData name="Kebba Jeng" userId="fe4cc296-ba7d-48a2-8799-89b58d218255" providerId="ADAL" clId="{253D94E7-442D-460C-9F4C-18558C0A0590}" dt="2022-05-21T19:18:37.623" v="11"/>
          <ac:spMkLst>
            <pc:docMk/>
            <pc:sldMk cId="1056661577" sldId="2134803553"/>
            <ac:spMk id="305" creationId="{3B838490-D169-A96C-4FAC-74DD526061F7}"/>
          </ac:spMkLst>
        </pc:spChg>
        <pc:spChg chg="mod">
          <ac:chgData name="Kebba Jeng" userId="fe4cc296-ba7d-48a2-8799-89b58d218255" providerId="ADAL" clId="{253D94E7-442D-460C-9F4C-18558C0A0590}" dt="2022-05-21T19:18:37.623" v="11"/>
          <ac:spMkLst>
            <pc:docMk/>
            <pc:sldMk cId="1056661577" sldId="2134803553"/>
            <ac:spMk id="306" creationId="{DC18CA0A-52AE-842B-01CA-86201CA429D0}"/>
          </ac:spMkLst>
        </pc:spChg>
        <pc:spChg chg="mod">
          <ac:chgData name="Kebba Jeng" userId="fe4cc296-ba7d-48a2-8799-89b58d218255" providerId="ADAL" clId="{253D94E7-442D-460C-9F4C-18558C0A0590}" dt="2022-05-21T19:18:37.623" v="11"/>
          <ac:spMkLst>
            <pc:docMk/>
            <pc:sldMk cId="1056661577" sldId="2134803553"/>
            <ac:spMk id="307" creationId="{87942398-97DE-1F5D-E780-7E9E8B9B302B}"/>
          </ac:spMkLst>
        </pc:spChg>
        <pc:spChg chg="mod">
          <ac:chgData name="Kebba Jeng" userId="fe4cc296-ba7d-48a2-8799-89b58d218255" providerId="ADAL" clId="{253D94E7-442D-460C-9F4C-18558C0A0590}" dt="2022-05-21T19:18:37.623" v="11"/>
          <ac:spMkLst>
            <pc:docMk/>
            <pc:sldMk cId="1056661577" sldId="2134803553"/>
            <ac:spMk id="308" creationId="{9A534939-724F-B6FB-8060-0AB03772FB88}"/>
          </ac:spMkLst>
        </pc:spChg>
        <pc:spChg chg="mod">
          <ac:chgData name="Kebba Jeng" userId="fe4cc296-ba7d-48a2-8799-89b58d218255" providerId="ADAL" clId="{253D94E7-442D-460C-9F4C-18558C0A0590}" dt="2022-05-21T19:18:37.623" v="11"/>
          <ac:spMkLst>
            <pc:docMk/>
            <pc:sldMk cId="1056661577" sldId="2134803553"/>
            <ac:spMk id="309" creationId="{1A3394E3-2F1E-A269-24D4-62AF6D51350B}"/>
          </ac:spMkLst>
        </pc:spChg>
        <pc:spChg chg="mod">
          <ac:chgData name="Kebba Jeng" userId="fe4cc296-ba7d-48a2-8799-89b58d218255" providerId="ADAL" clId="{253D94E7-442D-460C-9F4C-18558C0A0590}" dt="2022-05-21T19:18:37.623" v="11"/>
          <ac:spMkLst>
            <pc:docMk/>
            <pc:sldMk cId="1056661577" sldId="2134803553"/>
            <ac:spMk id="310" creationId="{29FDF267-FBD7-25F1-65F2-66BED26BBA58}"/>
          </ac:spMkLst>
        </pc:spChg>
        <pc:spChg chg="mod">
          <ac:chgData name="Kebba Jeng" userId="fe4cc296-ba7d-48a2-8799-89b58d218255" providerId="ADAL" clId="{253D94E7-442D-460C-9F4C-18558C0A0590}" dt="2022-05-21T19:18:37.623" v="11"/>
          <ac:spMkLst>
            <pc:docMk/>
            <pc:sldMk cId="1056661577" sldId="2134803553"/>
            <ac:spMk id="311" creationId="{38C3C3E1-F103-AF4D-2C83-73CBBDDBE36F}"/>
          </ac:spMkLst>
        </pc:spChg>
        <pc:spChg chg="mod">
          <ac:chgData name="Kebba Jeng" userId="fe4cc296-ba7d-48a2-8799-89b58d218255" providerId="ADAL" clId="{253D94E7-442D-460C-9F4C-18558C0A0590}" dt="2022-05-21T19:18:37.623" v="11"/>
          <ac:spMkLst>
            <pc:docMk/>
            <pc:sldMk cId="1056661577" sldId="2134803553"/>
            <ac:spMk id="312" creationId="{F3DF50E0-F209-0C42-E640-485E2DDA99F0}"/>
          </ac:spMkLst>
        </pc:spChg>
        <pc:spChg chg="mod">
          <ac:chgData name="Kebba Jeng" userId="fe4cc296-ba7d-48a2-8799-89b58d218255" providerId="ADAL" clId="{253D94E7-442D-460C-9F4C-18558C0A0590}" dt="2022-05-21T19:18:37.623" v="11"/>
          <ac:spMkLst>
            <pc:docMk/>
            <pc:sldMk cId="1056661577" sldId="2134803553"/>
            <ac:spMk id="313" creationId="{5D2D607E-4186-9260-A15C-0E59C7898ABC}"/>
          </ac:spMkLst>
        </pc:spChg>
        <pc:spChg chg="mod">
          <ac:chgData name="Kebba Jeng" userId="fe4cc296-ba7d-48a2-8799-89b58d218255" providerId="ADAL" clId="{253D94E7-442D-460C-9F4C-18558C0A0590}" dt="2022-05-21T19:18:37.623" v="11"/>
          <ac:spMkLst>
            <pc:docMk/>
            <pc:sldMk cId="1056661577" sldId="2134803553"/>
            <ac:spMk id="314" creationId="{C7F980F6-24BB-194A-9A81-5FF3D01911BB}"/>
          </ac:spMkLst>
        </pc:spChg>
        <pc:spChg chg="mod">
          <ac:chgData name="Kebba Jeng" userId="fe4cc296-ba7d-48a2-8799-89b58d218255" providerId="ADAL" clId="{253D94E7-442D-460C-9F4C-18558C0A0590}" dt="2022-05-21T19:18:37.623" v="11"/>
          <ac:spMkLst>
            <pc:docMk/>
            <pc:sldMk cId="1056661577" sldId="2134803553"/>
            <ac:spMk id="315" creationId="{98EE7BDB-3852-07EC-EEC1-32A1D86751C9}"/>
          </ac:spMkLst>
        </pc:spChg>
        <pc:spChg chg="mod">
          <ac:chgData name="Kebba Jeng" userId="fe4cc296-ba7d-48a2-8799-89b58d218255" providerId="ADAL" clId="{253D94E7-442D-460C-9F4C-18558C0A0590}" dt="2022-05-21T19:18:37.623" v="11"/>
          <ac:spMkLst>
            <pc:docMk/>
            <pc:sldMk cId="1056661577" sldId="2134803553"/>
            <ac:spMk id="316" creationId="{181D8F9D-80E5-B32D-1B29-4B8E1006ED86}"/>
          </ac:spMkLst>
        </pc:spChg>
        <pc:spChg chg="mod">
          <ac:chgData name="Kebba Jeng" userId="fe4cc296-ba7d-48a2-8799-89b58d218255" providerId="ADAL" clId="{253D94E7-442D-460C-9F4C-18558C0A0590}" dt="2022-05-21T19:18:37.623" v="11"/>
          <ac:spMkLst>
            <pc:docMk/>
            <pc:sldMk cId="1056661577" sldId="2134803553"/>
            <ac:spMk id="317" creationId="{0B5DE407-0082-53B9-F2B0-BAF17F6EB993}"/>
          </ac:spMkLst>
        </pc:spChg>
        <pc:spChg chg="mod">
          <ac:chgData name="Kebba Jeng" userId="fe4cc296-ba7d-48a2-8799-89b58d218255" providerId="ADAL" clId="{253D94E7-442D-460C-9F4C-18558C0A0590}" dt="2022-05-21T19:18:37.623" v="11"/>
          <ac:spMkLst>
            <pc:docMk/>
            <pc:sldMk cId="1056661577" sldId="2134803553"/>
            <ac:spMk id="318" creationId="{1A578D4E-443C-BD81-F2C1-62A78959E522}"/>
          </ac:spMkLst>
        </pc:spChg>
        <pc:spChg chg="mod">
          <ac:chgData name="Kebba Jeng" userId="fe4cc296-ba7d-48a2-8799-89b58d218255" providerId="ADAL" clId="{253D94E7-442D-460C-9F4C-18558C0A0590}" dt="2022-05-21T19:18:37.623" v="11"/>
          <ac:spMkLst>
            <pc:docMk/>
            <pc:sldMk cId="1056661577" sldId="2134803553"/>
            <ac:spMk id="319" creationId="{25118D0B-2AF0-F2CF-4E17-7D45BD58B696}"/>
          </ac:spMkLst>
        </pc:spChg>
        <pc:spChg chg="mod">
          <ac:chgData name="Kebba Jeng" userId="fe4cc296-ba7d-48a2-8799-89b58d218255" providerId="ADAL" clId="{253D94E7-442D-460C-9F4C-18558C0A0590}" dt="2022-05-21T19:18:37.623" v="11"/>
          <ac:spMkLst>
            <pc:docMk/>
            <pc:sldMk cId="1056661577" sldId="2134803553"/>
            <ac:spMk id="320" creationId="{DBC63121-D0BD-5C1E-6A4C-EC2A2DEFFC3A}"/>
          </ac:spMkLst>
        </pc:spChg>
        <pc:spChg chg="mod">
          <ac:chgData name="Kebba Jeng" userId="fe4cc296-ba7d-48a2-8799-89b58d218255" providerId="ADAL" clId="{253D94E7-442D-460C-9F4C-18558C0A0590}" dt="2022-05-21T19:18:37.623" v="11"/>
          <ac:spMkLst>
            <pc:docMk/>
            <pc:sldMk cId="1056661577" sldId="2134803553"/>
            <ac:spMk id="321" creationId="{CDABCBAD-CB6B-6B9C-6A5D-5F87F55BA2DD}"/>
          </ac:spMkLst>
        </pc:spChg>
        <pc:spChg chg="mod">
          <ac:chgData name="Kebba Jeng" userId="fe4cc296-ba7d-48a2-8799-89b58d218255" providerId="ADAL" clId="{253D94E7-442D-460C-9F4C-18558C0A0590}" dt="2022-05-21T19:18:37.623" v="11"/>
          <ac:spMkLst>
            <pc:docMk/>
            <pc:sldMk cId="1056661577" sldId="2134803553"/>
            <ac:spMk id="322" creationId="{A35DFF14-A17F-EFE2-FD7B-2EDB00F08870}"/>
          </ac:spMkLst>
        </pc:spChg>
        <pc:spChg chg="mod">
          <ac:chgData name="Kebba Jeng" userId="fe4cc296-ba7d-48a2-8799-89b58d218255" providerId="ADAL" clId="{253D94E7-442D-460C-9F4C-18558C0A0590}" dt="2022-05-21T19:18:37.623" v="11"/>
          <ac:spMkLst>
            <pc:docMk/>
            <pc:sldMk cId="1056661577" sldId="2134803553"/>
            <ac:spMk id="323" creationId="{6950B252-C0ED-2B4D-4B87-A51F00E84B47}"/>
          </ac:spMkLst>
        </pc:spChg>
        <pc:spChg chg="mod">
          <ac:chgData name="Kebba Jeng" userId="fe4cc296-ba7d-48a2-8799-89b58d218255" providerId="ADAL" clId="{253D94E7-442D-460C-9F4C-18558C0A0590}" dt="2022-05-21T19:18:37.623" v="11"/>
          <ac:spMkLst>
            <pc:docMk/>
            <pc:sldMk cId="1056661577" sldId="2134803553"/>
            <ac:spMk id="324" creationId="{24E02A7A-C927-E2F5-1B48-A8A30934DD7B}"/>
          </ac:spMkLst>
        </pc:spChg>
        <pc:spChg chg="mod">
          <ac:chgData name="Kebba Jeng" userId="fe4cc296-ba7d-48a2-8799-89b58d218255" providerId="ADAL" clId="{253D94E7-442D-460C-9F4C-18558C0A0590}" dt="2022-05-21T19:18:37.623" v="11"/>
          <ac:spMkLst>
            <pc:docMk/>
            <pc:sldMk cId="1056661577" sldId="2134803553"/>
            <ac:spMk id="325" creationId="{DB3C471C-AE13-69D7-D486-B8FA8FA342BF}"/>
          </ac:spMkLst>
        </pc:spChg>
        <pc:spChg chg="mod">
          <ac:chgData name="Kebba Jeng" userId="fe4cc296-ba7d-48a2-8799-89b58d218255" providerId="ADAL" clId="{253D94E7-442D-460C-9F4C-18558C0A0590}" dt="2022-05-21T19:18:37.623" v="11"/>
          <ac:spMkLst>
            <pc:docMk/>
            <pc:sldMk cId="1056661577" sldId="2134803553"/>
            <ac:spMk id="326" creationId="{FC660CD9-0F4E-3B20-06FA-2192EEEA6B35}"/>
          </ac:spMkLst>
        </pc:spChg>
        <pc:spChg chg="mod">
          <ac:chgData name="Kebba Jeng" userId="fe4cc296-ba7d-48a2-8799-89b58d218255" providerId="ADAL" clId="{253D94E7-442D-460C-9F4C-18558C0A0590}" dt="2022-05-21T19:18:37.623" v="11"/>
          <ac:spMkLst>
            <pc:docMk/>
            <pc:sldMk cId="1056661577" sldId="2134803553"/>
            <ac:spMk id="327" creationId="{C40010F2-554F-0514-55B7-077AD27D737C}"/>
          </ac:spMkLst>
        </pc:spChg>
        <pc:spChg chg="mod">
          <ac:chgData name="Kebba Jeng" userId="fe4cc296-ba7d-48a2-8799-89b58d218255" providerId="ADAL" clId="{253D94E7-442D-460C-9F4C-18558C0A0590}" dt="2022-05-21T19:18:37.623" v="11"/>
          <ac:spMkLst>
            <pc:docMk/>
            <pc:sldMk cId="1056661577" sldId="2134803553"/>
            <ac:spMk id="328" creationId="{5154484D-041A-953B-7831-E1B7526E14C1}"/>
          </ac:spMkLst>
        </pc:spChg>
        <pc:spChg chg="mod">
          <ac:chgData name="Kebba Jeng" userId="fe4cc296-ba7d-48a2-8799-89b58d218255" providerId="ADAL" clId="{253D94E7-442D-460C-9F4C-18558C0A0590}" dt="2022-05-21T19:18:37.623" v="11"/>
          <ac:spMkLst>
            <pc:docMk/>
            <pc:sldMk cId="1056661577" sldId="2134803553"/>
            <ac:spMk id="329" creationId="{8676CDC5-9652-E1C0-24E3-C4743BC3682A}"/>
          </ac:spMkLst>
        </pc:spChg>
        <pc:spChg chg="mod">
          <ac:chgData name="Kebba Jeng" userId="fe4cc296-ba7d-48a2-8799-89b58d218255" providerId="ADAL" clId="{253D94E7-442D-460C-9F4C-18558C0A0590}" dt="2022-05-21T19:18:37.623" v="11"/>
          <ac:spMkLst>
            <pc:docMk/>
            <pc:sldMk cId="1056661577" sldId="2134803553"/>
            <ac:spMk id="330" creationId="{3256FED2-04FE-D169-7896-29BF789E8837}"/>
          </ac:spMkLst>
        </pc:spChg>
        <pc:spChg chg="mod">
          <ac:chgData name="Kebba Jeng" userId="fe4cc296-ba7d-48a2-8799-89b58d218255" providerId="ADAL" clId="{253D94E7-442D-460C-9F4C-18558C0A0590}" dt="2022-05-21T19:18:37.623" v="11"/>
          <ac:spMkLst>
            <pc:docMk/>
            <pc:sldMk cId="1056661577" sldId="2134803553"/>
            <ac:spMk id="331" creationId="{EF8EA195-FC5C-2B74-FAA7-35955522D6D4}"/>
          </ac:spMkLst>
        </pc:spChg>
        <pc:spChg chg="mod">
          <ac:chgData name="Kebba Jeng" userId="fe4cc296-ba7d-48a2-8799-89b58d218255" providerId="ADAL" clId="{253D94E7-442D-460C-9F4C-18558C0A0590}" dt="2022-05-21T19:18:37.623" v="11"/>
          <ac:spMkLst>
            <pc:docMk/>
            <pc:sldMk cId="1056661577" sldId="2134803553"/>
            <ac:spMk id="332" creationId="{7062F2D5-0DE7-60DC-D34D-D32137B1970C}"/>
          </ac:spMkLst>
        </pc:spChg>
        <pc:spChg chg="mod">
          <ac:chgData name="Kebba Jeng" userId="fe4cc296-ba7d-48a2-8799-89b58d218255" providerId="ADAL" clId="{253D94E7-442D-460C-9F4C-18558C0A0590}" dt="2022-05-21T19:18:37.623" v="11"/>
          <ac:spMkLst>
            <pc:docMk/>
            <pc:sldMk cId="1056661577" sldId="2134803553"/>
            <ac:spMk id="333" creationId="{CF178763-5BDC-AF1F-38C4-CABFAB60B773}"/>
          </ac:spMkLst>
        </pc:spChg>
        <pc:spChg chg="mod">
          <ac:chgData name="Kebba Jeng" userId="fe4cc296-ba7d-48a2-8799-89b58d218255" providerId="ADAL" clId="{253D94E7-442D-460C-9F4C-18558C0A0590}" dt="2022-05-21T19:18:37.623" v="11"/>
          <ac:spMkLst>
            <pc:docMk/>
            <pc:sldMk cId="1056661577" sldId="2134803553"/>
            <ac:spMk id="334" creationId="{34E57B9F-C2D7-F84A-6E67-7CF39264EA8A}"/>
          </ac:spMkLst>
        </pc:spChg>
        <pc:spChg chg="mod">
          <ac:chgData name="Kebba Jeng" userId="fe4cc296-ba7d-48a2-8799-89b58d218255" providerId="ADAL" clId="{253D94E7-442D-460C-9F4C-18558C0A0590}" dt="2022-05-21T19:18:37.623" v="11"/>
          <ac:spMkLst>
            <pc:docMk/>
            <pc:sldMk cId="1056661577" sldId="2134803553"/>
            <ac:spMk id="335" creationId="{5499CBA2-4C72-36AC-2131-341807402855}"/>
          </ac:spMkLst>
        </pc:spChg>
        <pc:spChg chg="mod">
          <ac:chgData name="Kebba Jeng" userId="fe4cc296-ba7d-48a2-8799-89b58d218255" providerId="ADAL" clId="{253D94E7-442D-460C-9F4C-18558C0A0590}" dt="2022-05-21T19:18:37.623" v="11"/>
          <ac:spMkLst>
            <pc:docMk/>
            <pc:sldMk cId="1056661577" sldId="2134803553"/>
            <ac:spMk id="336" creationId="{EAB01D14-7C72-D6BF-F399-8008039C2705}"/>
          </ac:spMkLst>
        </pc:spChg>
        <pc:spChg chg="mod">
          <ac:chgData name="Kebba Jeng" userId="fe4cc296-ba7d-48a2-8799-89b58d218255" providerId="ADAL" clId="{253D94E7-442D-460C-9F4C-18558C0A0590}" dt="2022-05-21T19:18:37.623" v="11"/>
          <ac:spMkLst>
            <pc:docMk/>
            <pc:sldMk cId="1056661577" sldId="2134803553"/>
            <ac:spMk id="337" creationId="{08A05F35-689D-3D8B-3BCF-0E31781C24C5}"/>
          </ac:spMkLst>
        </pc:spChg>
        <pc:spChg chg="mod">
          <ac:chgData name="Kebba Jeng" userId="fe4cc296-ba7d-48a2-8799-89b58d218255" providerId="ADAL" clId="{253D94E7-442D-460C-9F4C-18558C0A0590}" dt="2022-05-21T19:18:37.623" v="11"/>
          <ac:spMkLst>
            <pc:docMk/>
            <pc:sldMk cId="1056661577" sldId="2134803553"/>
            <ac:spMk id="338" creationId="{3B594A87-878C-3C32-6BAB-C8CD62DABF96}"/>
          </ac:spMkLst>
        </pc:spChg>
        <pc:spChg chg="mod">
          <ac:chgData name="Kebba Jeng" userId="fe4cc296-ba7d-48a2-8799-89b58d218255" providerId="ADAL" clId="{253D94E7-442D-460C-9F4C-18558C0A0590}" dt="2022-05-21T19:18:37.623" v="11"/>
          <ac:spMkLst>
            <pc:docMk/>
            <pc:sldMk cId="1056661577" sldId="2134803553"/>
            <ac:spMk id="339" creationId="{A348D458-51B1-2BCB-F055-8A82700495C5}"/>
          </ac:spMkLst>
        </pc:spChg>
        <pc:spChg chg="mod">
          <ac:chgData name="Kebba Jeng" userId="fe4cc296-ba7d-48a2-8799-89b58d218255" providerId="ADAL" clId="{253D94E7-442D-460C-9F4C-18558C0A0590}" dt="2022-05-21T19:18:37.623" v="11"/>
          <ac:spMkLst>
            <pc:docMk/>
            <pc:sldMk cId="1056661577" sldId="2134803553"/>
            <ac:spMk id="340" creationId="{FAEE9B66-E8F6-E43B-9390-7493D449A1A8}"/>
          </ac:spMkLst>
        </pc:spChg>
        <pc:spChg chg="mod">
          <ac:chgData name="Kebba Jeng" userId="fe4cc296-ba7d-48a2-8799-89b58d218255" providerId="ADAL" clId="{253D94E7-442D-460C-9F4C-18558C0A0590}" dt="2022-05-21T19:18:37.623" v="11"/>
          <ac:spMkLst>
            <pc:docMk/>
            <pc:sldMk cId="1056661577" sldId="2134803553"/>
            <ac:spMk id="341" creationId="{EC4A98F9-1E75-C819-343D-425585D4BE4B}"/>
          </ac:spMkLst>
        </pc:spChg>
        <pc:spChg chg="mod">
          <ac:chgData name="Kebba Jeng" userId="fe4cc296-ba7d-48a2-8799-89b58d218255" providerId="ADAL" clId="{253D94E7-442D-460C-9F4C-18558C0A0590}" dt="2022-05-21T19:18:37.623" v="11"/>
          <ac:spMkLst>
            <pc:docMk/>
            <pc:sldMk cId="1056661577" sldId="2134803553"/>
            <ac:spMk id="342" creationId="{9B57F1DB-C0FF-FFD9-BA92-7511916A744D}"/>
          </ac:spMkLst>
        </pc:spChg>
        <pc:spChg chg="mod">
          <ac:chgData name="Kebba Jeng" userId="fe4cc296-ba7d-48a2-8799-89b58d218255" providerId="ADAL" clId="{253D94E7-442D-460C-9F4C-18558C0A0590}" dt="2022-05-21T19:18:37.623" v="11"/>
          <ac:spMkLst>
            <pc:docMk/>
            <pc:sldMk cId="1056661577" sldId="2134803553"/>
            <ac:spMk id="343" creationId="{1500D7C5-60D0-2309-2A0A-1C2415EA30F3}"/>
          </ac:spMkLst>
        </pc:spChg>
        <pc:spChg chg="mod">
          <ac:chgData name="Kebba Jeng" userId="fe4cc296-ba7d-48a2-8799-89b58d218255" providerId="ADAL" clId="{253D94E7-442D-460C-9F4C-18558C0A0590}" dt="2022-05-21T19:18:37.623" v="11"/>
          <ac:spMkLst>
            <pc:docMk/>
            <pc:sldMk cId="1056661577" sldId="2134803553"/>
            <ac:spMk id="344" creationId="{62757610-C31F-70C5-B813-FF3EEE64A75B}"/>
          </ac:spMkLst>
        </pc:spChg>
        <pc:spChg chg="mod">
          <ac:chgData name="Kebba Jeng" userId="fe4cc296-ba7d-48a2-8799-89b58d218255" providerId="ADAL" clId="{253D94E7-442D-460C-9F4C-18558C0A0590}" dt="2022-05-21T19:18:37.623" v="11"/>
          <ac:spMkLst>
            <pc:docMk/>
            <pc:sldMk cId="1056661577" sldId="2134803553"/>
            <ac:spMk id="345" creationId="{94BD6DFF-1603-8E45-D952-4F1B29553A2B}"/>
          </ac:spMkLst>
        </pc:spChg>
        <pc:spChg chg="mod">
          <ac:chgData name="Kebba Jeng" userId="fe4cc296-ba7d-48a2-8799-89b58d218255" providerId="ADAL" clId="{253D94E7-442D-460C-9F4C-18558C0A0590}" dt="2022-05-21T19:18:37.623" v="11"/>
          <ac:spMkLst>
            <pc:docMk/>
            <pc:sldMk cId="1056661577" sldId="2134803553"/>
            <ac:spMk id="346" creationId="{158C8D75-97D4-D180-99B2-BD392C35CE87}"/>
          </ac:spMkLst>
        </pc:spChg>
        <pc:spChg chg="mod">
          <ac:chgData name="Kebba Jeng" userId="fe4cc296-ba7d-48a2-8799-89b58d218255" providerId="ADAL" clId="{253D94E7-442D-460C-9F4C-18558C0A0590}" dt="2022-05-21T19:18:37.623" v="11"/>
          <ac:spMkLst>
            <pc:docMk/>
            <pc:sldMk cId="1056661577" sldId="2134803553"/>
            <ac:spMk id="347" creationId="{0FCB586D-F4E7-43D8-12BF-A91434029372}"/>
          </ac:spMkLst>
        </pc:spChg>
        <pc:spChg chg="mod">
          <ac:chgData name="Kebba Jeng" userId="fe4cc296-ba7d-48a2-8799-89b58d218255" providerId="ADAL" clId="{253D94E7-442D-460C-9F4C-18558C0A0590}" dt="2022-05-21T19:18:37.623" v="11"/>
          <ac:spMkLst>
            <pc:docMk/>
            <pc:sldMk cId="1056661577" sldId="2134803553"/>
            <ac:spMk id="348" creationId="{8C58A65E-275C-A3E2-E08D-61C05AF32423}"/>
          </ac:spMkLst>
        </pc:spChg>
        <pc:spChg chg="mod">
          <ac:chgData name="Kebba Jeng" userId="fe4cc296-ba7d-48a2-8799-89b58d218255" providerId="ADAL" clId="{253D94E7-442D-460C-9F4C-18558C0A0590}" dt="2022-05-21T19:18:37.623" v="11"/>
          <ac:spMkLst>
            <pc:docMk/>
            <pc:sldMk cId="1056661577" sldId="2134803553"/>
            <ac:spMk id="349" creationId="{DE8C53B5-E971-EC2A-C4D8-59549403F73E}"/>
          </ac:spMkLst>
        </pc:spChg>
        <pc:spChg chg="mod">
          <ac:chgData name="Kebba Jeng" userId="fe4cc296-ba7d-48a2-8799-89b58d218255" providerId="ADAL" clId="{253D94E7-442D-460C-9F4C-18558C0A0590}" dt="2022-05-21T19:18:37.623" v="11"/>
          <ac:spMkLst>
            <pc:docMk/>
            <pc:sldMk cId="1056661577" sldId="2134803553"/>
            <ac:spMk id="350" creationId="{948F4C2F-D788-3CED-8A29-A40F907725E0}"/>
          </ac:spMkLst>
        </pc:spChg>
        <pc:spChg chg="mod">
          <ac:chgData name="Kebba Jeng" userId="fe4cc296-ba7d-48a2-8799-89b58d218255" providerId="ADAL" clId="{253D94E7-442D-460C-9F4C-18558C0A0590}" dt="2022-05-21T19:18:37.623" v="11"/>
          <ac:spMkLst>
            <pc:docMk/>
            <pc:sldMk cId="1056661577" sldId="2134803553"/>
            <ac:spMk id="351" creationId="{D6AC80B9-D29E-CC77-B093-BBCCA5130736}"/>
          </ac:spMkLst>
        </pc:spChg>
        <pc:spChg chg="mod">
          <ac:chgData name="Kebba Jeng" userId="fe4cc296-ba7d-48a2-8799-89b58d218255" providerId="ADAL" clId="{253D94E7-442D-460C-9F4C-18558C0A0590}" dt="2022-05-21T19:18:37.623" v="11"/>
          <ac:spMkLst>
            <pc:docMk/>
            <pc:sldMk cId="1056661577" sldId="2134803553"/>
            <ac:spMk id="352" creationId="{1F33108A-1543-93CB-A8AB-ABBCE831E16A}"/>
          </ac:spMkLst>
        </pc:spChg>
        <pc:spChg chg="mod">
          <ac:chgData name="Kebba Jeng" userId="fe4cc296-ba7d-48a2-8799-89b58d218255" providerId="ADAL" clId="{253D94E7-442D-460C-9F4C-18558C0A0590}" dt="2022-05-21T19:18:37.623" v="11"/>
          <ac:spMkLst>
            <pc:docMk/>
            <pc:sldMk cId="1056661577" sldId="2134803553"/>
            <ac:spMk id="353" creationId="{605B6795-45DC-7286-B2F2-5E959AC1198A}"/>
          </ac:spMkLst>
        </pc:spChg>
        <pc:spChg chg="mod">
          <ac:chgData name="Kebba Jeng" userId="fe4cc296-ba7d-48a2-8799-89b58d218255" providerId="ADAL" clId="{253D94E7-442D-460C-9F4C-18558C0A0590}" dt="2022-05-21T19:18:37.623" v="11"/>
          <ac:spMkLst>
            <pc:docMk/>
            <pc:sldMk cId="1056661577" sldId="2134803553"/>
            <ac:spMk id="354" creationId="{E94743A7-7789-B632-9578-591A9D41F2A9}"/>
          </ac:spMkLst>
        </pc:spChg>
        <pc:spChg chg="mod">
          <ac:chgData name="Kebba Jeng" userId="fe4cc296-ba7d-48a2-8799-89b58d218255" providerId="ADAL" clId="{253D94E7-442D-460C-9F4C-18558C0A0590}" dt="2022-05-21T19:18:37.623" v="11"/>
          <ac:spMkLst>
            <pc:docMk/>
            <pc:sldMk cId="1056661577" sldId="2134803553"/>
            <ac:spMk id="355" creationId="{32A3D076-C50A-EFA2-AA24-D7AC7D59E62A}"/>
          </ac:spMkLst>
        </pc:spChg>
        <pc:spChg chg="mod">
          <ac:chgData name="Kebba Jeng" userId="fe4cc296-ba7d-48a2-8799-89b58d218255" providerId="ADAL" clId="{253D94E7-442D-460C-9F4C-18558C0A0590}" dt="2022-05-21T19:18:37.623" v="11"/>
          <ac:spMkLst>
            <pc:docMk/>
            <pc:sldMk cId="1056661577" sldId="2134803553"/>
            <ac:spMk id="356" creationId="{23501AD5-779B-7F52-2FC3-0764FE09D4E5}"/>
          </ac:spMkLst>
        </pc:spChg>
        <pc:spChg chg="mod">
          <ac:chgData name="Kebba Jeng" userId="fe4cc296-ba7d-48a2-8799-89b58d218255" providerId="ADAL" clId="{253D94E7-442D-460C-9F4C-18558C0A0590}" dt="2022-05-21T19:18:37.623" v="11"/>
          <ac:spMkLst>
            <pc:docMk/>
            <pc:sldMk cId="1056661577" sldId="2134803553"/>
            <ac:spMk id="357" creationId="{286C7BB5-F717-38AB-572E-AEE4CDF18498}"/>
          </ac:spMkLst>
        </pc:spChg>
        <pc:spChg chg="mod">
          <ac:chgData name="Kebba Jeng" userId="fe4cc296-ba7d-48a2-8799-89b58d218255" providerId="ADAL" clId="{253D94E7-442D-460C-9F4C-18558C0A0590}" dt="2022-05-21T19:18:37.623" v="11"/>
          <ac:spMkLst>
            <pc:docMk/>
            <pc:sldMk cId="1056661577" sldId="2134803553"/>
            <ac:spMk id="358" creationId="{5238204F-753F-C1FD-4E83-DECA9A134871}"/>
          </ac:spMkLst>
        </pc:spChg>
        <pc:spChg chg="mod">
          <ac:chgData name="Kebba Jeng" userId="fe4cc296-ba7d-48a2-8799-89b58d218255" providerId="ADAL" clId="{253D94E7-442D-460C-9F4C-18558C0A0590}" dt="2022-05-21T19:18:37.623" v="11"/>
          <ac:spMkLst>
            <pc:docMk/>
            <pc:sldMk cId="1056661577" sldId="2134803553"/>
            <ac:spMk id="359" creationId="{FE9ADE1B-D299-BFC4-9A09-4E8028CC7A26}"/>
          </ac:spMkLst>
        </pc:spChg>
        <pc:spChg chg="mod">
          <ac:chgData name="Kebba Jeng" userId="fe4cc296-ba7d-48a2-8799-89b58d218255" providerId="ADAL" clId="{253D94E7-442D-460C-9F4C-18558C0A0590}" dt="2022-05-21T19:18:37.623" v="11"/>
          <ac:spMkLst>
            <pc:docMk/>
            <pc:sldMk cId="1056661577" sldId="2134803553"/>
            <ac:spMk id="360" creationId="{91FEE91D-A3A0-A96A-AFA4-AF9617C0A255}"/>
          </ac:spMkLst>
        </pc:spChg>
        <pc:spChg chg="mod">
          <ac:chgData name="Kebba Jeng" userId="fe4cc296-ba7d-48a2-8799-89b58d218255" providerId="ADAL" clId="{253D94E7-442D-460C-9F4C-18558C0A0590}" dt="2022-05-21T19:18:37.623" v="11"/>
          <ac:spMkLst>
            <pc:docMk/>
            <pc:sldMk cId="1056661577" sldId="2134803553"/>
            <ac:spMk id="361" creationId="{BA0EBE02-7117-8A48-3B6F-8FDF5B92C5B6}"/>
          </ac:spMkLst>
        </pc:spChg>
        <pc:spChg chg="mod">
          <ac:chgData name="Kebba Jeng" userId="fe4cc296-ba7d-48a2-8799-89b58d218255" providerId="ADAL" clId="{253D94E7-442D-460C-9F4C-18558C0A0590}" dt="2022-05-21T19:18:37.623" v="11"/>
          <ac:spMkLst>
            <pc:docMk/>
            <pc:sldMk cId="1056661577" sldId="2134803553"/>
            <ac:spMk id="362" creationId="{9D1067C9-0E5F-1EC9-95EF-4882658D78CC}"/>
          </ac:spMkLst>
        </pc:spChg>
        <pc:spChg chg="mod">
          <ac:chgData name="Kebba Jeng" userId="fe4cc296-ba7d-48a2-8799-89b58d218255" providerId="ADAL" clId="{253D94E7-442D-460C-9F4C-18558C0A0590}" dt="2022-05-21T19:18:37.623" v="11"/>
          <ac:spMkLst>
            <pc:docMk/>
            <pc:sldMk cId="1056661577" sldId="2134803553"/>
            <ac:spMk id="363" creationId="{20823615-8AE4-247B-99EC-28C04E76E2BF}"/>
          </ac:spMkLst>
        </pc:spChg>
        <pc:spChg chg="mod">
          <ac:chgData name="Kebba Jeng" userId="fe4cc296-ba7d-48a2-8799-89b58d218255" providerId="ADAL" clId="{253D94E7-442D-460C-9F4C-18558C0A0590}" dt="2022-05-21T19:18:37.623" v="11"/>
          <ac:spMkLst>
            <pc:docMk/>
            <pc:sldMk cId="1056661577" sldId="2134803553"/>
            <ac:spMk id="364" creationId="{E3B52CD2-AA22-F1DF-2CBD-661EFC865DEE}"/>
          </ac:spMkLst>
        </pc:spChg>
        <pc:spChg chg="mod">
          <ac:chgData name="Kebba Jeng" userId="fe4cc296-ba7d-48a2-8799-89b58d218255" providerId="ADAL" clId="{253D94E7-442D-460C-9F4C-18558C0A0590}" dt="2022-05-21T19:18:37.623" v="11"/>
          <ac:spMkLst>
            <pc:docMk/>
            <pc:sldMk cId="1056661577" sldId="2134803553"/>
            <ac:spMk id="365" creationId="{B007E8BE-0361-5BE6-2A89-379AFD2E126D}"/>
          </ac:spMkLst>
        </pc:spChg>
        <pc:spChg chg="mod">
          <ac:chgData name="Kebba Jeng" userId="fe4cc296-ba7d-48a2-8799-89b58d218255" providerId="ADAL" clId="{253D94E7-442D-460C-9F4C-18558C0A0590}" dt="2022-05-21T19:18:37.623" v="11"/>
          <ac:spMkLst>
            <pc:docMk/>
            <pc:sldMk cId="1056661577" sldId="2134803553"/>
            <ac:spMk id="366" creationId="{16DA9B3F-6C2B-8B16-FB05-C48EED41429F}"/>
          </ac:spMkLst>
        </pc:spChg>
        <pc:spChg chg="mod">
          <ac:chgData name="Kebba Jeng" userId="fe4cc296-ba7d-48a2-8799-89b58d218255" providerId="ADAL" clId="{253D94E7-442D-460C-9F4C-18558C0A0590}" dt="2022-05-21T19:18:37.623" v="11"/>
          <ac:spMkLst>
            <pc:docMk/>
            <pc:sldMk cId="1056661577" sldId="2134803553"/>
            <ac:spMk id="367" creationId="{A8BE410D-1F53-CD16-4A28-30710312B09F}"/>
          </ac:spMkLst>
        </pc:spChg>
        <pc:spChg chg="mod">
          <ac:chgData name="Kebba Jeng" userId="fe4cc296-ba7d-48a2-8799-89b58d218255" providerId="ADAL" clId="{253D94E7-442D-460C-9F4C-18558C0A0590}" dt="2022-05-21T19:18:37.623" v="11"/>
          <ac:spMkLst>
            <pc:docMk/>
            <pc:sldMk cId="1056661577" sldId="2134803553"/>
            <ac:spMk id="368" creationId="{BFD421B2-A2CB-3324-8A67-6229F0490FB8}"/>
          </ac:spMkLst>
        </pc:spChg>
        <pc:spChg chg="mod">
          <ac:chgData name="Kebba Jeng" userId="fe4cc296-ba7d-48a2-8799-89b58d218255" providerId="ADAL" clId="{253D94E7-442D-460C-9F4C-18558C0A0590}" dt="2022-05-21T19:18:37.623" v="11"/>
          <ac:spMkLst>
            <pc:docMk/>
            <pc:sldMk cId="1056661577" sldId="2134803553"/>
            <ac:spMk id="369" creationId="{4A3AA4B0-FDCC-2984-9B83-0C4A7F228BDB}"/>
          </ac:spMkLst>
        </pc:spChg>
        <pc:spChg chg="mod">
          <ac:chgData name="Kebba Jeng" userId="fe4cc296-ba7d-48a2-8799-89b58d218255" providerId="ADAL" clId="{253D94E7-442D-460C-9F4C-18558C0A0590}" dt="2022-05-21T19:18:37.623" v="11"/>
          <ac:spMkLst>
            <pc:docMk/>
            <pc:sldMk cId="1056661577" sldId="2134803553"/>
            <ac:spMk id="370" creationId="{308C2F67-476B-DB94-0D0D-EFE4662269A9}"/>
          </ac:spMkLst>
        </pc:spChg>
        <pc:spChg chg="mod">
          <ac:chgData name="Kebba Jeng" userId="fe4cc296-ba7d-48a2-8799-89b58d218255" providerId="ADAL" clId="{253D94E7-442D-460C-9F4C-18558C0A0590}" dt="2022-05-21T19:18:37.623" v="11"/>
          <ac:spMkLst>
            <pc:docMk/>
            <pc:sldMk cId="1056661577" sldId="2134803553"/>
            <ac:spMk id="371" creationId="{D3E1DB36-64E5-AB72-1E12-01003EB41CC7}"/>
          </ac:spMkLst>
        </pc:spChg>
        <pc:spChg chg="mod">
          <ac:chgData name="Kebba Jeng" userId="fe4cc296-ba7d-48a2-8799-89b58d218255" providerId="ADAL" clId="{253D94E7-442D-460C-9F4C-18558C0A0590}" dt="2022-05-21T19:18:37.623" v="11"/>
          <ac:spMkLst>
            <pc:docMk/>
            <pc:sldMk cId="1056661577" sldId="2134803553"/>
            <ac:spMk id="372" creationId="{25E94D37-4306-BAE6-B551-6228F1F31C12}"/>
          </ac:spMkLst>
        </pc:spChg>
        <pc:spChg chg="mod">
          <ac:chgData name="Kebba Jeng" userId="fe4cc296-ba7d-48a2-8799-89b58d218255" providerId="ADAL" clId="{253D94E7-442D-460C-9F4C-18558C0A0590}" dt="2022-05-21T19:18:37.623" v="11"/>
          <ac:spMkLst>
            <pc:docMk/>
            <pc:sldMk cId="1056661577" sldId="2134803553"/>
            <ac:spMk id="373" creationId="{B027A2AE-F87D-DBCF-6A41-C931CE347D12}"/>
          </ac:spMkLst>
        </pc:spChg>
        <pc:spChg chg="mod">
          <ac:chgData name="Kebba Jeng" userId="fe4cc296-ba7d-48a2-8799-89b58d218255" providerId="ADAL" clId="{253D94E7-442D-460C-9F4C-18558C0A0590}" dt="2022-05-21T19:18:37.623" v="11"/>
          <ac:spMkLst>
            <pc:docMk/>
            <pc:sldMk cId="1056661577" sldId="2134803553"/>
            <ac:spMk id="374" creationId="{679D4E8E-3075-C51D-F8A4-70C4B0AAF814}"/>
          </ac:spMkLst>
        </pc:spChg>
        <pc:spChg chg="mod">
          <ac:chgData name="Kebba Jeng" userId="fe4cc296-ba7d-48a2-8799-89b58d218255" providerId="ADAL" clId="{253D94E7-442D-460C-9F4C-18558C0A0590}" dt="2022-05-21T19:18:37.623" v="11"/>
          <ac:spMkLst>
            <pc:docMk/>
            <pc:sldMk cId="1056661577" sldId="2134803553"/>
            <ac:spMk id="375" creationId="{06AC4938-1F38-9CF5-A90B-0AB6476569CB}"/>
          </ac:spMkLst>
        </pc:spChg>
        <pc:spChg chg="mod">
          <ac:chgData name="Kebba Jeng" userId="fe4cc296-ba7d-48a2-8799-89b58d218255" providerId="ADAL" clId="{253D94E7-442D-460C-9F4C-18558C0A0590}" dt="2022-05-21T19:18:37.623" v="11"/>
          <ac:spMkLst>
            <pc:docMk/>
            <pc:sldMk cId="1056661577" sldId="2134803553"/>
            <ac:spMk id="376" creationId="{BD411A91-57DD-C6A9-ACDC-07203E66F85C}"/>
          </ac:spMkLst>
        </pc:spChg>
        <pc:spChg chg="mod">
          <ac:chgData name="Kebba Jeng" userId="fe4cc296-ba7d-48a2-8799-89b58d218255" providerId="ADAL" clId="{253D94E7-442D-460C-9F4C-18558C0A0590}" dt="2022-05-21T19:18:37.623" v="11"/>
          <ac:spMkLst>
            <pc:docMk/>
            <pc:sldMk cId="1056661577" sldId="2134803553"/>
            <ac:spMk id="377" creationId="{AB387FC9-EE1D-994C-6262-BADDE868B391}"/>
          </ac:spMkLst>
        </pc:spChg>
        <pc:spChg chg="mod">
          <ac:chgData name="Kebba Jeng" userId="fe4cc296-ba7d-48a2-8799-89b58d218255" providerId="ADAL" clId="{253D94E7-442D-460C-9F4C-18558C0A0590}" dt="2022-05-21T19:18:37.623" v="11"/>
          <ac:spMkLst>
            <pc:docMk/>
            <pc:sldMk cId="1056661577" sldId="2134803553"/>
            <ac:spMk id="378" creationId="{CD6E7020-8740-BA56-978E-3B2D7CBF3D94}"/>
          </ac:spMkLst>
        </pc:spChg>
        <pc:spChg chg="mod">
          <ac:chgData name="Kebba Jeng" userId="fe4cc296-ba7d-48a2-8799-89b58d218255" providerId="ADAL" clId="{253D94E7-442D-460C-9F4C-18558C0A0590}" dt="2022-05-21T19:18:37.623" v="11"/>
          <ac:spMkLst>
            <pc:docMk/>
            <pc:sldMk cId="1056661577" sldId="2134803553"/>
            <ac:spMk id="379" creationId="{4CBC307C-91FE-F134-C3F5-E17AE7535723}"/>
          </ac:spMkLst>
        </pc:spChg>
        <pc:spChg chg="mod">
          <ac:chgData name="Kebba Jeng" userId="fe4cc296-ba7d-48a2-8799-89b58d218255" providerId="ADAL" clId="{253D94E7-442D-460C-9F4C-18558C0A0590}" dt="2022-05-21T19:18:37.623" v="11"/>
          <ac:spMkLst>
            <pc:docMk/>
            <pc:sldMk cId="1056661577" sldId="2134803553"/>
            <ac:spMk id="380" creationId="{4D90D6E2-9682-1830-607C-AE88939E3EC8}"/>
          </ac:spMkLst>
        </pc:spChg>
        <pc:spChg chg="mod">
          <ac:chgData name="Kebba Jeng" userId="fe4cc296-ba7d-48a2-8799-89b58d218255" providerId="ADAL" clId="{253D94E7-442D-460C-9F4C-18558C0A0590}" dt="2022-05-21T19:18:37.623" v="11"/>
          <ac:spMkLst>
            <pc:docMk/>
            <pc:sldMk cId="1056661577" sldId="2134803553"/>
            <ac:spMk id="381" creationId="{0D889F91-5EF6-AF1A-CEF1-43044B2AB686}"/>
          </ac:spMkLst>
        </pc:spChg>
        <pc:spChg chg="mod">
          <ac:chgData name="Kebba Jeng" userId="fe4cc296-ba7d-48a2-8799-89b58d218255" providerId="ADAL" clId="{253D94E7-442D-460C-9F4C-18558C0A0590}" dt="2022-05-21T19:18:37.623" v="11"/>
          <ac:spMkLst>
            <pc:docMk/>
            <pc:sldMk cId="1056661577" sldId="2134803553"/>
            <ac:spMk id="382" creationId="{20FAEC53-82CB-2ED4-D0DA-ACF9B3C9F66A}"/>
          </ac:spMkLst>
        </pc:spChg>
        <pc:spChg chg="mod">
          <ac:chgData name="Kebba Jeng" userId="fe4cc296-ba7d-48a2-8799-89b58d218255" providerId="ADAL" clId="{253D94E7-442D-460C-9F4C-18558C0A0590}" dt="2022-05-21T19:18:37.623" v="11"/>
          <ac:spMkLst>
            <pc:docMk/>
            <pc:sldMk cId="1056661577" sldId="2134803553"/>
            <ac:spMk id="383" creationId="{495661F9-248E-B289-F80E-4AEA6CD42F90}"/>
          </ac:spMkLst>
        </pc:spChg>
        <pc:spChg chg="mod">
          <ac:chgData name="Kebba Jeng" userId="fe4cc296-ba7d-48a2-8799-89b58d218255" providerId="ADAL" clId="{253D94E7-442D-460C-9F4C-18558C0A0590}" dt="2022-05-21T19:18:37.623" v="11"/>
          <ac:spMkLst>
            <pc:docMk/>
            <pc:sldMk cId="1056661577" sldId="2134803553"/>
            <ac:spMk id="384" creationId="{7F6B80AB-3140-73CD-35B1-D24E68BA0DEB}"/>
          </ac:spMkLst>
        </pc:spChg>
        <pc:spChg chg="mod">
          <ac:chgData name="Kebba Jeng" userId="fe4cc296-ba7d-48a2-8799-89b58d218255" providerId="ADAL" clId="{253D94E7-442D-460C-9F4C-18558C0A0590}" dt="2022-05-21T19:18:37.623" v="11"/>
          <ac:spMkLst>
            <pc:docMk/>
            <pc:sldMk cId="1056661577" sldId="2134803553"/>
            <ac:spMk id="385" creationId="{B5CA02A8-1A36-9B38-7825-56949C356426}"/>
          </ac:spMkLst>
        </pc:spChg>
        <pc:spChg chg="mod">
          <ac:chgData name="Kebba Jeng" userId="fe4cc296-ba7d-48a2-8799-89b58d218255" providerId="ADAL" clId="{253D94E7-442D-460C-9F4C-18558C0A0590}" dt="2022-05-21T19:18:37.623" v="11"/>
          <ac:spMkLst>
            <pc:docMk/>
            <pc:sldMk cId="1056661577" sldId="2134803553"/>
            <ac:spMk id="386" creationId="{0B612CFF-C1C2-1EEC-7091-D95183E4B998}"/>
          </ac:spMkLst>
        </pc:spChg>
        <pc:spChg chg="mod">
          <ac:chgData name="Kebba Jeng" userId="fe4cc296-ba7d-48a2-8799-89b58d218255" providerId="ADAL" clId="{253D94E7-442D-460C-9F4C-18558C0A0590}" dt="2022-05-21T19:18:37.623" v="11"/>
          <ac:spMkLst>
            <pc:docMk/>
            <pc:sldMk cId="1056661577" sldId="2134803553"/>
            <ac:spMk id="387" creationId="{087CBF45-3FD3-4361-0A2E-47F4D715C0A0}"/>
          </ac:spMkLst>
        </pc:spChg>
        <pc:spChg chg="mod">
          <ac:chgData name="Kebba Jeng" userId="fe4cc296-ba7d-48a2-8799-89b58d218255" providerId="ADAL" clId="{253D94E7-442D-460C-9F4C-18558C0A0590}" dt="2022-05-21T19:18:37.623" v="11"/>
          <ac:spMkLst>
            <pc:docMk/>
            <pc:sldMk cId="1056661577" sldId="2134803553"/>
            <ac:spMk id="388" creationId="{51835468-B942-DF9F-CA83-3D725038E11E}"/>
          </ac:spMkLst>
        </pc:spChg>
        <pc:spChg chg="mod">
          <ac:chgData name="Kebba Jeng" userId="fe4cc296-ba7d-48a2-8799-89b58d218255" providerId="ADAL" clId="{253D94E7-442D-460C-9F4C-18558C0A0590}" dt="2022-05-21T19:18:37.623" v="11"/>
          <ac:spMkLst>
            <pc:docMk/>
            <pc:sldMk cId="1056661577" sldId="2134803553"/>
            <ac:spMk id="389" creationId="{6CD8761D-7E3B-0DA9-09CD-A230E348142E}"/>
          </ac:spMkLst>
        </pc:spChg>
        <pc:spChg chg="mod">
          <ac:chgData name="Kebba Jeng" userId="fe4cc296-ba7d-48a2-8799-89b58d218255" providerId="ADAL" clId="{253D94E7-442D-460C-9F4C-18558C0A0590}" dt="2022-05-21T19:18:37.623" v="11"/>
          <ac:spMkLst>
            <pc:docMk/>
            <pc:sldMk cId="1056661577" sldId="2134803553"/>
            <ac:spMk id="390" creationId="{A41A1744-03B7-4B5C-367A-C0B496F08617}"/>
          </ac:spMkLst>
        </pc:spChg>
        <pc:spChg chg="mod">
          <ac:chgData name="Kebba Jeng" userId="fe4cc296-ba7d-48a2-8799-89b58d218255" providerId="ADAL" clId="{253D94E7-442D-460C-9F4C-18558C0A0590}" dt="2022-05-21T19:18:37.623" v="11"/>
          <ac:spMkLst>
            <pc:docMk/>
            <pc:sldMk cId="1056661577" sldId="2134803553"/>
            <ac:spMk id="391" creationId="{7988BCF9-3214-51DE-A3EC-F553016AE187}"/>
          </ac:spMkLst>
        </pc:spChg>
        <pc:spChg chg="mod">
          <ac:chgData name="Kebba Jeng" userId="fe4cc296-ba7d-48a2-8799-89b58d218255" providerId="ADAL" clId="{253D94E7-442D-460C-9F4C-18558C0A0590}" dt="2022-05-21T19:18:37.623" v="11"/>
          <ac:spMkLst>
            <pc:docMk/>
            <pc:sldMk cId="1056661577" sldId="2134803553"/>
            <ac:spMk id="392" creationId="{4D540B37-2CF7-8A4F-0214-B1584A221725}"/>
          </ac:spMkLst>
        </pc:spChg>
        <pc:spChg chg="mod">
          <ac:chgData name="Kebba Jeng" userId="fe4cc296-ba7d-48a2-8799-89b58d218255" providerId="ADAL" clId="{253D94E7-442D-460C-9F4C-18558C0A0590}" dt="2022-05-21T19:18:37.623" v="11"/>
          <ac:spMkLst>
            <pc:docMk/>
            <pc:sldMk cId="1056661577" sldId="2134803553"/>
            <ac:spMk id="393" creationId="{AD6A1AAD-6F59-D928-1AF5-5B48522E0731}"/>
          </ac:spMkLst>
        </pc:spChg>
        <pc:spChg chg="mod">
          <ac:chgData name="Kebba Jeng" userId="fe4cc296-ba7d-48a2-8799-89b58d218255" providerId="ADAL" clId="{253D94E7-442D-460C-9F4C-18558C0A0590}" dt="2022-05-21T19:18:37.623" v="11"/>
          <ac:spMkLst>
            <pc:docMk/>
            <pc:sldMk cId="1056661577" sldId="2134803553"/>
            <ac:spMk id="394" creationId="{2A4E9009-EC28-3C7A-312B-362B772FC27D}"/>
          </ac:spMkLst>
        </pc:spChg>
        <pc:spChg chg="mod">
          <ac:chgData name="Kebba Jeng" userId="fe4cc296-ba7d-48a2-8799-89b58d218255" providerId="ADAL" clId="{253D94E7-442D-460C-9F4C-18558C0A0590}" dt="2022-05-21T19:18:37.623" v="11"/>
          <ac:spMkLst>
            <pc:docMk/>
            <pc:sldMk cId="1056661577" sldId="2134803553"/>
            <ac:spMk id="395" creationId="{2AF6A58B-29D9-CC11-DFC3-72A71C60B81E}"/>
          </ac:spMkLst>
        </pc:spChg>
        <pc:spChg chg="mod">
          <ac:chgData name="Kebba Jeng" userId="fe4cc296-ba7d-48a2-8799-89b58d218255" providerId="ADAL" clId="{253D94E7-442D-460C-9F4C-18558C0A0590}" dt="2022-05-21T19:18:37.623" v="11"/>
          <ac:spMkLst>
            <pc:docMk/>
            <pc:sldMk cId="1056661577" sldId="2134803553"/>
            <ac:spMk id="396" creationId="{3D58765A-C663-225C-6D51-CD5BBEDAFD2D}"/>
          </ac:spMkLst>
        </pc:spChg>
        <pc:spChg chg="mod">
          <ac:chgData name="Kebba Jeng" userId="fe4cc296-ba7d-48a2-8799-89b58d218255" providerId="ADAL" clId="{253D94E7-442D-460C-9F4C-18558C0A0590}" dt="2022-05-21T19:18:37.623" v="11"/>
          <ac:spMkLst>
            <pc:docMk/>
            <pc:sldMk cId="1056661577" sldId="2134803553"/>
            <ac:spMk id="397" creationId="{CD0AA11B-BF89-D044-1B8E-30AD4333337E}"/>
          </ac:spMkLst>
        </pc:spChg>
        <pc:spChg chg="mod">
          <ac:chgData name="Kebba Jeng" userId="fe4cc296-ba7d-48a2-8799-89b58d218255" providerId="ADAL" clId="{253D94E7-442D-460C-9F4C-18558C0A0590}" dt="2022-05-21T19:18:37.623" v="11"/>
          <ac:spMkLst>
            <pc:docMk/>
            <pc:sldMk cId="1056661577" sldId="2134803553"/>
            <ac:spMk id="399" creationId="{0ACF7402-2167-5E14-22F4-52C8CD60AA99}"/>
          </ac:spMkLst>
        </pc:spChg>
        <pc:spChg chg="mod">
          <ac:chgData name="Kebba Jeng" userId="fe4cc296-ba7d-48a2-8799-89b58d218255" providerId="ADAL" clId="{253D94E7-442D-460C-9F4C-18558C0A0590}" dt="2022-05-21T19:18:37.623" v="11"/>
          <ac:spMkLst>
            <pc:docMk/>
            <pc:sldMk cId="1056661577" sldId="2134803553"/>
            <ac:spMk id="595" creationId="{9B8EA255-E140-5A5E-3B0B-9228EC469710}"/>
          </ac:spMkLst>
        </pc:spChg>
        <pc:spChg chg="mod">
          <ac:chgData name="Kebba Jeng" userId="fe4cc296-ba7d-48a2-8799-89b58d218255" providerId="ADAL" clId="{253D94E7-442D-460C-9F4C-18558C0A0590}" dt="2022-05-21T19:18:37.623" v="11"/>
          <ac:spMkLst>
            <pc:docMk/>
            <pc:sldMk cId="1056661577" sldId="2134803553"/>
            <ac:spMk id="596" creationId="{D875D1B5-2113-6106-C2AF-F8C41114987F}"/>
          </ac:spMkLst>
        </pc:spChg>
        <pc:spChg chg="mod">
          <ac:chgData name="Kebba Jeng" userId="fe4cc296-ba7d-48a2-8799-89b58d218255" providerId="ADAL" clId="{253D94E7-442D-460C-9F4C-18558C0A0590}" dt="2022-05-21T19:18:37.623" v="11"/>
          <ac:spMkLst>
            <pc:docMk/>
            <pc:sldMk cId="1056661577" sldId="2134803553"/>
            <ac:spMk id="597" creationId="{411914B6-7AD1-CC15-2EB6-8A4EC5F3C5B4}"/>
          </ac:spMkLst>
        </pc:spChg>
        <pc:spChg chg="mod">
          <ac:chgData name="Kebba Jeng" userId="fe4cc296-ba7d-48a2-8799-89b58d218255" providerId="ADAL" clId="{253D94E7-442D-460C-9F4C-18558C0A0590}" dt="2022-05-21T19:18:37.623" v="11"/>
          <ac:spMkLst>
            <pc:docMk/>
            <pc:sldMk cId="1056661577" sldId="2134803553"/>
            <ac:spMk id="598" creationId="{DFD468FF-CC66-A5F7-5F27-289B2BCF381A}"/>
          </ac:spMkLst>
        </pc:spChg>
        <pc:spChg chg="mod">
          <ac:chgData name="Kebba Jeng" userId="fe4cc296-ba7d-48a2-8799-89b58d218255" providerId="ADAL" clId="{253D94E7-442D-460C-9F4C-18558C0A0590}" dt="2022-05-21T19:18:37.623" v="11"/>
          <ac:spMkLst>
            <pc:docMk/>
            <pc:sldMk cId="1056661577" sldId="2134803553"/>
            <ac:spMk id="599" creationId="{06AA92EF-452C-1C1E-C18A-DAEE742356C6}"/>
          </ac:spMkLst>
        </pc:spChg>
        <pc:spChg chg="add del mod">
          <ac:chgData name="Kebba Jeng" userId="fe4cc296-ba7d-48a2-8799-89b58d218255" providerId="ADAL" clId="{253D94E7-442D-460C-9F4C-18558C0A0590}" dt="2022-05-21T19:18:40.746" v="14"/>
          <ac:spMkLst>
            <pc:docMk/>
            <pc:sldMk cId="1056661577" sldId="2134803553"/>
            <ac:spMk id="601" creationId="{6D669C07-2941-7BE6-7A8C-35831E05A380}"/>
          </ac:spMkLst>
        </pc:spChg>
        <pc:spChg chg="mod">
          <ac:chgData name="Kebba Jeng" userId="fe4cc296-ba7d-48a2-8799-89b58d218255" providerId="ADAL" clId="{253D94E7-442D-460C-9F4C-18558C0A0590}" dt="2022-05-21T19:54:41.084" v="21" actId="20577"/>
          <ac:spMkLst>
            <pc:docMk/>
            <pc:sldMk cId="1056661577" sldId="2134803553"/>
            <ac:spMk id="605" creationId="{EF7E7C7E-B7F6-47AE-A35E-3AEFB768C1C9}"/>
          </ac:spMkLst>
        </pc:spChg>
        <pc:spChg chg="add del mod">
          <ac:chgData name="Kebba Jeng" userId="fe4cc296-ba7d-48a2-8799-89b58d218255" providerId="ADAL" clId="{253D94E7-442D-460C-9F4C-18558C0A0590}" dt="2022-05-21T19:18:40.746" v="14"/>
          <ac:spMkLst>
            <pc:docMk/>
            <pc:sldMk cId="1056661577" sldId="2134803553"/>
            <ac:spMk id="606" creationId="{64FFB853-0D2C-7EDA-8763-73BBBB28925E}"/>
          </ac:spMkLst>
        </pc:spChg>
        <pc:spChg chg="mod">
          <ac:chgData name="Kebba Jeng" userId="fe4cc296-ba7d-48a2-8799-89b58d218255" providerId="ADAL" clId="{253D94E7-442D-460C-9F4C-18558C0A0590}" dt="2022-05-21T19:54:46.498" v="22"/>
          <ac:spMkLst>
            <pc:docMk/>
            <pc:sldMk cId="1056661577" sldId="2134803553"/>
            <ac:spMk id="610" creationId="{30E13503-DD37-3E24-BE0A-7E98B3529608}"/>
          </ac:spMkLst>
        </pc:spChg>
        <pc:spChg chg="mod">
          <ac:chgData name="Kebba Jeng" userId="fe4cc296-ba7d-48a2-8799-89b58d218255" providerId="ADAL" clId="{253D94E7-442D-460C-9F4C-18558C0A0590}" dt="2022-05-21T19:54:46.498" v="22"/>
          <ac:spMkLst>
            <pc:docMk/>
            <pc:sldMk cId="1056661577" sldId="2134803553"/>
            <ac:spMk id="611" creationId="{68672514-EA3F-78D7-5849-C78CCA4DE1B3}"/>
          </ac:spMkLst>
        </pc:spChg>
        <pc:spChg chg="mod">
          <ac:chgData name="Kebba Jeng" userId="fe4cc296-ba7d-48a2-8799-89b58d218255" providerId="ADAL" clId="{253D94E7-442D-460C-9F4C-18558C0A0590}" dt="2022-05-21T19:54:46.498" v="22"/>
          <ac:spMkLst>
            <pc:docMk/>
            <pc:sldMk cId="1056661577" sldId="2134803553"/>
            <ac:spMk id="613" creationId="{F43310B7-4D13-68B1-6CAD-B05C08728BF6}"/>
          </ac:spMkLst>
        </pc:spChg>
        <pc:spChg chg="mod">
          <ac:chgData name="Kebba Jeng" userId="fe4cc296-ba7d-48a2-8799-89b58d218255" providerId="ADAL" clId="{253D94E7-442D-460C-9F4C-18558C0A0590}" dt="2022-05-21T19:54:46.498" v="22"/>
          <ac:spMkLst>
            <pc:docMk/>
            <pc:sldMk cId="1056661577" sldId="2134803553"/>
            <ac:spMk id="614" creationId="{79984F7A-F934-6A37-ACB2-896F63B39F00}"/>
          </ac:spMkLst>
        </pc:spChg>
        <pc:spChg chg="mod">
          <ac:chgData name="Kebba Jeng" userId="fe4cc296-ba7d-48a2-8799-89b58d218255" providerId="ADAL" clId="{253D94E7-442D-460C-9F4C-18558C0A0590}" dt="2022-05-21T19:54:46.498" v="22"/>
          <ac:spMkLst>
            <pc:docMk/>
            <pc:sldMk cId="1056661577" sldId="2134803553"/>
            <ac:spMk id="615" creationId="{A589DA04-950D-C316-B8F4-28701F1BD505}"/>
          </ac:spMkLst>
        </pc:spChg>
        <pc:spChg chg="mod">
          <ac:chgData name="Kebba Jeng" userId="fe4cc296-ba7d-48a2-8799-89b58d218255" providerId="ADAL" clId="{253D94E7-442D-460C-9F4C-18558C0A0590}" dt="2022-05-21T19:54:46.498" v="22"/>
          <ac:spMkLst>
            <pc:docMk/>
            <pc:sldMk cId="1056661577" sldId="2134803553"/>
            <ac:spMk id="616" creationId="{EFADEE8A-E9E2-C1F3-4A6B-36299934B9EA}"/>
          </ac:spMkLst>
        </pc:spChg>
        <pc:spChg chg="mod">
          <ac:chgData name="Kebba Jeng" userId="fe4cc296-ba7d-48a2-8799-89b58d218255" providerId="ADAL" clId="{253D94E7-442D-460C-9F4C-18558C0A0590}" dt="2022-05-21T19:54:46.498" v="22"/>
          <ac:spMkLst>
            <pc:docMk/>
            <pc:sldMk cId="1056661577" sldId="2134803553"/>
            <ac:spMk id="617" creationId="{91FA54CE-C755-6A23-96DA-3EB33E89727E}"/>
          </ac:spMkLst>
        </pc:spChg>
        <pc:spChg chg="mod">
          <ac:chgData name="Kebba Jeng" userId="fe4cc296-ba7d-48a2-8799-89b58d218255" providerId="ADAL" clId="{253D94E7-442D-460C-9F4C-18558C0A0590}" dt="2022-05-21T19:54:46.498" v="22"/>
          <ac:spMkLst>
            <pc:docMk/>
            <pc:sldMk cId="1056661577" sldId="2134803553"/>
            <ac:spMk id="618" creationId="{91070F85-A31D-AA0C-B6D6-8B534C9755FA}"/>
          </ac:spMkLst>
        </pc:spChg>
        <pc:spChg chg="mod">
          <ac:chgData name="Kebba Jeng" userId="fe4cc296-ba7d-48a2-8799-89b58d218255" providerId="ADAL" clId="{253D94E7-442D-460C-9F4C-18558C0A0590}" dt="2022-05-21T19:54:46.498" v="22"/>
          <ac:spMkLst>
            <pc:docMk/>
            <pc:sldMk cId="1056661577" sldId="2134803553"/>
            <ac:spMk id="619" creationId="{A54EBFA1-420C-E922-6993-BD24135BDB6F}"/>
          </ac:spMkLst>
        </pc:spChg>
        <pc:spChg chg="mod">
          <ac:chgData name="Kebba Jeng" userId="fe4cc296-ba7d-48a2-8799-89b58d218255" providerId="ADAL" clId="{253D94E7-442D-460C-9F4C-18558C0A0590}" dt="2022-05-21T19:54:46.498" v="22"/>
          <ac:spMkLst>
            <pc:docMk/>
            <pc:sldMk cId="1056661577" sldId="2134803553"/>
            <ac:spMk id="620" creationId="{BE392E59-47E5-6367-2C66-F74250CE5030}"/>
          </ac:spMkLst>
        </pc:spChg>
        <pc:spChg chg="mod">
          <ac:chgData name="Kebba Jeng" userId="fe4cc296-ba7d-48a2-8799-89b58d218255" providerId="ADAL" clId="{253D94E7-442D-460C-9F4C-18558C0A0590}" dt="2022-05-21T19:54:46.498" v="22"/>
          <ac:spMkLst>
            <pc:docMk/>
            <pc:sldMk cId="1056661577" sldId="2134803553"/>
            <ac:spMk id="621" creationId="{17EE7458-F00C-1C4F-57A6-6236EE058360}"/>
          </ac:spMkLst>
        </pc:spChg>
        <pc:spChg chg="mod">
          <ac:chgData name="Kebba Jeng" userId="fe4cc296-ba7d-48a2-8799-89b58d218255" providerId="ADAL" clId="{253D94E7-442D-460C-9F4C-18558C0A0590}" dt="2022-05-21T19:54:46.498" v="22"/>
          <ac:spMkLst>
            <pc:docMk/>
            <pc:sldMk cId="1056661577" sldId="2134803553"/>
            <ac:spMk id="622" creationId="{2316F978-C727-BFBE-48F0-3BD10FFCF493}"/>
          </ac:spMkLst>
        </pc:spChg>
        <pc:spChg chg="mod">
          <ac:chgData name="Kebba Jeng" userId="fe4cc296-ba7d-48a2-8799-89b58d218255" providerId="ADAL" clId="{253D94E7-442D-460C-9F4C-18558C0A0590}" dt="2022-05-21T19:54:46.498" v="22"/>
          <ac:spMkLst>
            <pc:docMk/>
            <pc:sldMk cId="1056661577" sldId="2134803553"/>
            <ac:spMk id="623" creationId="{4DC792B5-7B9C-5112-5BF3-C0667DC629B7}"/>
          </ac:spMkLst>
        </pc:spChg>
        <pc:spChg chg="mod">
          <ac:chgData name="Kebba Jeng" userId="fe4cc296-ba7d-48a2-8799-89b58d218255" providerId="ADAL" clId="{253D94E7-442D-460C-9F4C-18558C0A0590}" dt="2022-05-21T19:54:46.498" v="22"/>
          <ac:spMkLst>
            <pc:docMk/>
            <pc:sldMk cId="1056661577" sldId="2134803553"/>
            <ac:spMk id="624" creationId="{F28C415C-9E53-A30B-6133-559D8A279C5D}"/>
          </ac:spMkLst>
        </pc:spChg>
        <pc:spChg chg="mod">
          <ac:chgData name="Kebba Jeng" userId="fe4cc296-ba7d-48a2-8799-89b58d218255" providerId="ADAL" clId="{253D94E7-442D-460C-9F4C-18558C0A0590}" dt="2022-05-21T19:54:46.498" v="22"/>
          <ac:spMkLst>
            <pc:docMk/>
            <pc:sldMk cId="1056661577" sldId="2134803553"/>
            <ac:spMk id="625" creationId="{D17B8881-BB9B-0D8A-534E-E2047BB45DB0}"/>
          </ac:spMkLst>
        </pc:spChg>
        <pc:spChg chg="mod">
          <ac:chgData name="Kebba Jeng" userId="fe4cc296-ba7d-48a2-8799-89b58d218255" providerId="ADAL" clId="{253D94E7-442D-460C-9F4C-18558C0A0590}" dt="2022-05-21T19:54:46.498" v="22"/>
          <ac:spMkLst>
            <pc:docMk/>
            <pc:sldMk cId="1056661577" sldId="2134803553"/>
            <ac:spMk id="626" creationId="{005CC7C6-F783-83C4-7F1C-A7F7CB045E92}"/>
          </ac:spMkLst>
        </pc:spChg>
        <pc:spChg chg="mod">
          <ac:chgData name="Kebba Jeng" userId="fe4cc296-ba7d-48a2-8799-89b58d218255" providerId="ADAL" clId="{253D94E7-442D-460C-9F4C-18558C0A0590}" dt="2022-05-21T19:54:46.498" v="22"/>
          <ac:spMkLst>
            <pc:docMk/>
            <pc:sldMk cId="1056661577" sldId="2134803553"/>
            <ac:spMk id="627" creationId="{8A7E67FF-2693-74D9-A3FE-3CBFADB93B4C}"/>
          </ac:spMkLst>
        </pc:spChg>
        <pc:spChg chg="mod">
          <ac:chgData name="Kebba Jeng" userId="fe4cc296-ba7d-48a2-8799-89b58d218255" providerId="ADAL" clId="{253D94E7-442D-460C-9F4C-18558C0A0590}" dt="2022-05-21T19:54:46.498" v="22"/>
          <ac:spMkLst>
            <pc:docMk/>
            <pc:sldMk cId="1056661577" sldId="2134803553"/>
            <ac:spMk id="628" creationId="{1338E2F3-3020-649F-40C6-DCF552CA909C}"/>
          </ac:spMkLst>
        </pc:spChg>
        <pc:spChg chg="mod">
          <ac:chgData name="Kebba Jeng" userId="fe4cc296-ba7d-48a2-8799-89b58d218255" providerId="ADAL" clId="{253D94E7-442D-460C-9F4C-18558C0A0590}" dt="2022-05-21T19:54:46.498" v="22"/>
          <ac:spMkLst>
            <pc:docMk/>
            <pc:sldMk cId="1056661577" sldId="2134803553"/>
            <ac:spMk id="629" creationId="{B92668D1-A330-7E78-E284-1F363DF174B8}"/>
          </ac:spMkLst>
        </pc:spChg>
        <pc:spChg chg="mod">
          <ac:chgData name="Kebba Jeng" userId="fe4cc296-ba7d-48a2-8799-89b58d218255" providerId="ADAL" clId="{253D94E7-442D-460C-9F4C-18558C0A0590}" dt="2022-05-21T19:54:46.498" v="22"/>
          <ac:spMkLst>
            <pc:docMk/>
            <pc:sldMk cId="1056661577" sldId="2134803553"/>
            <ac:spMk id="630" creationId="{E67D230F-7342-8F61-00E7-81EB56244753}"/>
          </ac:spMkLst>
        </pc:spChg>
        <pc:spChg chg="mod">
          <ac:chgData name="Kebba Jeng" userId="fe4cc296-ba7d-48a2-8799-89b58d218255" providerId="ADAL" clId="{253D94E7-442D-460C-9F4C-18558C0A0590}" dt="2022-05-21T19:54:46.498" v="22"/>
          <ac:spMkLst>
            <pc:docMk/>
            <pc:sldMk cId="1056661577" sldId="2134803553"/>
            <ac:spMk id="631" creationId="{292FD1FC-B265-7481-3FE2-4A3E42CCCA6D}"/>
          </ac:spMkLst>
        </pc:spChg>
        <pc:spChg chg="mod">
          <ac:chgData name="Kebba Jeng" userId="fe4cc296-ba7d-48a2-8799-89b58d218255" providerId="ADAL" clId="{253D94E7-442D-460C-9F4C-18558C0A0590}" dt="2022-05-21T19:54:46.498" v="22"/>
          <ac:spMkLst>
            <pc:docMk/>
            <pc:sldMk cId="1056661577" sldId="2134803553"/>
            <ac:spMk id="632" creationId="{5667BC6D-82A2-4788-5FF5-0A4F25EF7F13}"/>
          </ac:spMkLst>
        </pc:spChg>
        <pc:spChg chg="mod">
          <ac:chgData name="Kebba Jeng" userId="fe4cc296-ba7d-48a2-8799-89b58d218255" providerId="ADAL" clId="{253D94E7-442D-460C-9F4C-18558C0A0590}" dt="2022-05-21T19:54:46.498" v="22"/>
          <ac:spMkLst>
            <pc:docMk/>
            <pc:sldMk cId="1056661577" sldId="2134803553"/>
            <ac:spMk id="633" creationId="{4BD30782-9FE3-4158-C653-43E8D44CDB51}"/>
          </ac:spMkLst>
        </pc:spChg>
        <pc:spChg chg="mod">
          <ac:chgData name="Kebba Jeng" userId="fe4cc296-ba7d-48a2-8799-89b58d218255" providerId="ADAL" clId="{253D94E7-442D-460C-9F4C-18558C0A0590}" dt="2022-05-21T19:54:46.498" v="22"/>
          <ac:spMkLst>
            <pc:docMk/>
            <pc:sldMk cId="1056661577" sldId="2134803553"/>
            <ac:spMk id="634" creationId="{2B596FBF-B60B-B198-5409-AB9FAFBF821C}"/>
          </ac:spMkLst>
        </pc:spChg>
        <pc:spChg chg="mod">
          <ac:chgData name="Kebba Jeng" userId="fe4cc296-ba7d-48a2-8799-89b58d218255" providerId="ADAL" clId="{253D94E7-442D-460C-9F4C-18558C0A0590}" dt="2022-05-21T19:54:46.498" v="22"/>
          <ac:spMkLst>
            <pc:docMk/>
            <pc:sldMk cId="1056661577" sldId="2134803553"/>
            <ac:spMk id="635" creationId="{21C871A5-3D46-EC18-4C25-941070048AD4}"/>
          </ac:spMkLst>
        </pc:spChg>
        <pc:spChg chg="mod">
          <ac:chgData name="Kebba Jeng" userId="fe4cc296-ba7d-48a2-8799-89b58d218255" providerId="ADAL" clId="{253D94E7-442D-460C-9F4C-18558C0A0590}" dt="2022-05-21T19:54:46.498" v="22"/>
          <ac:spMkLst>
            <pc:docMk/>
            <pc:sldMk cId="1056661577" sldId="2134803553"/>
            <ac:spMk id="636" creationId="{2267E7C5-7494-09BF-3D67-DFE16CC6AB2D}"/>
          </ac:spMkLst>
        </pc:spChg>
        <pc:spChg chg="mod">
          <ac:chgData name="Kebba Jeng" userId="fe4cc296-ba7d-48a2-8799-89b58d218255" providerId="ADAL" clId="{253D94E7-442D-460C-9F4C-18558C0A0590}" dt="2022-05-21T19:54:46.498" v="22"/>
          <ac:spMkLst>
            <pc:docMk/>
            <pc:sldMk cId="1056661577" sldId="2134803553"/>
            <ac:spMk id="637" creationId="{7D18AD98-31D7-BDAD-46A1-E547E2F313B1}"/>
          </ac:spMkLst>
        </pc:spChg>
        <pc:spChg chg="mod">
          <ac:chgData name="Kebba Jeng" userId="fe4cc296-ba7d-48a2-8799-89b58d218255" providerId="ADAL" clId="{253D94E7-442D-460C-9F4C-18558C0A0590}" dt="2022-05-21T19:54:46.498" v="22"/>
          <ac:spMkLst>
            <pc:docMk/>
            <pc:sldMk cId="1056661577" sldId="2134803553"/>
            <ac:spMk id="638" creationId="{29330CCE-A699-BC1A-4B5D-DAB6354CD904}"/>
          </ac:spMkLst>
        </pc:spChg>
        <pc:spChg chg="mod">
          <ac:chgData name="Kebba Jeng" userId="fe4cc296-ba7d-48a2-8799-89b58d218255" providerId="ADAL" clId="{253D94E7-442D-460C-9F4C-18558C0A0590}" dt="2022-05-21T19:54:46.498" v="22"/>
          <ac:spMkLst>
            <pc:docMk/>
            <pc:sldMk cId="1056661577" sldId="2134803553"/>
            <ac:spMk id="639" creationId="{D6BDAC25-8749-B5B1-04D5-DD238FE3A3A3}"/>
          </ac:spMkLst>
        </pc:spChg>
        <pc:spChg chg="mod">
          <ac:chgData name="Kebba Jeng" userId="fe4cc296-ba7d-48a2-8799-89b58d218255" providerId="ADAL" clId="{253D94E7-442D-460C-9F4C-18558C0A0590}" dt="2022-05-21T19:54:46.498" v="22"/>
          <ac:spMkLst>
            <pc:docMk/>
            <pc:sldMk cId="1056661577" sldId="2134803553"/>
            <ac:spMk id="640" creationId="{E9D894EF-713E-B642-ACFD-23EDB5E672DC}"/>
          </ac:spMkLst>
        </pc:spChg>
        <pc:spChg chg="mod">
          <ac:chgData name="Kebba Jeng" userId="fe4cc296-ba7d-48a2-8799-89b58d218255" providerId="ADAL" clId="{253D94E7-442D-460C-9F4C-18558C0A0590}" dt="2022-05-21T19:54:46.498" v="22"/>
          <ac:spMkLst>
            <pc:docMk/>
            <pc:sldMk cId="1056661577" sldId="2134803553"/>
            <ac:spMk id="641" creationId="{1037A663-F2F9-7FE4-47AC-CAA2C238EC7F}"/>
          </ac:spMkLst>
        </pc:spChg>
        <pc:spChg chg="mod">
          <ac:chgData name="Kebba Jeng" userId="fe4cc296-ba7d-48a2-8799-89b58d218255" providerId="ADAL" clId="{253D94E7-442D-460C-9F4C-18558C0A0590}" dt="2022-05-21T19:54:46.498" v="22"/>
          <ac:spMkLst>
            <pc:docMk/>
            <pc:sldMk cId="1056661577" sldId="2134803553"/>
            <ac:spMk id="642" creationId="{C55D3296-B98F-864A-2A72-E77070E14FB8}"/>
          </ac:spMkLst>
        </pc:spChg>
        <pc:spChg chg="mod">
          <ac:chgData name="Kebba Jeng" userId="fe4cc296-ba7d-48a2-8799-89b58d218255" providerId="ADAL" clId="{253D94E7-442D-460C-9F4C-18558C0A0590}" dt="2022-05-21T19:54:46.498" v="22"/>
          <ac:spMkLst>
            <pc:docMk/>
            <pc:sldMk cId="1056661577" sldId="2134803553"/>
            <ac:spMk id="643" creationId="{C192E199-3C0D-0D1A-78F0-380032066498}"/>
          </ac:spMkLst>
        </pc:spChg>
        <pc:spChg chg="mod">
          <ac:chgData name="Kebba Jeng" userId="fe4cc296-ba7d-48a2-8799-89b58d218255" providerId="ADAL" clId="{253D94E7-442D-460C-9F4C-18558C0A0590}" dt="2022-05-21T19:54:46.498" v="22"/>
          <ac:spMkLst>
            <pc:docMk/>
            <pc:sldMk cId="1056661577" sldId="2134803553"/>
            <ac:spMk id="644" creationId="{478EA615-D9F5-8347-F806-30D5F730297B}"/>
          </ac:spMkLst>
        </pc:spChg>
        <pc:spChg chg="mod">
          <ac:chgData name="Kebba Jeng" userId="fe4cc296-ba7d-48a2-8799-89b58d218255" providerId="ADAL" clId="{253D94E7-442D-460C-9F4C-18558C0A0590}" dt="2022-05-21T19:54:46.498" v="22"/>
          <ac:spMkLst>
            <pc:docMk/>
            <pc:sldMk cId="1056661577" sldId="2134803553"/>
            <ac:spMk id="645" creationId="{E2E6A802-5EE6-5876-DAC2-89DB8DB26115}"/>
          </ac:spMkLst>
        </pc:spChg>
        <pc:spChg chg="mod">
          <ac:chgData name="Kebba Jeng" userId="fe4cc296-ba7d-48a2-8799-89b58d218255" providerId="ADAL" clId="{253D94E7-442D-460C-9F4C-18558C0A0590}" dt="2022-05-21T19:54:46.498" v="22"/>
          <ac:spMkLst>
            <pc:docMk/>
            <pc:sldMk cId="1056661577" sldId="2134803553"/>
            <ac:spMk id="646" creationId="{771476FF-AACF-B22F-EE56-EF18A0C8EF7E}"/>
          </ac:spMkLst>
        </pc:spChg>
        <pc:spChg chg="mod">
          <ac:chgData name="Kebba Jeng" userId="fe4cc296-ba7d-48a2-8799-89b58d218255" providerId="ADAL" clId="{253D94E7-442D-460C-9F4C-18558C0A0590}" dt="2022-05-21T19:54:46.498" v="22"/>
          <ac:spMkLst>
            <pc:docMk/>
            <pc:sldMk cId="1056661577" sldId="2134803553"/>
            <ac:spMk id="647" creationId="{E8C7FE3B-E981-01D9-F485-541F97B5E5E1}"/>
          </ac:spMkLst>
        </pc:spChg>
        <pc:spChg chg="mod">
          <ac:chgData name="Kebba Jeng" userId="fe4cc296-ba7d-48a2-8799-89b58d218255" providerId="ADAL" clId="{253D94E7-442D-460C-9F4C-18558C0A0590}" dt="2022-05-21T19:54:46.498" v="22"/>
          <ac:spMkLst>
            <pc:docMk/>
            <pc:sldMk cId="1056661577" sldId="2134803553"/>
            <ac:spMk id="648" creationId="{B686B1C4-55D4-610F-6FE6-486233FDCEEC}"/>
          </ac:spMkLst>
        </pc:spChg>
        <pc:spChg chg="mod">
          <ac:chgData name="Kebba Jeng" userId="fe4cc296-ba7d-48a2-8799-89b58d218255" providerId="ADAL" clId="{253D94E7-442D-460C-9F4C-18558C0A0590}" dt="2022-05-21T19:54:46.498" v="22"/>
          <ac:spMkLst>
            <pc:docMk/>
            <pc:sldMk cId="1056661577" sldId="2134803553"/>
            <ac:spMk id="649" creationId="{17D1F518-9D80-DDAC-4BE2-FFF80A3A6470}"/>
          </ac:spMkLst>
        </pc:spChg>
        <pc:spChg chg="mod">
          <ac:chgData name="Kebba Jeng" userId="fe4cc296-ba7d-48a2-8799-89b58d218255" providerId="ADAL" clId="{253D94E7-442D-460C-9F4C-18558C0A0590}" dt="2022-05-21T19:54:46.498" v="22"/>
          <ac:spMkLst>
            <pc:docMk/>
            <pc:sldMk cId="1056661577" sldId="2134803553"/>
            <ac:spMk id="650" creationId="{913E87C4-80DF-6E7D-E740-1886905365BC}"/>
          </ac:spMkLst>
        </pc:spChg>
        <pc:spChg chg="mod">
          <ac:chgData name="Kebba Jeng" userId="fe4cc296-ba7d-48a2-8799-89b58d218255" providerId="ADAL" clId="{253D94E7-442D-460C-9F4C-18558C0A0590}" dt="2022-05-21T19:54:46.498" v="22"/>
          <ac:spMkLst>
            <pc:docMk/>
            <pc:sldMk cId="1056661577" sldId="2134803553"/>
            <ac:spMk id="651" creationId="{3340D761-55FA-6BE8-793F-AB62BC7F981B}"/>
          </ac:spMkLst>
        </pc:spChg>
        <pc:spChg chg="mod">
          <ac:chgData name="Kebba Jeng" userId="fe4cc296-ba7d-48a2-8799-89b58d218255" providerId="ADAL" clId="{253D94E7-442D-460C-9F4C-18558C0A0590}" dt="2022-05-21T19:54:46.498" v="22"/>
          <ac:spMkLst>
            <pc:docMk/>
            <pc:sldMk cId="1056661577" sldId="2134803553"/>
            <ac:spMk id="652" creationId="{7DE8FECD-D836-9A79-42AC-ECFA478EDB88}"/>
          </ac:spMkLst>
        </pc:spChg>
        <pc:spChg chg="mod">
          <ac:chgData name="Kebba Jeng" userId="fe4cc296-ba7d-48a2-8799-89b58d218255" providerId="ADAL" clId="{253D94E7-442D-460C-9F4C-18558C0A0590}" dt="2022-05-21T19:54:46.498" v="22"/>
          <ac:spMkLst>
            <pc:docMk/>
            <pc:sldMk cId="1056661577" sldId="2134803553"/>
            <ac:spMk id="653" creationId="{9C33939E-73E0-51C4-38C6-3F8407453D81}"/>
          </ac:spMkLst>
        </pc:spChg>
        <pc:spChg chg="mod">
          <ac:chgData name="Kebba Jeng" userId="fe4cc296-ba7d-48a2-8799-89b58d218255" providerId="ADAL" clId="{253D94E7-442D-460C-9F4C-18558C0A0590}" dt="2022-05-21T19:54:46.498" v="22"/>
          <ac:spMkLst>
            <pc:docMk/>
            <pc:sldMk cId="1056661577" sldId="2134803553"/>
            <ac:spMk id="654" creationId="{E497644E-E2D4-215F-94D0-734CF030EF9A}"/>
          </ac:spMkLst>
        </pc:spChg>
        <pc:spChg chg="mod">
          <ac:chgData name="Kebba Jeng" userId="fe4cc296-ba7d-48a2-8799-89b58d218255" providerId="ADAL" clId="{253D94E7-442D-460C-9F4C-18558C0A0590}" dt="2022-05-21T19:54:46.498" v="22"/>
          <ac:spMkLst>
            <pc:docMk/>
            <pc:sldMk cId="1056661577" sldId="2134803553"/>
            <ac:spMk id="655" creationId="{70BDA303-7864-5EFF-38F6-47F75BC8A2FB}"/>
          </ac:spMkLst>
        </pc:spChg>
        <pc:spChg chg="mod">
          <ac:chgData name="Kebba Jeng" userId="fe4cc296-ba7d-48a2-8799-89b58d218255" providerId="ADAL" clId="{253D94E7-442D-460C-9F4C-18558C0A0590}" dt="2022-05-21T19:54:46.498" v="22"/>
          <ac:spMkLst>
            <pc:docMk/>
            <pc:sldMk cId="1056661577" sldId="2134803553"/>
            <ac:spMk id="656" creationId="{130EF741-1E51-C25B-F83B-831BC46B2475}"/>
          </ac:spMkLst>
        </pc:spChg>
        <pc:spChg chg="mod">
          <ac:chgData name="Kebba Jeng" userId="fe4cc296-ba7d-48a2-8799-89b58d218255" providerId="ADAL" clId="{253D94E7-442D-460C-9F4C-18558C0A0590}" dt="2022-05-21T19:54:46.498" v="22"/>
          <ac:spMkLst>
            <pc:docMk/>
            <pc:sldMk cId="1056661577" sldId="2134803553"/>
            <ac:spMk id="657" creationId="{AD500223-F67E-5331-2F60-12E2F2EFF426}"/>
          </ac:spMkLst>
        </pc:spChg>
        <pc:spChg chg="mod">
          <ac:chgData name="Kebba Jeng" userId="fe4cc296-ba7d-48a2-8799-89b58d218255" providerId="ADAL" clId="{253D94E7-442D-460C-9F4C-18558C0A0590}" dt="2022-05-21T19:54:46.498" v="22"/>
          <ac:spMkLst>
            <pc:docMk/>
            <pc:sldMk cId="1056661577" sldId="2134803553"/>
            <ac:spMk id="658" creationId="{2D283BB2-C97E-D233-8473-1F461974719C}"/>
          </ac:spMkLst>
        </pc:spChg>
        <pc:spChg chg="mod">
          <ac:chgData name="Kebba Jeng" userId="fe4cc296-ba7d-48a2-8799-89b58d218255" providerId="ADAL" clId="{253D94E7-442D-460C-9F4C-18558C0A0590}" dt="2022-05-21T19:54:46.498" v="22"/>
          <ac:spMkLst>
            <pc:docMk/>
            <pc:sldMk cId="1056661577" sldId="2134803553"/>
            <ac:spMk id="659" creationId="{05A7C422-96B0-F183-D950-9E24220BA4B1}"/>
          </ac:spMkLst>
        </pc:spChg>
        <pc:spChg chg="mod">
          <ac:chgData name="Kebba Jeng" userId="fe4cc296-ba7d-48a2-8799-89b58d218255" providerId="ADAL" clId="{253D94E7-442D-460C-9F4C-18558C0A0590}" dt="2022-05-21T19:54:46.498" v="22"/>
          <ac:spMkLst>
            <pc:docMk/>
            <pc:sldMk cId="1056661577" sldId="2134803553"/>
            <ac:spMk id="660" creationId="{3D84724B-9492-B948-05A2-7F6EC5E1CEDB}"/>
          </ac:spMkLst>
        </pc:spChg>
        <pc:spChg chg="mod">
          <ac:chgData name="Kebba Jeng" userId="fe4cc296-ba7d-48a2-8799-89b58d218255" providerId="ADAL" clId="{253D94E7-442D-460C-9F4C-18558C0A0590}" dt="2022-05-21T19:54:46.498" v="22"/>
          <ac:spMkLst>
            <pc:docMk/>
            <pc:sldMk cId="1056661577" sldId="2134803553"/>
            <ac:spMk id="661" creationId="{3AFE6295-7B23-D3EA-3CC5-1F19C7B199B7}"/>
          </ac:spMkLst>
        </pc:spChg>
        <pc:spChg chg="mod">
          <ac:chgData name="Kebba Jeng" userId="fe4cc296-ba7d-48a2-8799-89b58d218255" providerId="ADAL" clId="{253D94E7-442D-460C-9F4C-18558C0A0590}" dt="2022-05-21T19:54:46.498" v="22"/>
          <ac:spMkLst>
            <pc:docMk/>
            <pc:sldMk cId="1056661577" sldId="2134803553"/>
            <ac:spMk id="662" creationId="{158F0149-096C-5046-3DFA-340ADF086A8E}"/>
          </ac:spMkLst>
        </pc:spChg>
        <pc:spChg chg="mod">
          <ac:chgData name="Kebba Jeng" userId="fe4cc296-ba7d-48a2-8799-89b58d218255" providerId="ADAL" clId="{253D94E7-442D-460C-9F4C-18558C0A0590}" dt="2022-05-21T19:54:46.498" v="22"/>
          <ac:spMkLst>
            <pc:docMk/>
            <pc:sldMk cId="1056661577" sldId="2134803553"/>
            <ac:spMk id="663" creationId="{272F2835-A679-EA01-8616-8BCE8810F62E}"/>
          </ac:spMkLst>
        </pc:spChg>
        <pc:spChg chg="mod">
          <ac:chgData name="Kebba Jeng" userId="fe4cc296-ba7d-48a2-8799-89b58d218255" providerId="ADAL" clId="{253D94E7-442D-460C-9F4C-18558C0A0590}" dt="2022-05-21T19:54:46.498" v="22"/>
          <ac:spMkLst>
            <pc:docMk/>
            <pc:sldMk cId="1056661577" sldId="2134803553"/>
            <ac:spMk id="664" creationId="{0E137F2A-BE89-B953-CF9B-B605519ACFF2}"/>
          </ac:spMkLst>
        </pc:spChg>
        <pc:spChg chg="mod">
          <ac:chgData name="Kebba Jeng" userId="fe4cc296-ba7d-48a2-8799-89b58d218255" providerId="ADAL" clId="{253D94E7-442D-460C-9F4C-18558C0A0590}" dt="2022-05-21T19:54:46.498" v="22"/>
          <ac:spMkLst>
            <pc:docMk/>
            <pc:sldMk cId="1056661577" sldId="2134803553"/>
            <ac:spMk id="665" creationId="{1B5120A5-F014-F196-3215-AFDA8E996B6E}"/>
          </ac:spMkLst>
        </pc:spChg>
        <pc:spChg chg="mod">
          <ac:chgData name="Kebba Jeng" userId="fe4cc296-ba7d-48a2-8799-89b58d218255" providerId="ADAL" clId="{253D94E7-442D-460C-9F4C-18558C0A0590}" dt="2022-05-21T19:54:46.498" v="22"/>
          <ac:spMkLst>
            <pc:docMk/>
            <pc:sldMk cId="1056661577" sldId="2134803553"/>
            <ac:spMk id="666" creationId="{C932D61A-7EB4-1D96-64EF-429057A5D46E}"/>
          </ac:spMkLst>
        </pc:spChg>
        <pc:spChg chg="mod">
          <ac:chgData name="Kebba Jeng" userId="fe4cc296-ba7d-48a2-8799-89b58d218255" providerId="ADAL" clId="{253D94E7-442D-460C-9F4C-18558C0A0590}" dt="2022-05-21T19:54:46.498" v="22"/>
          <ac:spMkLst>
            <pc:docMk/>
            <pc:sldMk cId="1056661577" sldId="2134803553"/>
            <ac:spMk id="667" creationId="{6D64E395-9E11-DA57-18E4-7955F5557061}"/>
          </ac:spMkLst>
        </pc:spChg>
        <pc:spChg chg="mod">
          <ac:chgData name="Kebba Jeng" userId="fe4cc296-ba7d-48a2-8799-89b58d218255" providerId="ADAL" clId="{253D94E7-442D-460C-9F4C-18558C0A0590}" dt="2022-05-21T19:54:46.498" v="22"/>
          <ac:spMkLst>
            <pc:docMk/>
            <pc:sldMk cId="1056661577" sldId="2134803553"/>
            <ac:spMk id="668" creationId="{52368966-19C4-D0BF-43F0-CADD65C29695}"/>
          </ac:spMkLst>
        </pc:spChg>
        <pc:spChg chg="mod">
          <ac:chgData name="Kebba Jeng" userId="fe4cc296-ba7d-48a2-8799-89b58d218255" providerId="ADAL" clId="{253D94E7-442D-460C-9F4C-18558C0A0590}" dt="2022-05-21T19:54:46.498" v="22"/>
          <ac:spMkLst>
            <pc:docMk/>
            <pc:sldMk cId="1056661577" sldId="2134803553"/>
            <ac:spMk id="669" creationId="{989ABA0D-4B1A-5500-B80C-D07E6F1FCFF0}"/>
          </ac:spMkLst>
        </pc:spChg>
        <pc:spChg chg="mod">
          <ac:chgData name="Kebba Jeng" userId="fe4cc296-ba7d-48a2-8799-89b58d218255" providerId="ADAL" clId="{253D94E7-442D-460C-9F4C-18558C0A0590}" dt="2022-05-21T19:54:46.498" v="22"/>
          <ac:spMkLst>
            <pc:docMk/>
            <pc:sldMk cId="1056661577" sldId="2134803553"/>
            <ac:spMk id="670" creationId="{FF4EC0F4-FCFD-DA76-3CD3-C97AD4F1A368}"/>
          </ac:spMkLst>
        </pc:spChg>
        <pc:spChg chg="mod">
          <ac:chgData name="Kebba Jeng" userId="fe4cc296-ba7d-48a2-8799-89b58d218255" providerId="ADAL" clId="{253D94E7-442D-460C-9F4C-18558C0A0590}" dt="2022-05-21T19:54:46.498" v="22"/>
          <ac:spMkLst>
            <pc:docMk/>
            <pc:sldMk cId="1056661577" sldId="2134803553"/>
            <ac:spMk id="671" creationId="{60979069-4E23-2A4F-73F3-CC4F2BB5EA11}"/>
          </ac:spMkLst>
        </pc:spChg>
        <pc:spChg chg="mod">
          <ac:chgData name="Kebba Jeng" userId="fe4cc296-ba7d-48a2-8799-89b58d218255" providerId="ADAL" clId="{253D94E7-442D-460C-9F4C-18558C0A0590}" dt="2022-05-21T19:54:46.498" v="22"/>
          <ac:spMkLst>
            <pc:docMk/>
            <pc:sldMk cId="1056661577" sldId="2134803553"/>
            <ac:spMk id="672" creationId="{39F46B75-1F72-F134-2FE7-B24F54FA091E}"/>
          </ac:spMkLst>
        </pc:spChg>
        <pc:spChg chg="mod">
          <ac:chgData name="Kebba Jeng" userId="fe4cc296-ba7d-48a2-8799-89b58d218255" providerId="ADAL" clId="{253D94E7-442D-460C-9F4C-18558C0A0590}" dt="2022-05-21T19:54:46.498" v="22"/>
          <ac:spMkLst>
            <pc:docMk/>
            <pc:sldMk cId="1056661577" sldId="2134803553"/>
            <ac:spMk id="673" creationId="{DE9D6BFE-E719-DCB4-414A-458166C532D3}"/>
          </ac:spMkLst>
        </pc:spChg>
        <pc:spChg chg="mod">
          <ac:chgData name="Kebba Jeng" userId="fe4cc296-ba7d-48a2-8799-89b58d218255" providerId="ADAL" clId="{253D94E7-442D-460C-9F4C-18558C0A0590}" dt="2022-05-21T19:54:46.498" v="22"/>
          <ac:spMkLst>
            <pc:docMk/>
            <pc:sldMk cId="1056661577" sldId="2134803553"/>
            <ac:spMk id="674" creationId="{BA7CAF5B-9AD6-0EAE-5AA1-45D854BFC57F}"/>
          </ac:spMkLst>
        </pc:spChg>
        <pc:spChg chg="mod">
          <ac:chgData name="Kebba Jeng" userId="fe4cc296-ba7d-48a2-8799-89b58d218255" providerId="ADAL" clId="{253D94E7-442D-460C-9F4C-18558C0A0590}" dt="2022-05-21T19:54:46.498" v="22"/>
          <ac:spMkLst>
            <pc:docMk/>
            <pc:sldMk cId="1056661577" sldId="2134803553"/>
            <ac:spMk id="675" creationId="{AE640423-C061-BE98-5D9B-213060702B76}"/>
          </ac:spMkLst>
        </pc:spChg>
        <pc:spChg chg="mod">
          <ac:chgData name="Kebba Jeng" userId="fe4cc296-ba7d-48a2-8799-89b58d218255" providerId="ADAL" clId="{253D94E7-442D-460C-9F4C-18558C0A0590}" dt="2022-05-21T19:54:46.498" v="22"/>
          <ac:spMkLst>
            <pc:docMk/>
            <pc:sldMk cId="1056661577" sldId="2134803553"/>
            <ac:spMk id="676" creationId="{58EC5067-E5BA-ACB3-FA84-651118170EBF}"/>
          </ac:spMkLst>
        </pc:spChg>
        <pc:spChg chg="mod">
          <ac:chgData name="Kebba Jeng" userId="fe4cc296-ba7d-48a2-8799-89b58d218255" providerId="ADAL" clId="{253D94E7-442D-460C-9F4C-18558C0A0590}" dt="2022-05-21T19:54:46.498" v="22"/>
          <ac:spMkLst>
            <pc:docMk/>
            <pc:sldMk cId="1056661577" sldId="2134803553"/>
            <ac:spMk id="677" creationId="{477FE8E7-0FF2-5A85-1D34-299A251748AE}"/>
          </ac:spMkLst>
        </pc:spChg>
        <pc:spChg chg="mod">
          <ac:chgData name="Kebba Jeng" userId="fe4cc296-ba7d-48a2-8799-89b58d218255" providerId="ADAL" clId="{253D94E7-442D-460C-9F4C-18558C0A0590}" dt="2022-05-21T19:54:46.498" v="22"/>
          <ac:spMkLst>
            <pc:docMk/>
            <pc:sldMk cId="1056661577" sldId="2134803553"/>
            <ac:spMk id="678" creationId="{A50F6CCD-C342-0E68-A194-DD66F42F940E}"/>
          </ac:spMkLst>
        </pc:spChg>
        <pc:spChg chg="mod">
          <ac:chgData name="Kebba Jeng" userId="fe4cc296-ba7d-48a2-8799-89b58d218255" providerId="ADAL" clId="{253D94E7-442D-460C-9F4C-18558C0A0590}" dt="2022-05-21T19:54:46.498" v="22"/>
          <ac:spMkLst>
            <pc:docMk/>
            <pc:sldMk cId="1056661577" sldId="2134803553"/>
            <ac:spMk id="679" creationId="{2ED1AD9F-379C-8AC3-0399-99C4362291DB}"/>
          </ac:spMkLst>
        </pc:spChg>
        <pc:spChg chg="mod">
          <ac:chgData name="Kebba Jeng" userId="fe4cc296-ba7d-48a2-8799-89b58d218255" providerId="ADAL" clId="{253D94E7-442D-460C-9F4C-18558C0A0590}" dt="2022-05-21T19:54:46.498" v="22"/>
          <ac:spMkLst>
            <pc:docMk/>
            <pc:sldMk cId="1056661577" sldId="2134803553"/>
            <ac:spMk id="680" creationId="{0799ABC2-1C85-D2F6-688C-1525A99F7F9D}"/>
          </ac:spMkLst>
        </pc:spChg>
        <pc:spChg chg="mod">
          <ac:chgData name="Kebba Jeng" userId="fe4cc296-ba7d-48a2-8799-89b58d218255" providerId="ADAL" clId="{253D94E7-442D-460C-9F4C-18558C0A0590}" dt="2022-05-21T19:54:46.498" v="22"/>
          <ac:spMkLst>
            <pc:docMk/>
            <pc:sldMk cId="1056661577" sldId="2134803553"/>
            <ac:spMk id="681" creationId="{AAA7ED0E-3613-8C1C-5CA2-99F6F2B19020}"/>
          </ac:spMkLst>
        </pc:spChg>
        <pc:spChg chg="mod">
          <ac:chgData name="Kebba Jeng" userId="fe4cc296-ba7d-48a2-8799-89b58d218255" providerId="ADAL" clId="{253D94E7-442D-460C-9F4C-18558C0A0590}" dt="2022-05-21T19:54:46.498" v="22"/>
          <ac:spMkLst>
            <pc:docMk/>
            <pc:sldMk cId="1056661577" sldId="2134803553"/>
            <ac:spMk id="682" creationId="{FD2DC505-E4E7-5429-6A17-0BA9F6E08F37}"/>
          </ac:spMkLst>
        </pc:spChg>
        <pc:spChg chg="mod">
          <ac:chgData name="Kebba Jeng" userId="fe4cc296-ba7d-48a2-8799-89b58d218255" providerId="ADAL" clId="{253D94E7-442D-460C-9F4C-18558C0A0590}" dt="2022-05-21T19:54:46.498" v="22"/>
          <ac:spMkLst>
            <pc:docMk/>
            <pc:sldMk cId="1056661577" sldId="2134803553"/>
            <ac:spMk id="683" creationId="{E97EB994-FD4E-5CAB-E7E6-EFA9BABF1F9C}"/>
          </ac:spMkLst>
        </pc:spChg>
        <pc:spChg chg="mod">
          <ac:chgData name="Kebba Jeng" userId="fe4cc296-ba7d-48a2-8799-89b58d218255" providerId="ADAL" clId="{253D94E7-442D-460C-9F4C-18558C0A0590}" dt="2022-05-21T19:54:46.498" v="22"/>
          <ac:spMkLst>
            <pc:docMk/>
            <pc:sldMk cId="1056661577" sldId="2134803553"/>
            <ac:spMk id="684" creationId="{9F491D74-5DEA-4B84-B62F-FA47D34469D4}"/>
          </ac:spMkLst>
        </pc:spChg>
        <pc:spChg chg="mod">
          <ac:chgData name="Kebba Jeng" userId="fe4cc296-ba7d-48a2-8799-89b58d218255" providerId="ADAL" clId="{253D94E7-442D-460C-9F4C-18558C0A0590}" dt="2022-05-21T19:54:46.498" v="22"/>
          <ac:spMkLst>
            <pc:docMk/>
            <pc:sldMk cId="1056661577" sldId="2134803553"/>
            <ac:spMk id="685" creationId="{5DE67D07-100F-C314-A672-CC95B1F0243D}"/>
          </ac:spMkLst>
        </pc:spChg>
        <pc:spChg chg="mod">
          <ac:chgData name="Kebba Jeng" userId="fe4cc296-ba7d-48a2-8799-89b58d218255" providerId="ADAL" clId="{253D94E7-442D-460C-9F4C-18558C0A0590}" dt="2022-05-21T19:54:46.498" v="22"/>
          <ac:spMkLst>
            <pc:docMk/>
            <pc:sldMk cId="1056661577" sldId="2134803553"/>
            <ac:spMk id="686" creationId="{0393DD35-CE40-6351-2B03-63BFA2BDCC43}"/>
          </ac:spMkLst>
        </pc:spChg>
        <pc:spChg chg="mod">
          <ac:chgData name="Kebba Jeng" userId="fe4cc296-ba7d-48a2-8799-89b58d218255" providerId="ADAL" clId="{253D94E7-442D-460C-9F4C-18558C0A0590}" dt="2022-05-21T19:54:46.498" v="22"/>
          <ac:spMkLst>
            <pc:docMk/>
            <pc:sldMk cId="1056661577" sldId="2134803553"/>
            <ac:spMk id="687" creationId="{A616456F-F25A-0274-E7C5-3B4D7D2E1917}"/>
          </ac:spMkLst>
        </pc:spChg>
        <pc:spChg chg="mod">
          <ac:chgData name="Kebba Jeng" userId="fe4cc296-ba7d-48a2-8799-89b58d218255" providerId="ADAL" clId="{253D94E7-442D-460C-9F4C-18558C0A0590}" dt="2022-05-21T19:54:46.498" v="22"/>
          <ac:spMkLst>
            <pc:docMk/>
            <pc:sldMk cId="1056661577" sldId="2134803553"/>
            <ac:spMk id="688" creationId="{D0ADCE6E-0AD3-59DA-8F3F-7324D063F4C2}"/>
          </ac:spMkLst>
        </pc:spChg>
        <pc:spChg chg="mod">
          <ac:chgData name="Kebba Jeng" userId="fe4cc296-ba7d-48a2-8799-89b58d218255" providerId="ADAL" clId="{253D94E7-442D-460C-9F4C-18558C0A0590}" dt="2022-05-21T19:54:46.498" v="22"/>
          <ac:spMkLst>
            <pc:docMk/>
            <pc:sldMk cId="1056661577" sldId="2134803553"/>
            <ac:spMk id="689" creationId="{13F5A901-E601-7CB2-A1AF-A570E9588EDC}"/>
          </ac:spMkLst>
        </pc:spChg>
        <pc:spChg chg="mod">
          <ac:chgData name="Kebba Jeng" userId="fe4cc296-ba7d-48a2-8799-89b58d218255" providerId="ADAL" clId="{253D94E7-442D-460C-9F4C-18558C0A0590}" dt="2022-05-21T19:54:46.498" v="22"/>
          <ac:spMkLst>
            <pc:docMk/>
            <pc:sldMk cId="1056661577" sldId="2134803553"/>
            <ac:spMk id="690" creationId="{4D676F32-E17D-416D-6352-C758BEA5F4AD}"/>
          </ac:spMkLst>
        </pc:spChg>
        <pc:spChg chg="mod">
          <ac:chgData name="Kebba Jeng" userId="fe4cc296-ba7d-48a2-8799-89b58d218255" providerId="ADAL" clId="{253D94E7-442D-460C-9F4C-18558C0A0590}" dt="2022-05-21T19:54:46.498" v="22"/>
          <ac:spMkLst>
            <pc:docMk/>
            <pc:sldMk cId="1056661577" sldId="2134803553"/>
            <ac:spMk id="691" creationId="{9E952664-2E57-7D4F-62AA-396692666DEB}"/>
          </ac:spMkLst>
        </pc:spChg>
        <pc:spChg chg="mod">
          <ac:chgData name="Kebba Jeng" userId="fe4cc296-ba7d-48a2-8799-89b58d218255" providerId="ADAL" clId="{253D94E7-442D-460C-9F4C-18558C0A0590}" dt="2022-05-21T19:54:46.498" v="22"/>
          <ac:spMkLst>
            <pc:docMk/>
            <pc:sldMk cId="1056661577" sldId="2134803553"/>
            <ac:spMk id="692" creationId="{CE1D9913-66DF-6DA9-AAB3-552B95E8CACC}"/>
          </ac:spMkLst>
        </pc:spChg>
        <pc:spChg chg="mod">
          <ac:chgData name="Kebba Jeng" userId="fe4cc296-ba7d-48a2-8799-89b58d218255" providerId="ADAL" clId="{253D94E7-442D-460C-9F4C-18558C0A0590}" dt="2022-05-21T19:54:46.498" v="22"/>
          <ac:spMkLst>
            <pc:docMk/>
            <pc:sldMk cId="1056661577" sldId="2134803553"/>
            <ac:spMk id="693" creationId="{BAED6901-D03F-05E2-4257-C738C69A93BA}"/>
          </ac:spMkLst>
        </pc:spChg>
        <pc:spChg chg="mod">
          <ac:chgData name="Kebba Jeng" userId="fe4cc296-ba7d-48a2-8799-89b58d218255" providerId="ADAL" clId="{253D94E7-442D-460C-9F4C-18558C0A0590}" dt="2022-05-21T19:54:46.498" v="22"/>
          <ac:spMkLst>
            <pc:docMk/>
            <pc:sldMk cId="1056661577" sldId="2134803553"/>
            <ac:spMk id="694" creationId="{57907F29-7BEE-D2DB-875D-16596F551367}"/>
          </ac:spMkLst>
        </pc:spChg>
        <pc:spChg chg="mod">
          <ac:chgData name="Kebba Jeng" userId="fe4cc296-ba7d-48a2-8799-89b58d218255" providerId="ADAL" clId="{253D94E7-442D-460C-9F4C-18558C0A0590}" dt="2022-05-21T19:54:46.498" v="22"/>
          <ac:spMkLst>
            <pc:docMk/>
            <pc:sldMk cId="1056661577" sldId="2134803553"/>
            <ac:spMk id="695" creationId="{EE6B2B9C-C485-F636-3C6F-0D88AF3FC037}"/>
          </ac:spMkLst>
        </pc:spChg>
        <pc:spChg chg="mod">
          <ac:chgData name="Kebba Jeng" userId="fe4cc296-ba7d-48a2-8799-89b58d218255" providerId="ADAL" clId="{253D94E7-442D-460C-9F4C-18558C0A0590}" dt="2022-05-21T19:54:46.498" v="22"/>
          <ac:spMkLst>
            <pc:docMk/>
            <pc:sldMk cId="1056661577" sldId="2134803553"/>
            <ac:spMk id="696" creationId="{38296B64-FB61-85E0-CF02-65016175FFD8}"/>
          </ac:spMkLst>
        </pc:spChg>
        <pc:spChg chg="mod">
          <ac:chgData name="Kebba Jeng" userId="fe4cc296-ba7d-48a2-8799-89b58d218255" providerId="ADAL" clId="{253D94E7-442D-460C-9F4C-18558C0A0590}" dt="2022-05-21T19:54:46.498" v="22"/>
          <ac:spMkLst>
            <pc:docMk/>
            <pc:sldMk cId="1056661577" sldId="2134803553"/>
            <ac:spMk id="697" creationId="{50D396C5-4939-256D-1583-F6E99AF05322}"/>
          </ac:spMkLst>
        </pc:spChg>
        <pc:spChg chg="mod">
          <ac:chgData name="Kebba Jeng" userId="fe4cc296-ba7d-48a2-8799-89b58d218255" providerId="ADAL" clId="{253D94E7-442D-460C-9F4C-18558C0A0590}" dt="2022-05-21T19:54:46.498" v="22"/>
          <ac:spMkLst>
            <pc:docMk/>
            <pc:sldMk cId="1056661577" sldId="2134803553"/>
            <ac:spMk id="698" creationId="{F32E05D4-8C51-9B2A-987B-00073D68B9FF}"/>
          </ac:spMkLst>
        </pc:spChg>
        <pc:spChg chg="mod">
          <ac:chgData name="Kebba Jeng" userId="fe4cc296-ba7d-48a2-8799-89b58d218255" providerId="ADAL" clId="{253D94E7-442D-460C-9F4C-18558C0A0590}" dt="2022-05-21T19:54:46.498" v="22"/>
          <ac:spMkLst>
            <pc:docMk/>
            <pc:sldMk cId="1056661577" sldId="2134803553"/>
            <ac:spMk id="699" creationId="{3EA36D70-AD80-E4EE-751C-81C50B5F4B2E}"/>
          </ac:spMkLst>
        </pc:spChg>
        <pc:spChg chg="mod">
          <ac:chgData name="Kebba Jeng" userId="fe4cc296-ba7d-48a2-8799-89b58d218255" providerId="ADAL" clId="{253D94E7-442D-460C-9F4C-18558C0A0590}" dt="2022-05-21T19:54:46.498" v="22"/>
          <ac:spMkLst>
            <pc:docMk/>
            <pc:sldMk cId="1056661577" sldId="2134803553"/>
            <ac:spMk id="700" creationId="{46CF4BB1-5A48-FA6C-FBDE-AED08904F5E0}"/>
          </ac:spMkLst>
        </pc:spChg>
        <pc:spChg chg="mod">
          <ac:chgData name="Kebba Jeng" userId="fe4cc296-ba7d-48a2-8799-89b58d218255" providerId="ADAL" clId="{253D94E7-442D-460C-9F4C-18558C0A0590}" dt="2022-05-21T19:54:46.498" v="22"/>
          <ac:spMkLst>
            <pc:docMk/>
            <pc:sldMk cId="1056661577" sldId="2134803553"/>
            <ac:spMk id="701" creationId="{1614CCB6-B40F-0505-5CBC-6EC5ED846E1E}"/>
          </ac:spMkLst>
        </pc:spChg>
        <pc:spChg chg="mod">
          <ac:chgData name="Kebba Jeng" userId="fe4cc296-ba7d-48a2-8799-89b58d218255" providerId="ADAL" clId="{253D94E7-442D-460C-9F4C-18558C0A0590}" dt="2022-05-21T19:54:46.498" v="22"/>
          <ac:spMkLst>
            <pc:docMk/>
            <pc:sldMk cId="1056661577" sldId="2134803553"/>
            <ac:spMk id="702" creationId="{8C842556-3630-36F5-7E36-54D3E2C554E8}"/>
          </ac:spMkLst>
        </pc:spChg>
        <pc:spChg chg="mod">
          <ac:chgData name="Kebba Jeng" userId="fe4cc296-ba7d-48a2-8799-89b58d218255" providerId="ADAL" clId="{253D94E7-442D-460C-9F4C-18558C0A0590}" dt="2022-05-21T19:54:46.498" v="22"/>
          <ac:spMkLst>
            <pc:docMk/>
            <pc:sldMk cId="1056661577" sldId="2134803553"/>
            <ac:spMk id="703" creationId="{2B41E778-2DEF-1330-EB3A-7A0F2403888D}"/>
          </ac:spMkLst>
        </pc:spChg>
        <pc:spChg chg="mod">
          <ac:chgData name="Kebba Jeng" userId="fe4cc296-ba7d-48a2-8799-89b58d218255" providerId="ADAL" clId="{253D94E7-442D-460C-9F4C-18558C0A0590}" dt="2022-05-21T19:54:46.498" v="22"/>
          <ac:spMkLst>
            <pc:docMk/>
            <pc:sldMk cId="1056661577" sldId="2134803553"/>
            <ac:spMk id="704" creationId="{7F75E498-9723-931B-1785-A6D6E1FCC3E1}"/>
          </ac:spMkLst>
        </pc:spChg>
        <pc:spChg chg="mod">
          <ac:chgData name="Kebba Jeng" userId="fe4cc296-ba7d-48a2-8799-89b58d218255" providerId="ADAL" clId="{253D94E7-442D-460C-9F4C-18558C0A0590}" dt="2022-05-21T19:54:46.498" v="22"/>
          <ac:spMkLst>
            <pc:docMk/>
            <pc:sldMk cId="1056661577" sldId="2134803553"/>
            <ac:spMk id="705" creationId="{2EB2D567-CEBF-CD55-7F51-3FD7665E9535}"/>
          </ac:spMkLst>
        </pc:spChg>
        <pc:spChg chg="mod">
          <ac:chgData name="Kebba Jeng" userId="fe4cc296-ba7d-48a2-8799-89b58d218255" providerId="ADAL" clId="{253D94E7-442D-460C-9F4C-18558C0A0590}" dt="2022-05-21T19:54:46.498" v="22"/>
          <ac:spMkLst>
            <pc:docMk/>
            <pc:sldMk cId="1056661577" sldId="2134803553"/>
            <ac:spMk id="706" creationId="{64F24AC3-067A-B3C7-CF30-5F64BF97B8FF}"/>
          </ac:spMkLst>
        </pc:spChg>
        <pc:spChg chg="mod">
          <ac:chgData name="Kebba Jeng" userId="fe4cc296-ba7d-48a2-8799-89b58d218255" providerId="ADAL" clId="{253D94E7-442D-460C-9F4C-18558C0A0590}" dt="2022-05-21T19:54:46.498" v="22"/>
          <ac:spMkLst>
            <pc:docMk/>
            <pc:sldMk cId="1056661577" sldId="2134803553"/>
            <ac:spMk id="707" creationId="{27B73A34-CE0F-C12B-2637-C0AFD2D4C800}"/>
          </ac:spMkLst>
        </pc:spChg>
        <pc:spChg chg="mod">
          <ac:chgData name="Kebba Jeng" userId="fe4cc296-ba7d-48a2-8799-89b58d218255" providerId="ADAL" clId="{253D94E7-442D-460C-9F4C-18558C0A0590}" dt="2022-05-21T19:54:46.498" v="22"/>
          <ac:spMkLst>
            <pc:docMk/>
            <pc:sldMk cId="1056661577" sldId="2134803553"/>
            <ac:spMk id="708" creationId="{AF9BC388-BBC3-36B9-3C05-9D11F89E1DFB}"/>
          </ac:spMkLst>
        </pc:spChg>
        <pc:spChg chg="mod">
          <ac:chgData name="Kebba Jeng" userId="fe4cc296-ba7d-48a2-8799-89b58d218255" providerId="ADAL" clId="{253D94E7-442D-460C-9F4C-18558C0A0590}" dt="2022-05-21T19:54:46.498" v="22"/>
          <ac:spMkLst>
            <pc:docMk/>
            <pc:sldMk cId="1056661577" sldId="2134803553"/>
            <ac:spMk id="709" creationId="{836138F0-D3AE-CE41-AD4E-1DBF3B184FB5}"/>
          </ac:spMkLst>
        </pc:spChg>
        <pc:spChg chg="mod">
          <ac:chgData name="Kebba Jeng" userId="fe4cc296-ba7d-48a2-8799-89b58d218255" providerId="ADAL" clId="{253D94E7-442D-460C-9F4C-18558C0A0590}" dt="2022-05-21T19:54:46.498" v="22"/>
          <ac:spMkLst>
            <pc:docMk/>
            <pc:sldMk cId="1056661577" sldId="2134803553"/>
            <ac:spMk id="710" creationId="{C62D0D97-9B85-E35E-F6A0-EDE59A983033}"/>
          </ac:spMkLst>
        </pc:spChg>
        <pc:spChg chg="mod">
          <ac:chgData name="Kebba Jeng" userId="fe4cc296-ba7d-48a2-8799-89b58d218255" providerId="ADAL" clId="{253D94E7-442D-460C-9F4C-18558C0A0590}" dt="2022-05-21T19:54:46.498" v="22"/>
          <ac:spMkLst>
            <pc:docMk/>
            <pc:sldMk cId="1056661577" sldId="2134803553"/>
            <ac:spMk id="711" creationId="{048BD610-523F-B33C-5B49-EECD1B007B49}"/>
          </ac:spMkLst>
        </pc:spChg>
        <pc:spChg chg="mod">
          <ac:chgData name="Kebba Jeng" userId="fe4cc296-ba7d-48a2-8799-89b58d218255" providerId="ADAL" clId="{253D94E7-442D-460C-9F4C-18558C0A0590}" dt="2022-05-21T19:54:46.498" v="22"/>
          <ac:spMkLst>
            <pc:docMk/>
            <pc:sldMk cId="1056661577" sldId="2134803553"/>
            <ac:spMk id="712" creationId="{B02E5372-1E3A-1F1C-530D-1D0474DAF9CC}"/>
          </ac:spMkLst>
        </pc:spChg>
        <pc:spChg chg="mod">
          <ac:chgData name="Kebba Jeng" userId="fe4cc296-ba7d-48a2-8799-89b58d218255" providerId="ADAL" clId="{253D94E7-442D-460C-9F4C-18558C0A0590}" dt="2022-05-21T19:54:46.498" v="22"/>
          <ac:spMkLst>
            <pc:docMk/>
            <pc:sldMk cId="1056661577" sldId="2134803553"/>
            <ac:spMk id="713" creationId="{ADDC141B-792F-68F1-5B01-B0EB09C81372}"/>
          </ac:spMkLst>
        </pc:spChg>
        <pc:spChg chg="mod">
          <ac:chgData name="Kebba Jeng" userId="fe4cc296-ba7d-48a2-8799-89b58d218255" providerId="ADAL" clId="{253D94E7-442D-460C-9F4C-18558C0A0590}" dt="2022-05-21T19:54:46.498" v="22"/>
          <ac:spMkLst>
            <pc:docMk/>
            <pc:sldMk cId="1056661577" sldId="2134803553"/>
            <ac:spMk id="714" creationId="{988385F0-92B0-0C9B-2829-4E5B6CD21F57}"/>
          </ac:spMkLst>
        </pc:spChg>
        <pc:spChg chg="mod">
          <ac:chgData name="Kebba Jeng" userId="fe4cc296-ba7d-48a2-8799-89b58d218255" providerId="ADAL" clId="{253D94E7-442D-460C-9F4C-18558C0A0590}" dt="2022-05-21T19:54:46.498" v="22"/>
          <ac:spMkLst>
            <pc:docMk/>
            <pc:sldMk cId="1056661577" sldId="2134803553"/>
            <ac:spMk id="715" creationId="{4740AF65-B488-0C73-CDDB-F13E8C8030DC}"/>
          </ac:spMkLst>
        </pc:spChg>
        <pc:spChg chg="mod">
          <ac:chgData name="Kebba Jeng" userId="fe4cc296-ba7d-48a2-8799-89b58d218255" providerId="ADAL" clId="{253D94E7-442D-460C-9F4C-18558C0A0590}" dt="2022-05-21T19:54:46.498" v="22"/>
          <ac:spMkLst>
            <pc:docMk/>
            <pc:sldMk cId="1056661577" sldId="2134803553"/>
            <ac:spMk id="716" creationId="{55B3DD01-FABB-AB55-8C59-98478E41D9D6}"/>
          </ac:spMkLst>
        </pc:spChg>
        <pc:spChg chg="mod">
          <ac:chgData name="Kebba Jeng" userId="fe4cc296-ba7d-48a2-8799-89b58d218255" providerId="ADAL" clId="{253D94E7-442D-460C-9F4C-18558C0A0590}" dt="2022-05-21T19:54:46.498" v="22"/>
          <ac:spMkLst>
            <pc:docMk/>
            <pc:sldMk cId="1056661577" sldId="2134803553"/>
            <ac:spMk id="717" creationId="{5C824E56-E92D-845F-66AC-6FBC9D4458AF}"/>
          </ac:spMkLst>
        </pc:spChg>
        <pc:spChg chg="mod">
          <ac:chgData name="Kebba Jeng" userId="fe4cc296-ba7d-48a2-8799-89b58d218255" providerId="ADAL" clId="{253D94E7-442D-460C-9F4C-18558C0A0590}" dt="2022-05-21T19:54:46.498" v="22"/>
          <ac:spMkLst>
            <pc:docMk/>
            <pc:sldMk cId="1056661577" sldId="2134803553"/>
            <ac:spMk id="718" creationId="{D26E1303-6165-9A27-0B4A-23C85FF78C89}"/>
          </ac:spMkLst>
        </pc:spChg>
        <pc:spChg chg="mod">
          <ac:chgData name="Kebba Jeng" userId="fe4cc296-ba7d-48a2-8799-89b58d218255" providerId="ADAL" clId="{253D94E7-442D-460C-9F4C-18558C0A0590}" dt="2022-05-21T19:54:46.498" v="22"/>
          <ac:spMkLst>
            <pc:docMk/>
            <pc:sldMk cId="1056661577" sldId="2134803553"/>
            <ac:spMk id="719" creationId="{BB8888FC-EFBD-7D71-8AE4-796840D87127}"/>
          </ac:spMkLst>
        </pc:spChg>
        <pc:spChg chg="mod">
          <ac:chgData name="Kebba Jeng" userId="fe4cc296-ba7d-48a2-8799-89b58d218255" providerId="ADAL" clId="{253D94E7-442D-460C-9F4C-18558C0A0590}" dt="2022-05-21T19:54:46.498" v="22"/>
          <ac:spMkLst>
            <pc:docMk/>
            <pc:sldMk cId="1056661577" sldId="2134803553"/>
            <ac:spMk id="720" creationId="{18A1DD95-856A-E64E-B71C-1A0DCA20B649}"/>
          </ac:spMkLst>
        </pc:spChg>
        <pc:spChg chg="mod">
          <ac:chgData name="Kebba Jeng" userId="fe4cc296-ba7d-48a2-8799-89b58d218255" providerId="ADAL" clId="{253D94E7-442D-460C-9F4C-18558C0A0590}" dt="2022-05-21T19:54:46.498" v="22"/>
          <ac:spMkLst>
            <pc:docMk/>
            <pc:sldMk cId="1056661577" sldId="2134803553"/>
            <ac:spMk id="721" creationId="{BDA5DD2B-5901-0260-6D68-668BF9639611}"/>
          </ac:spMkLst>
        </pc:spChg>
        <pc:spChg chg="mod">
          <ac:chgData name="Kebba Jeng" userId="fe4cc296-ba7d-48a2-8799-89b58d218255" providerId="ADAL" clId="{253D94E7-442D-460C-9F4C-18558C0A0590}" dt="2022-05-21T19:54:46.498" v="22"/>
          <ac:spMkLst>
            <pc:docMk/>
            <pc:sldMk cId="1056661577" sldId="2134803553"/>
            <ac:spMk id="722" creationId="{63515FA1-CFC6-BD04-D54F-A14CD2BD15E7}"/>
          </ac:spMkLst>
        </pc:spChg>
        <pc:spChg chg="mod">
          <ac:chgData name="Kebba Jeng" userId="fe4cc296-ba7d-48a2-8799-89b58d218255" providerId="ADAL" clId="{253D94E7-442D-460C-9F4C-18558C0A0590}" dt="2022-05-21T19:54:46.498" v="22"/>
          <ac:spMkLst>
            <pc:docMk/>
            <pc:sldMk cId="1056661577" sldId="2134803553"/>
            <ac:spMk id="723" creationId="{E4F42DF6-726A-12F4-C2E7-41DC26D95CF1}"/>
          </ac:spMkLst>
        </pc:spChg>
        <pc:spChg chg="mod">
          <ac:chgData name="Kebba Jeng" userId="fe4cc296-ba7d-48a2-8799-89b58d218255" providerId="ADAL" clId="{253D94E7-442D-460C-9F4C-18558C0A0590}" dt="2022-05-21T19:54:46.498" v="22"/>
          <ac:spMkLst>
            <pc:docMk/>
            <pc:sldMk cId="1056661577" sldId="2134803553"/>
            <ac:spMk id="724" creationId="{90515B01-52BE-EB7A-167A-494532B9E0E6}"/>
          </ac:spMkLst>
        </pc:spChg>
        <pc:spChg chg="mod">
          <ac:chgData name="Kebba Jeng" userId="fe4cc296-ba7d-48a2-8799-89b58d218255" providerId="ADAL" clId="{253D94E7-442D-460C-9F4C-18558C0A0590}" dt="2022-05-21T19:54:46.498" v="22"/>
          <ac:spMkLst>
            <pc:docMk/>
            <pc:sldMk cId="1056661577" sldId="2134803553"/>
            <ac:spMk id="725" creationId="{D84DD328-09E6-FDC0-16A1-1068CFFB899E}"/>
          </ac:spMkLst>
        </pc:spChg>
        <pc:spChg chg="mod">
          <ac:chgData name="Kebba Jeng" userId="fe4cc296-ba7d-48a2-8799-89b58d218255" providerId="ADAL" clId="{253D94E7-442D-460C-9F4C-18558C0A0590}" dt="2022-05-21T19:54:46.498" v="22"/>
          <ac:spMkLst>
            <pc:docMk/>
            <pc:sldMk cId="1056661577" sldId="2134803553"/>
            <ac:spMk id="726" creationId="{E33637B4-9303-0B03-469F-56E91CA660B3}"/>
          </ac:spMkLst>
        </pc:spChg>
        <pc:spChg chg="mod">
          <ac:chgData name="Kebba Jeng" userId="fe4cc296-ba7d-48a2-8799-89b58d218255" providerId="ADAL" clId="{253D94E7-442D-460C-9F4C-18558C0A0590}" dt="2022-05-21T19:54:46.498" v="22"/>
          <ac:spMkLst>
            <pc:docMk/>
            <pc:sldMk cId="1056661577" sldId="2134803553"/>
            <ac:spMk id="727" creationId="{B25D0D80-BFB7-F799-F4BD-4BEC9677701A}"/>
          </ac:spMkLst>
        </pc:spChg>
        <pc:spChg chg="mod">
          <ac:chgData name="Kebba Jeng" userId="fe4cc296-ba7d-48a2-8799-89b58d218255" providerId="ADAL" clId="{253D94E7-442D-460C-9F4C-18558C0A0590}" dt="2022-05-21T19:54:46.498" v="22"/>
          <ac:spMkLst>
            <pc:docMk/>
            <pc:sldMk cId="1056661577" sldId="2134803553"/>
            <ac:spMk id="728" creationId="{48CD8600-5BDF-8F60-BC6D-2F21A8E6443F}"/>
          </ac:spMkLst>
        </pc:spChg>
        <pc:spChg chg="mod">
          <ac:chgData name="Kebba Jeng" userId="fe4cc296-ba7d-48a2-8799-89b58d218255" providerId="ADAL" clId="{253D94E7-442D-460C-9F4C-18558C0A0590}" dt="2022-05-21T19:54:46.498" v="22"/>
          <ac:spMkLst>
            <pc:docMk/>
            <pc:sldMk cId="1056661577" sldId="2134803553"/>
            <ac:spMk id="729" creationId="{DB43172B-3707-E934-B771-2D1E6A0664BB}"/>
          </ac:spMkLst>
        </pc:spChg>
        <pc:spChg chg="mod">
          <ac:chgData name="Kebba Jeng" userId="fe4cc296-ba7d-48a2-8799-89b58d218255" providerId="ADAL" clId="{253D94E7-442D-460C-9F4C-18558C0A0590}" dt="2022-05-21T19:54:46.498" v="22"/>
          <ac:spMkLst>
            <pc:docMk/>
            <pc:sldMk cId="1056661577" sldId="2134803553"/>
            <ac:spMk id="730" creationId="{92EA729C-EE52-DAE6-1390-312CC631CB66}"/>
          </ac:spMkLst>
        </pc:spChg>
        <pc:spChg chg="mod">
          <ac:chgData name="Kebba Jeng" userId="fe4cc296-ba7d-48a2-8799-89b58d218255" providerId="ADAL" clId="{253D94E7-442D-460C-9F4C-18558C0A0590}" dt="2022-05-21T19:54:46.498" v="22"/>
          <ac:spMkLst>
            <pc:docMk/>
            <pc:sldMk cId="1056661577" sldId="2134803553"/>
            <ac:spMk id="731" creationId="{C5B6DC7F-7B7F-9BD9-6982-C305227559A8}"/>
          </ac:spMkLst>
        </pc:spChg>
        <pc:spChg chg="mod">
          <ac:chgData name="Kebba Jeng" userId="fe4cc296-ba7d-48a2-8799-89b58d218255" providerId="ADAL" clId="{253D94E7-442D-460C-9F4C-18558C0A0590}" dt="2022-05-21T19:54:46.498" v="22"/>
          <ac:spMkLst>
            <pc:docMk/>
            <pc:sldMk cId="1056661577" sldId="2134803553"/>
            <ac:spMk id="732" creationId="{61D8B0F8-F360-8DE4-0C45-AC7A13269FF7}"/>
          </ac:spMkLst>
        </pc:spChg>
        <pc:spChg chg="mod">
          <ac:chgData name="Kebba Jeng" userId="fe4cc296-ba7d-48a2-8799-89b58d218255" providerId="ADAL" clId="{253D94E7-442D-460C-9F4C-18558C0A0590}" dt="2022-05-21T19:54:46.498" v="22"/>
          <ac:spMkLst>
            <pc:docMk/>
            <pc:sldMk cId="1056661577" sldId="2134803553"/>
            <ac:spMk id="733" creationId="{803C40FA-7B97-3E47-3D38-B8C48589744F}"/>
          </ac:spMkLst>
        </pc:spChg>
        <pc:spChg chg="mod">
          <ac:chgData name="Kebba Jeng" userId="fe4cc296-ba7d-48a2-8799-89b58d218255" providerId="ADAL" clId="{253D94E7-442D-460C-9F4C-18558C0A0590}" dt="2022-05-21T19:54:46.498" v="22"/>
          <ac:spMkLst>
            <pc:docMk/>
            <pc:sldMk cId="1056661577" sldId="2134803553"/>
            <ac:spMk id="734" creationId="{EA599527-D9C3-EB28-5563-43597B410196}"/>
          </ac:spMkLst>
        </pc:spChg>
        <pc:spChg chg="mod">
          <ac:chgData name="Kebba Jeng" userId="fe4cc296-ba7d-48a2-8799-89b58d218255" providerId="ADAL" clId="{253D94E7-442D-460C-9F4C-18558C0A0590}" dt="2022-05-21T19:54:46.498" v="22"/>
          <ac:spMkLst>
            <pc:docMk/>
            <pc:sldMk cId="1056661577" sldId="2134803553"/>
            <ac:spMk id="735" creationId="{5D990516-122E-60EB-253D-80478609545A}"/>
          </ac:spMkLst>
        </pc:spChg>
        <pc:spChg chg="mod">
          <ac:chgData name="Kebba Jeng" userId="fe4cc296-ba7d-48a2-8799-89b58d218255" providerId="ADAL" clId="{253D94E7-442D-460C-9F4C-18558C0A0590}" dt="2022-05-21T19:54:46.498" v="22"/>
          <ac:spMkLst>
            <pc:docMk/>
            <pc:sldMk cId="1056661577" sldId="2134803553"/>
            <ac:spMk id="736" creationId="{4002BF9F-0BF5-AEA8-0A3F-34114020FC4C}"/>
          </ac:spMkLst>
        </pc:spChg>
        <pc:spChg chg="mod">
          <ac:chgData name="Kebba Jeng" userId="fe4cc296-ba7d-48a2-8799-89b58d218255" providerId="ADAL" clId="{253D94E7-442D-460C-9F4C-18558C0A0590}" dt="2022-05-21T19:54:46.498" v="22"/>
          <ac:spMkLst>
            <pc:docMk/>
            <pc:sldMk cId="1056661577" sldId="2134803553"/>
            <ac:spMk id="737" creationId="{E45E77E9-E96D-9DD1-1D9F-6A2146E391EA}"/>
          </ac:spMkLst>
        </pc:spChg>
        <pc:spChg chg="mod">
          <ac:chgData name="Kebba Jeng" userId="fe4cc296-ba7d-48a2-8799-89b58d218255" providerId="ADAL" clId="{253D94E7-442D-460C-9F4C-18558C0A0590}" dt="2022-05-21T19:54:46.498" v="22"/>
          <ac:spMkLst>
            <pc:docMk/>
            <pc:sldMk cId="1056661577" sldId="2134803553"/>
            <ac:spMk id="738" creationId="{BFC49099-3E55-707B-0C3D-825FE8BBFFD3}"/>
          </ac:spMkLst>
        </pc:spChg>
        <pc:spChg chg="mod">
          <ac:chgData name="Kebba Jeng" userId="fe4cc296-ba7d-48a2-8799-89b58d218255" providerId="ADAL" clId="{253D94E7-442D-460C-9F4C-18558C0A0590}" dt="2022-05-21T19:54:46.498" v="22"/>
          <ac:spMkLst>
            <pc:docMk/>
            <pc:sldMk cId="1056661577" sldId="2134803553"/>
            <ac:spMk id="739" creationId="{D2D1E964-6175-208E-605B-98EB5EA3701A}"/>
          </ac:spMkLst>
        </pc:spChg>
        <pc:spChg chg="mod">
          <ac:chgData name="Kebba Jeng" userId="fe4cc296-ba7d-48a2-8799-89b58d218255" providerId="ADAL" clId="{253D94E7-442D-460C-9F4C-18558C0A0590}" dt="2022-05-21T19:54:46.498" v="22"/>
          <ac:spMkLst>
            <pc:docMk/>
            <pc:sldMk cId="1056661577" sldId="2134803553"/>
            <ac:spMk id="740" creationId="{6E695ADE-1F02-728F-3A5F-165EA082D0C0}"/>
          </ac:spMkLst>
        </pc:spChg>
        <pc:spChg chg="mod">
          <ac:chgData name="Kebba Jeng" userId="fe4cc296-ba7d-48a2-8799-89b58d218255" providerId="ADAL" clId="{253D94E7-442D-460C-9F4C-18558C0A0590}" dt="2022-05-21T19:54:46.498" v="22"/>
          <ac:spMkLst>
            <pc:docMk/>
            <pc:sldMk cId="1056661577" sldId="2134803553"/>
            <ac:spMk id="741" creationId="{E87727D4-79E3-EB55-218C-BB3209EF18DE}"/>
          </ac:spMkLst>
        </pc:spChg>
        <pc:spChg chg="mod">
          <ac:chgData name="Kebba Jeng" userId="fe4cc296-ba7d-48a2-8799-89b58d218255" providerId="ADAL" clId="{253D94E7-442D-460C-9F4C-18558C0A0590}" dt="2022-05-21T19:54:46.498" v="22"/>
          <ac:spMkLst>
            <pc:docMk/>
            <pc:sldMk cId="1056661577" sldId="2134803553"/>
            <ac:spMk id="742" creationId="{46E00928-3AB0-B817-7F39-D0D43CBC53D3}"/>
          </ac:spMkLst>
        </pc:spChg>
        <pc:spChg chg="mod">
          <ac:chgData name="Kebba Jeng" userId="fe4cc296-ba7d-48a2-8799-89b58d218255" providerId="ADAL" clId="{253D94E7-442D-460C-9F4C-18558C0A0590}" dt="2022-05-21T19:54:46.498" v="22"/>
          <ac:spMkLst>
            <pc:docMk/>
            <pc:sldMk cId="1056661577" sldId="2134803553"/>
            <ac:spMk id="743" creationId="{82E9385A-42A5-4FEF-508C-AE544341CC38}"/>
          </ac:spMkLst>
        </pc:spChg>
        <pc:spChg chg="mod">
          <ac:chgData name="Kebba Jeng" userId="fe4cc296-ba7d-48a2-8799-89b58d218255" providerId="ADAL" clId="{253D94E7-442D-460C-9F4C-18558C0A0590}" dt="2022-05-21T19:54:46.498" v="22"/>
          <ac:spMkLst>
            <pc:docMk/>
            <pc:sldMk cId="1056661577" sldId="2134803553"/>
            <ac:spMk id="744" creationId="{7488D897-10FD-7694-F6DA-E03C745EAA5F}"/>
          </ac:spMkLst>
        </pc:spChg>
        <pc:spChg chg="mod">
          <ac:chgData name="Kebba Jeng" userId="fe4cc296-ba7d-48a2-8799-89b58d218255" providerId="ADAL" clId="{253D94E7-442D-460C-9F4C-18558C0A0590}" dt="2022-05-21T19:54:46.498" v="22"/>
          <ac:spMkLst>
            <pc:docMk/>
            <pc:sldMk cId="1056661577" sldId="2134803553"/>
            <ac:spMk id="745" creationId="{D9041DCB-14BD-66CA-9B61-C783B3432B5F}"/>
          </ac:spMkLst>
        </pc:spChg>
        <pc:spChg chg="mod">
          <ac:chgData name="Kebba Jeng" userId="fe4cc296-ba7d-48a2-8799-89b58d218255" providerId="ADAL" clId="{253D94E7-442D-460C-9F4C-18558C0A0590}" dt="2022-05-21T19:54:46.498" v="22"/>
          <ac:spMkLst>
            <pc:docMk/>
            <pc:sldMk cId="1056661577" sldId="2134803553"/>
            <ac:spMk id="746" creationId="{2C23F89B-5FAD-6436-1D44-C8CCB16A108C}"/>
          </ac:spMkLst>
        </pc:spChg>
        <pc:spChg chg="mod">
          <ac:chgData name="Kebba Jeng" userId="fe4cc296-ba7d-48a2-8799-89b58d218255" providerId="ADAL" clId="{253D94E7-442D-460C-9F4C-18558C0A0590}" dt="2022-05-21T19:54:46.498" v="22"/>
          <ac:spMkLst>
            <pc:docMk/>
            <pc:sldMk cId="1056661577" sldId="2134803553"/>
            <ac:spMk id="747" creationId="{605E06C2-A2FA-5EEF-4AE5-4C4CFE63E9EE}"/>
          </ac:spMkLst>
        </pc:spChg>
        <pc:spChg chg="mod">
          <ac:chgData name="Kebba Jeng" userId="fe4cc296-ba7d-48a2-8799-89b58d218255" providerId="ADAL" clId="{253D94E7-442D-460C-9F4C-18558C0A0590}" dt="2022-05-21T19:54:46.498" v="22"/>
          <ac:spMkLst>
            <pc:docMk/>
            <pc:sldMk cId="1056661577" sldId="2134803553"/>
            <ac:spMk id="748" creationId="{0D686F30-EE8C-D8DC-B860-8E3C9ACB7F5C}"/>
          </ac:spMkLst>
        </pc:spChg>
        <pc:spChg chg="mod">
          <ac:chgData name="Kebba Jeng" userId="fe4cc296-ba7d-48a2-8799-89b58d218255" providerId="ADAL" clId="{253D94E7-442D-460C-9F4C-18558C0A0590}" dt="2022-05-21T19:54:46.498" v="22"/>
          <ac:spMkLst>
            <pc:docMk/>
            <pc:sldMk cId="1056661577" sldId="2134803553"/>
            <ac:spMk id="749" creationId="{FE733792-6989-14D9-B125-66A40ECA9F18}"/>
          </ac:spMkLst>
        </pc:spChg>
        <pc:spChg chg="mod">
          <ac:chgData name="Kebba Jeng" userId="fe4cc296-ba7d-48a2-8799-89b58d218255" providerId="ADAL" clId="{253D94E7-442D-460C-9F4C-18558C0A0590}" dt="2022-05-21T19:54:46.498" v="22"/>
          <ac:spMkLst>
            <pc:docMk/>
            <pc:sldMk cId="1056661577" sldId="2134803553"/>
            <ac:spMk id="750" creationId="{E2EBD51F-ED8A-1F40-623D-9CD9FCBB1E85}"/>
          </ac:spMkLst>
        </pc:spChg>
        <pc:spChg chg="mod">
          <ac:chgData name="Kebba Jeng" userId="fe4cc296-ba7d-48a2-8799-89b58d218255" providerId="ADAL" clId="{253D94E7-442D-460C-9F4C-18558C0A0590}" dt="2022-05-21T19:54:46.498" v="22"/>
          <ac:spMkLst>
            <pc:docMk/>
            <pc:sldMk cId="1056661577" sldId="2134803553"/>
            <ac:spMk id="751" creationId="{2AA13D95-CB6F-E759-6722-3F51391D7D83}"/>
          </ac:spMkLst>
        </pc:spChg>
        <pc:spChg chg="mod">
          <ac:chgData name="Kebba Jeng" userId="fe4cc296-ba7d-48a2-8799-89b58d218255" providerId="ADAL" clId="{253D94E7-442D-460C-9F4C-18558C0A0590}" dt="2022-05-21T19:54:46.498" v="22"/>
          <ac:spMkLst>
            <pc:docMk/>
            <pc:sldMk cId="1056661577" sldId="2134803553"/>
            <ac:spMk id="752" creationId="{9E16C7EC-127F-F220-8E9C-E9EE825C3C69}"/>
          </ac:spMkLst>
        </pc:spChg>
        <pc:spChg chg="mod">
          <ac:chgData name="Kebba Jeng" userId="fe4cc296-ba7d-48a2-8799-89b58d218255" providerId="ADAL" clId="{253D94E7-442D-460C-9F4C-18558C0A0590}" dt="2022-05-21T19:54:46.498" v="22"/>
          <ac:spMkLst>
            <pc:docMk/>
            <pc:sldMk cId="1056661577" sldId="2134803553"/>
            <ac:spMk id="753" creationId="{6CAEEF0E-6D47-1880-5205-73CDD8BCE330}"/>
          </ac:spMkLst>
        </pc:spChg>
        <pc:spChg chg="mod">
          <ac:chgData name="Kebba Jeng" userId="fe4cc296-ba7d-48a2-8799-89b58d218255" providerId="ADAL" clId="{253D94E7-442D-460C-9F4C-18558C0A0590}" dt="2022-05-21T19:54:46.498" v="22"/>
          <ac:spMkLst>
            <pc:docMk/>
            <pc:sldMk cId="1056661577" sldId="2134803553"/>
            <ac:spMk id="754" creationId="{D4C4BCE6-73B6-1B16-40BA-0955F8D6C75F}"/>
          </ac:spMkLst>
        </pc:spChg>
        <pc:spChg chg="mod">
          <ac:chgData name="Kebba Jeng" userId="fe4cc296-ba7d-48a2-8799-89b58d218255" providerId="ADAL" clId="{253D94E7-442D-460C-9F4C-18558C0A0590}" dt="2022-05-21T19:54:46.498" v="22"/>
          <ac:spMkLst>
            <pc:docMk/>
            <pc:sldMk cId="1056661577" sldId="2134803553"/>
            <ac:spMk id="755" creationId="{BE061D0A-34A3-1202-144B-61BC7E452F3F}"/>
          </ac:spMkLst>
        </pc:spChg>
        <pc:spChg chg="mod">
          <ac:chgData name="Kebba Jeng" userId="fe4cc296-ba7d-48a2-8799-89b58d218255" providerId="ADAL" clId="{253D94E7-442D-460C-9F4C-18558C0A0590}" dt="2022-05-21T19:54:46.498" v="22"/>
          <ac:spMkLst>
            <pc:docMk/>
            <pc:sldMk cId="1056661577" sldId="2134803553"/>
            <ac:spMk id="756" creationId="{EB4456ED-9BCF-64A0-3121-A52399D66CE8}"/>
          </ac:spMkLst>
        </pc:spChg>
        <pc:spChg chg="mod">
          <ac:chgData name="Kebba Jeng" userId="fe4cc296-ba7d-48a2-8799-89b58d218255" providerId="ADAL" clId="{253D94E7-442D-460C-9F4C-18558C0A0590}" dt="2022-05-21T19:54:46.498" v="22"/>
          <ac:spMkLst>
            <pc:docMk/>
            <pc:sldMk cId="1056661577" sldId="2134803553"/>
            <ac:spMk id="757" creationId="{64A47006-0317-CD60-64F5-E3831E3ADED9}"/>
          </ac:spMkLst>
        </pc:spChg>
        <pc:spChg chg="mod">
          <ac:chgData name="Kebba Jeng" userId="fe4cc296-ba7d-48a2-8799-89b58d218255" providerId="ADAL" clId="{253D94E7-442D-460C-9F4C-18558C0A0590}" dt="2022-05-21T19:54:46.498" v="22"/>
          <ac:spMkLst>
            <pc:docMk/>
            <pc:sldMk cId="1056661577" sldId="2134803553"/>
            <ac:spMk id="758" creationId="{7A312D85-286C-9F8D-6F8A-240984B2D5BE}"/>
          </ac:spMkLst>
        </pc:spChg>
        <pc:spChg chg="mod">
          <ac:chgData name="Kebba Jeng" userId="fe4cc296-ba7d-48a2-8799-89b58d218255" providerId="ADAL" clId="{253D94E7-442D-460C-9F4C-18558C0A0590}" dt="2022-05-21T19:54:46.498" v="22"/>
          <ac:spMkLst>
            <pc:docMk/>
            <pc:sldMk cId="1056661577" sldId="2134803553"/>
            <ac:spMk id="759" creationId="{C152CB59-A36E-30AA-D577-72386EBDB3E0}"/>
          </ac:spMkLst>
        </pc:spChg>
        <pc:spChg chg="mod">
          <ac:chgData name="Kebba Jeng" userId="fe4cc296-ba7d-48a2-8799-89b58d218255" providerId="ADAL" clId="{253D94E7-442D-460C-9F4C-18558C0A0590}" dt="2022-05-21T19:54:46.498" v="22"/>
          <ac:spMkLst>
            <pc:docMk/>
            <pc:sldMk cId="1056661577" sldId="2134803553"/>
            <ac:spMk id="760" creationId="{A9A22BEB-7D6E-B5A4-11EC-54AD88BA7550}"/>
          </ac:spMkLst>
        </pc:spChg>
        <pc:spChg chg="mod">
          <ac:chgData name="Kebba Jeng" userId="fe4cc296-ba7d-48a2-8799-89b58d218255" providerId="ADAL" clId="{253D94E7-442D-460C-9F4C-18558C0A0590}" dt="2022-05-21T19:54:46.498" v="22"/>
          <ac:spMkLst>
            <pc:docMk/>
            <pc:sldMk cId="1056661577" sldId="2134803553"/>
            <ac:spMk id="761" creationId="{5CE97B14-2C4E-31BA-804E-DA359397F536}"/>
          </ac:spMkLst>
        </pc:spChg>
        <pc:spChg chg="mod">
          <ac:chgData name="Kebba Jeng" userId="fe4cc296-ba7d-48a2-8799-89b58d218255" providerId="ADAL" clId="{253D94E7-442D-460C-9F4C-18558C0A0590}" dt="2022-05-21T19:54:46.498" v="22"/>
          <ac:spMkLst>
            <pc:docMk/>
            <pc:sldMk cId="1056661577" sldId="2134803553"/>
            <ac:spMk id="762" creationId="{B3ECB547-044A-8480-0510-A649377081F3}"/>
          </ac:spMkLst>
        </pc:spChg>
        <pc:spChg chg="mod">
          <ac:chgData name="Kebba Jeng" userId="fe4cc296-ba7d-48a2-8799-89b58d218255" providerId="ADAL" clId="{253D94E7-442D-460C-9F4C-18558C0A0590}" dt="2022-05-21T19:54:46.498" v="22"/>
          <ac:spMkLst>
            <pc:docMk/>
            <pc:sldMk cId="1056661577" sldId="2134803553"/>
            <ac:spMk id="763" creationId="{035B3173-538A-40E0-3F60-25AE747F8A57}"/>
          </ac:spMkLst>
        </pc:spChg>
        <pc:spChg chg="mod">
          <ac:chgData name="Kebba Jeng" userId="fe4cc296-ba7d-48a2-8799-89b58d218255" providerId="ADAL" clId="{253D94E7-442D-460C-9F4C-18558C0A0590}" dt="2022-05-21T19:54:46.498" v="22"/>
          <ac:spMkLst>
            <pc:docMk/>
            <pc:sldMk cId="1056661577" sldId="2134803553"/>
            <ac:spMk id="764" creationId="{6D259EE1-36C3-4BE7-11AD-0CF1C944FC77}"/>
          </ac:spMkLst>
        </pc:spChg>
        <pc:spChg chg="mod">
          <ac:chgData name="Kebba Jeng" userId="fe4cc296-ba7d-48a2-8799-89b58d218255" providerId="ADAL" clId="{253D94E7-442D-460C-9F4C-18558C0A0590}" dt="2022-05-21T19:54:46.498" v="22"/>
          <ac:spMkLst>
            <pc:docMk/>
            <pc:sldMk cId="1056661577" sldId="2134803553"/>
            <ac:spMk id="765" creationId="{E6B414DE-3265-EC98-DF9D-E32B97D725B2}"/>
          </ac:spMkLst>
        </pc:spChg>
        <pc:spChg chg="mod">
          <ac:chgData name="Kebba Jeng" userId="fe4cc296-ba7d-48a2-8799-89b58d218255" providerId="ADAL" clId="{253D94E7-442D-460C-9F4C-18558C0A0590}" dt="2022-05-21T19:54:46.498" v="22"/>
          <ac:spMkLst>
            <pc:docMk/>
            <pc:sldMk cId="1056661577" sldId="2134803553"/>
            <ac:spMk id="766" creationId="{A80428B8-B9DD-19FC-BB9B-833ADB50E956}"/>
          </ac:spMkLst>
        </pc:spChg>
        <pc:spChg chg="mod">
          <ac:chgData name="Kebba Jeng" userId="fe4cc296-ba7d-48a2-8799-89b58d218255" providerId="ADAL" clId="{253D94E7-442D-460C-9F4C-18558C0A0590}" dt="2022-05-21T19:54:46.498" v="22"/>
          <ac:spMkLst>
            <pc:docMk/>
            <pc:sldMk cId="1056661577" sldId="2134803553"/>
            <ac:spMk id="767" creationId="{58C4B5E2-C34D-B67A-5661-94B6BCA53C54}"/>
          </ac:spMkLst>
        </pc:spChg>
        <pc:spChg chg="mod">
          <ac:chgData name="Kebba Jeng" userId="fe4cc296-ba7d-48a2-8799-89b58d218255" providerId="ADAL" clId="{253D94E7-442D-460C-9F4C-18558C0A0590}" dt="2022-05-21T19:54:46.498" v="22"/>
          <ac:spMkLst>
            <pc:docMk/>
            <pc:sldMk cId="1056661577" sldId="2134803553"/>
            <ac:spMk id="768" creationId="{9F6F42DA-ACA4-E1C7-DA38-469E3957354F}"/>
          </ac:spMkLst>
        </pc:spChg>
        <pc:spChg chg="mod">
          <ac:chgData name="Kebba Jeng" userId="fe4cc296-ba7d-48a2-8799-89b58d218255" providerId="ADAL" clId="{253D94E7-442D-460C-9F4C-18558C0A0590}" dt="2022-05-21T19:54:46.498" v="22"/>
          <ac:spMkLst>
            <pc:docMk/>
            <pc:sldMk cId="1056661577" sldId="2134803553"/>
            <ac:spMk id="769" creationId="{F034F592-C25C-CB43-8818-B31A20D6BE8E}"/>
          </ac:spMkLst>
        </pc:spChg>
        <pc:spChg chg="mod">
          <ac:chgData name="Kebba Jeng" userId="fe4cc296-ba7d-48a2-8799-89b58d218255" providerId="ADAL" clId="{253D94E7-442D-460C-9F4C-18558C0A0590}" dt="2022-05-21T19:54:46.498" v="22"/>
          <ac:spMkLst>
            <pc:docMk/>
            <pc:sldMk cId="1056661577" sldId="2134803553"/>
            <ac:spMk id="770" creationId="{64220EEC-564B-0842-60C5-3886ED4468D7}"/>
          </ac:spMkLst>
        </pc:spChg>
        <pc:spChg chg="mod">
          <ac:chgData name="Kebba Jeng" userId="fe4cc296-ba7d-48a2-8799-89b58d218255" providerId="ADAL" clId="{253D94E7-442D-460C-9F4C-18558C0A0590}" dt="2022-05-21T19:54:46.498" v="22"/>
          <ac:spMkLst>
            <pc:docMk/>
            <pc:sldMk cId="1056661577" sldId="2134803553"/>
            <ac:spMk id="771" creationId="{52A21FD9-85D8-5771-04F1-7BEE05F93A51}"/>
          </ac:spMkLst>
        </pc:spChg>
        <pc:spChg chg="mod">
          <ac:chgData name="Kebba Jeng" userId="fe4cc296-ba7d-48a2-8799-89b58d218255" providerId="ADAL" clId="{253D94E7-442D-460C-9F4C-18558C0A0590}" dt="2022-05-21T19:54:46.498" v="22"/>
          <ac:spMkLst>
            <pc:docMk/>
            <pc:sldMk cId="1056661577" sldId="2134803553"/>
            <ac:spMk id="772" creationId="{DDBEC5EC-6BF0-1AEB-09C6-A8402756AC8E}"/>
          </ac:spMkLst>
        </pc:spChg>
        <pc:spChg chg="mod">
          <ac:chgData name="Kebba Jeng" userId="fe4cc296-ba7d-48a2-8799-89b58d218255" providerId="ADAL" clId="{253D94E7-442D-460C-9F4C-18558C0A0590}" dt="2022-05-21T19:54:46.498" v="22"/>
          <ac:spMkLst>
            <pc:docMk/>
            <pc:sldMk cId="1056661577" sldId="2134803553"/>
            <ac:spMk id="773" creationId="{349F5CE0-A393-D1CE-EC34-5BD254C45F5C}"/>
          </ac:spMkLst>
        </pc:spChg>
        <pc:spChg chg="mod">
          <ac:chgData name="Kebba Jeng" userId="fe4cc296-ba7d-48a2-8799-89b58d218255" providerId="ADAL" clId="{253D94E7-442D-460C-9F4C-18558C0A0590}" dt="2022-05-21T19:54:46.498" v="22"/>
          <ac:spMkLst>
            <pc:docMk/>
            <pc:sldMk cId="1056661577" sldId="2134803553"/>
            <ac:spMk id="774" creationId="{49A647C9-9917-3DDF-73A3-CD1BE3FB8DB7}"/>
          </ac:spMkLst>
        </pc:spChg>
        <pc:spChg chg="mod">
          <ac:chgData name="Kebba Jeng" userId="fe4cc296-ba7d-48a2-8799-89b58d218255" providerId="ADAL" clId="{253D94E7-442D-460C-9F4C-18558C0A0590}" dt="2022-05-21T19:54:46.498" v="22"/>
          <ac:spMkLst>
            <pc:docMk/>
            <pc:sldMk cId="1056661577" sldId="2134803553"/>
            <ac:spMk id="775" creationId="{1FC5F05A-6489-30E5-D2BF-4B2022368C75}"/>
          </ac:spMkLst>
        </pc:spChg>
        <pc:spChg chg="mod">
          <ac:chgData name="Kebba Jeng" userId="fe4cc296-ba7d-48a2-8799-89b58d218255" providerId="ADAL" clId="{253D94E7-442D-460C-9F4C-18558C0A0590}" dt="2022-05-21T19:54:46.498" v="22"/>
          <ac:spMkLst>
            <pc:docMk/>
            <pc:sldMk cId="1056661577" sldId="2134803553"/>
            <ac:spMk id="776" creationId="{8648740D-9093-1FB7-944F-CF5A4DB183D4}"/>
          </ac:spMkLst>
        </pc:spChg>
        <pc:spChg chg="mod">
          <ac:chgData name="Kebba Jeng" userId="fe4cc296-ba7d-48a2-8799-89b58d218255" providerId="ADAL" clId="{253D94E7-442D-460C-9F4C-18558C0A0590}" dt="2022-05-21T19:54:46.498" v="22"/>
          <ac:spMkLst>
            <pc:docMk/>
            <pc:sldMk cId="1056661577" sldId="2134803553"/>
            <ac:spMk id="777" creationId="{0697A09C-D47A-CA32-EB96-B5BBDA46D9D8}"/>
          </ac:spMkLst>
        </pc:spChg>
        <pc:spChg chg="mod">
          <ac:chgData name="Kebba Jeng" userId="fe4cc296-ba7d-48a2-8799-89b58d218255" providerId="ADAL" clId="{253D94E7-442D-460C-9F4C-18558C0A0590}" dt="2022-05-21T19:54:46.498" v="22"/>
          <ac:spMkLst>
            <pc:docMk/>
            <pc:sldMk cId="1056661577" sldId="2134803553"/>
            <ac:spMk id="778" creationId="{111AA214-BB18-B5DE-A1B0-C2DC351CBBB1}"/>
          </ac:spMkLst>
        </pc:spChg>
        <pc:spChg chg="mod">
          <ac:chgData name="Kebba Jeng" userId="fe4cc296-ba7d-48a2-8799-89b58d218255" providerId="ADAL" clId="{253D94E7-442D-460C-9F4C-18558C0A0590}" dt="2022-05-21T19:54:46.498" v="22"/>
          <ac:spMkLst>
            <pc:docMk/>
            <pc:sldMk cId="1056661577" sldId="2134803553"/>
            <ac:spMk id="779" creationId="{250D223E-4CAB-C910-34C0-C2D77A3D1577}"/>
          </ac:spMkLst>
        </pc:spChg>
        <pc:spChg chg="mod">
          <ac:chgData name="Kebba Jeng" userId="fe4cc296-ba7d-48a2-8799-89b58d218255" providerId="ADAL" clId="{253D94E7-442D-460C-9F4C-18558C0A0590}" dt="2022-05-21T19:54:46.498" v="22"/>
          <ac:spMkLst>
            <pc:docMk/>
            <pc:sldMk cId="1056661577" sldId="2134803553"/>
            <ac:spMk id="780" creationId="{D17B2C56-02DB-9926-A9B3-D6A7CB127DA2}"/>
          </ac:spMkLst>
        </pc:spChg>
        <pc:spChg chg="mod">
          <ac:chgData name="Kebba Jeng" userId="fe4cc296-ba7d-48a2-8799-89b58d218255" providerId="ADAL" clId="{253D94E7-442D-460C-9F4C-18558C0A0590}" dt="2022-05-21T19:54:46.498" v="22"/>
          <ac:spMkLst>
            <pc:docMk/>
            <pc:sldMk cId="1056661577" sldId="2134803553"/>
            <ac:spMk id="781" creationId="{08A5AA3F-A792-3B1C-B640-F0FBE3066BD3}"/>
          </ac:spMkLst>
        </pc:spChg>
        <pc:spChg chg="mod">
          <ac:chgData name="Kebba Jeng" userId="fe4cc296-ba7d-48a2-8799-89b58d218255" providerId="ADAL" clId="{253D94E7-442D-460C-9F4C-18558C0A0590}" dt="2022-05-21T19:54:46.498" v="22"/>
          <ac:spMkLst>
            <pc:docMk/>
            <pc:sldMk cId="1056661577" sldId="2134803553"/>
            <ac:spMk id="782" creationId="{799FE35E-A0A5-4241-A1BD-136C48661784}"/>
          </ac:spMkLst>
        </pc:spChg>
        <pc:spChg chg="mod">
          <ac:chgData name="Kebba Jeng" userId="fe4cc296-ba7d-48a2-8799-89b58d218255" providerId="ADAL" clId="{253D94E7-442D-460C-9F4C-18558C0A0590}" dt="2022-05-21T19:54:46.498" v="22"/>
          <ac:spMkLst>
            <pc:docMk/>
            <pc:sldMk cId="1056661577" sldId="2134803553"/>
            <ac:spMk id="783" creationId="{069F4B58-698F-0E5E-8FC1-6A5D334CF4A8}"/>
          </ac:spMkLst>
        </pc:spChg>
        <pc:spChg chg="mod">
          <ac:chgData name="Kebba Jeng" userId="fe4cc296-ba7d-48a2-8799-89b58d218255" providerId="ADAL" clId="{253D94E7-442D-460C-9F4C-18558C0A0590}" dt="2022-05-21T19:54:46.498" v="22"/>
          <ac:spMkLst>
            <pc:docMk/>
            <pc:sldMk cId="1056661577" sldId="2134803553"/>
            <ac:spMk id="784" creationId="{00298351-167E-EE2A-301F-8D43F6E5B1C3}"/>
          </ac:spMkLst>
        </pc:spChg>
        <pc:spChg chg="mod">
          <ac:chgData name="Kebba Jeng" userId="fe4cc296-ba7d-48a2-8799-89b58d218255" providerId="ADAL" clId="{253D94E7-442D-460C-9F4C-18558C0A0590}" dt="2022-05-21T19:54:46.498" v="22"/>
          <ac:spMkLst>
            <pc:docMk/>
            <pc:sldMk cId="1056661577" sldId="2134803553"/>
            <ac:spMk id="785" creationId="{769A3A4A-F2F6-A648-5987-E851238CC3AC}"/>
          </ac:spMkLst>
        </pc:spChg>
        <pc:spChg chg="mod">
          <ac:chgData name="Kebba Jeng" userId="fe4cc296-ba7d-48a2-8799-89b58d218255" providerId="ADAL" clId="{253D94E7-442D-460C-9F4C-18558C0A0590}" dt="2022-05-21T19:54:46.498" v="22"/>
          <ac:spMkLst>
            <pc:docMk/>
            <pc:sldMk cId="1056661577" sldId="2134803553"/>
            <ac:spMk id="786" creationId="{FEAD6014-E0AE-C164-2C21-35F65CD6A3B8}"/>
          </ac:spMkLst>
        </pc:spChg>
        <pc:spChg chg="mod">
          <ac:chgData name="Kebba Jeng" userId="fe4cc296-ba7d-48a2-8799-89b58d218255" providerId="ADAL" clId="{253D94E7-442D-460C-9F4C-18558C0A0590}" dt="2022-05-21T19:54:46.498" v="22"/>
          <ac:spMkLst>
            <pc:docMk/>
            <pc:sldMk cId="1056661577" sldId="2134803553"/>
            <ac:spMk id="787" creationId="{346BA6E9-EED7-A4E7-B906-2AFAD9FE84AF}"/>
          </ac:spMkLst>
        </pc:spChg>
        <pc:spChg chg="mod">
          <ac:chgData name="Kebba Jeng" userId="fe4cc296-ba7d-48a2-8799-89b58d218255" providerId="ADAL" clId="{253D94E7-442D-460C-9F4C-18558C0A0590}" dt="2022-05-21T19:54:46.498" v="22"/>
          <ac:spMkLst>
            <pc:docMk/>
            <pc:sldMk cId="1056661577" sldId="2134803553"/>
            <ac:spMk id="788" creationId="{B39A4D00-5AA2-E8F6-49C8-CFB12E2B79DE}"/>
          </ac:spMkLst>
        </pc:spChg>
        <pc:spChg chg="mod">
          <ac:chgData name="Kebba Jeng" userId="fe4cc296-ba7d-48a2-8799-89b58d218255" providerId="ADAL" clId="{253D94E7-442D-460C-9F4C-18558C0A0590}" dt="2022-05-21T19:54:46.498" v="22"/>
          <ac:spMkLst>
            <pc:docMk/>
            <pc:sldMk cId="1056661577" sldId="2134803553"/>
            <ac:spMk id="789" creationId="{C769A07A-AA69-F121-86CB-1CC055596B5A}"/>
          </ac:spMkLst>
        </pc:spChg>
        <pc:spChg chg="mod">
          <ac:chgData name="Kebba Jeng" userId="fe4cc296-ba7d-48a2-8799-89b58d218255" providerId="ADAL" clId="{253D94E7-442D-460C-9F4C-18558C0A0590}" dt="2022-05-21T19:54:46.498" v="22"/>
          <ac:spMkLst>
            <pc:docMk/>
            <pc:sldMk cId="1056661577" sldId="2134803553"/>
            <ac:spMk id="790" creationId="{AE197338-42CB-F48E-742C-5C03F7801C68}"/>
          </ac:spMkLst>
        </pc:spChg>
        <pc:spChg chg="mod">
          <ac:chgData name="Kebba Jeng" userId="fe4cc296-ba7d-48a2-8799-89b58d218255" providerId="ADAL" clId="{253D94E7-442D-460C-9F4C-18558C0A0590}" dt="2022-05-21T19:54:46.498" v="22"/>
          <ac:spMkLst>
            <pc:docMk/>
            <pc:sldMk cId="1056661577" sldId="2134803553"/>
            <ac:spMk id="791" creationId="{FE9121FF-C0AC-2D39-F35F-FB55FEF9432C}"/>
          </ac:spMkLst>
        </pc:spChg>
        <pc:spChg chg="mod">
          <ac:chgData name="Kebba Jeng" userId="fe4cc296-ba7d-48a2-8799-89b58d218255" providerId="ADAL" clId="{253D94E7-442D-460C-9F4C-18558C0A0590}" dt="2022-05-21T19:54:46.498" v="22"/>
          <ac:spMkLst>
            <pc:docMk/>
            <pc:sldMk cId="1056661577" sldId="2134803553"/>
            <ac:spMk id="792" creationId="{E2EEBD83-3593-2AC9-C252-B27A2CE16DB4}"/>
          </ac:spMkLst>
        </pc:spChg>
        <pc:spChg chg="mod">
          <ac:chgData name="Kebba Jeng" userId="fe4cc296-ba7d-48a2-8799-89b58d218255" providerId="ADAL" clId="{253D94E7-442D-460C-9F4C-18558C0A0590}" dt="2022-05-21T19:54:46.498" v="22"/>
          <ac:spMkLst>
            <pc:docMk/>
            <pc:sldMk cId="1056661577" sldId="2134803553"/>
            <ac:spMk id="793" creationId="{0C0A7090-5FB2-E9CD-0EDE-230A9D3F08DA}"/>
          </ac:spMkLst>
        </pc:spChg>
        <pc:spChg chg="mod">
          <ac:chgData name="Kebba Jeng" userId="fe4cc296-ba7d-48a2-8799-89b58d218255" providerId="ADAL" clId="{253D94E7-442D-460C-9F4C-18558C0A0590}" dt="2022-05-21T19:54:46.498" v="22"/>
          <ac:spMkLst>
            <pc:docMk/>
            <pc:sldMk cId="1056661577" sldId="2134803553"/>
            <ac:spMk id="794" creationId="{FE55A501-721A-5F08-5DB5-A167F7D7DE56}"/>
          </ac:spMkLst>
        </pc:spChg>
        <pc:spChg chg="mod">
          <ac:chgData name="Kebba Jeng" userId="fe4cc296-ba7d-48a2-8799-89b58d218255" providerId="ADAL" clId="{253D94E7-442D-460C-9F4C-18558C0A0590}" dt="2022-05-21T19:54:46.498" v="22"/>
          <ac:spMkLst>
            <pc:docMk/>
            <pc:sldMk cId="1056661577" sldId="2134803553"/>
            <ac:spMk id="795" creationId="{184DD499-24BA-5217-70AB-41DC296D7BB9}"/>
          </ac:spMkLst>
        </pc:spChg>
        <pc:spChg chg="mod">
          <ac:chgData name="Kebba Jeng" userId="fe4cc296-ba7d-48a2-8799-89b58d218255" providerId="ADAL" clId="{253D94E7-442D-460C-9F4C-18558C0A0590}" dt="2022-05-21T19:54:46.498" v="22"/>
          <ac:spMkLst>
            <pc:docMk/>
            <pc:sldMk cId="1056661577" sldId="2134803553"/>
            <ac:spMk id="796" creationId="{49025981-3326-6A78-9812-140CB6269DEF}"/>
          </ac:spMkLst>
        </pc:spChg>
        <pc:spChg chg="mod">
          <ac:chgData name="Kebba Jeng" userId="fe4cc296-ba7d-48a2-8799-89b58d218255" providerId="ADAL" clId="{253D94E7-442D-460C-9F4C-18558C0A0590}" dt="2022-05-21T19:54:46.498" v="22"/>
          <ac:spMkLst>
            <pc:docMk/>
            <pc:sldMk cId="1056661577" sldId="2134803553"/>
            <ac:spMk id="797" creationId="{9849E435-1074-1DFD-149C-C0ED72A4BD3B}"/>
          </ac:spMkLst>
        </pc:spChg>
        <pc:spChg chg="mod">
          <ac:chgData name="Kebba Jeng" userId="fe4cc296-ba7d-48a2-8799-89b58d218255" providerId="ADAL" clId="{253D94E7-442D-460C-9F4C-18558C0A0590}" dt="2022-05-21T19:54:46.498" v="22"/>
          <ac:spMkLst>
            <pc:docMk/>
            <pc:sldMk cId="1056661577" sldId="2134803553"/>
            <ac:spMk id="798" creationId="{549A8073-D739-B5F3-91F3-BA63C90D8048}"/>
          </ac:spMkLst>
        </pc:spChg>
        <pc:spChg chg="mod">
          <ac:chgData name="Kebba Jeng" userId="fe4cc296-ba7d-48a2-8799-89b58d218255" providerId="ADAL" clId="{253D94E7-442D-460C-9F4C-18558C0A0590}" dt="2022-05-21T19:54:46.498" v="22"/>
          <ac:spMkLst>
            <pc:docMk/>
            <pc:sldMk cId="1056661577" sldId="2134803553"/>
            <ac:spMk id="799" creationId="{09D0633D-5B29-AD4C-F9AD-548F794AD2B2}"/>
          </ac:spMkLst>
        </pc:spChg>
        <pc:spChg chg="mod">
          <ac:chgData name="Kebba Jeng" userId="fe4cc296-ba7d-48a2-8799-89b58d218255" providerId="ADAL" clId="{253D94E7-442D-460C-9F4C-18558C0A0590}" dt="2022-05-21T19:54:46.498" v="22"/>
          <ac:spMkLst>
            <pc:docMk/>
            <pc:sldMk cId="1056661577" sldId="2134803553"/>
            <ac:spMk id="800" creationId="{8F5C6279-5B0F-CC74-AF74-95E200128D66}"/>
          </ac:spMkLst>
        </pc:spChg>
        <pc:spChg chg="mod">
          <ac:chgData name="Kebba Jeng" userId="fe4cc296-ba7d-48a2-8799-89b58d218255" providerId="ADAL" clId="{253D94E7-442D-460C-9F4C-18558C0A0590}" dt="2022-05-21T19:54:46.498" v="22"/>
          <ac:spMkLst>
            <pc:docMk/>
            <pc:sldMk cId="1056661577" sldId="2134803553"/>
            <ac:spMk id="801" creationId="{0AEAF827-4A37-1514-0D8A-AD31D246ACD4}"/>
          </ac:spMkLst>
        </pc:spChg>
        <pc:spChg chg="mod">
          <ac:chgData name="Kebba Jeng" userId="fe4cc296-ba7d-48a2-8799-89b58d218255" providerId="ADAL" clId="{253D94E7-442D-460C-9F4C-18558C0A0590}" dt="2022-05-21T19:54:46.498" v="22"/>
          <ac:spMkLst>
            <pc:docMk/>
            <pc:sldMk cId="1056661577" sldId="2134803553"/>
            <ac:spMk id="802" creationId="{EA22E506-A663-4BFE-371D-0B5CEE314990}"/>
          </ac:spMkLst>
        </pc:spChg>
        <pc:spChg chg="mod">
          <ac:chgData name="Kebba Jeng" userId="fe4cc296-ba7d-48a2-8799-89b58d218255" providerId="ADAL" clId="{253D94E7-442D-460C-9F4C-18558C0A0590}" dt="2022-05-21T19:54:46.498" v="22"/>
          <ac:spMkLst>
            <pc:docMk/>
            <pc:sldMk cId="1056661577" sldId="2134803553"/>
            <ac:spMk id="803" creationId="{9FAED449-16CB-EB82-22AD-5F0BC4BCFF0E}"/>
          </ac:spMkLst>
        </pc:spChg>
        <pc:spChg chg="mod">
          <ac:chgData name="Kebba Jeng" userId="fe4cc296-ba7d-48a2-8799-89b58d218255" providerId="ADAL" clId="{253D94E7-442D-460C-9F4C-18558C0A0590}" dt="2022-05-21T19:54:46.498" v="22"/>
          <ac:spMkLst>
            <pc:docMk/>
            <pc:sldMk cId="1056661577" sldId="2134803553"/>
            <ac:spMk id="804" creationId="{7B33F358-7B47-F1D4-DCB0-1DAF7B79D578}"/>
          </ac:spMkLst>
        </pc:spChg>
        <pc:spChg chg="mod">
          <ac:chgData name="Kebba Jeng" userId="fe4cc296-ba7d-48a2-8799-89b58d218255" providerId="ADAL" clId="{253D94E7-442D-460C-9F4C-18558C0A0590}" dt="2022-05-21T19:54:46.498" v="22"/>
          <ac:spMkLst>
            <pc:docMk/>
            <pc:sldMk cId="1056661577" sldId="2134803553"/>
            <ac:spMk id="805" creationId="{BBCC1805-B5FF-992B-CA16-62CEC47E948F}"/>
          </ac:spMkLst>
        </pc:spChg>
        <pc:spChg chg="add del mod">
          <ac:chgData name="Kebba Jeng" userId="fe4cc296-ba7d-48a2-8799-89b58d218255" providerId="ADAL" clId="{253D94E7-442D-460C-9F4C-18558C0A0590}" dt="2022-05-21T19:54:51.253" v="25"/>
          <ac:spMkLst>
            <pc:docMk/>
            <pc:sldMk cId="1056661577" sldId="2134803553"/>
            <ac:spMk id="806" creationId="{17F74D12-1398-715B-31FA-518D14820A13}"/>
          </ac:spMkLst>
        </pc:spChg>
        <pc:spChg chg="add del mod">
          <ac:chgData name="Kebba Jeng" userId="fe4cc296-ba7d-48a2-8799-89b58d218255" providerId="ADAL" clId="{253D94E7-442D-460C-9F4C-18558C0A0590}" dt="2022-05-21T19:54:51.253" v="25"/>
          <ac:spMkLst>
            <pc:docMk/>
            <pc:sldMk cId="1056661577" sldId="2134803553"/>
            <ac:spMk id="810" creationId="{593FFB03-8793-18A9-46E3-66A4672392C7}"/>
          </ac:spMkLst>
        </pc:spChg>
        <pc:grpChg chg="add del mod">
          <ac:chgData name="Kebba Jeng" userId="fe4cc296-ba7d-48a2-8799-89b58d218255" providerId="ADAL" clId="{253D94E7-442D-460C-9F4C-18558C0A0590}" dt="2022-05-21T19:18:40.746" v="14"/>
          <ac:grpSpMkLst>
            <pc:docMk/>
            <pc:sldMk cId="1056661577" sldId="2134803553"/>
            <ac:grpSpMk id="208" creationId="{C21971B4-2203-83F7-C65E-85265C47D067}"/>
          </ac:grpSpMkLst>
        </pc:grpChg>
        <pc:grpChg chg="add del mod">
          <ac:chgData name="Kebba Jeng" userId="fe4cc296-ba7d-48a2-8799-89b58d218255" providerId="ADAL" clId="{253D94E7-442D-460C-9F4C-18558C0A0590}" dt="2022-05-21T19:18:40.746" v="14"/>
          <ac:grpSpMkLst>
            <pc:docMk/>
            <pc:sldMk cId="1056661577" sldId="2134803553"/>
            <ac:grpSpMk id="602" creationId="{90A97602-BBCE-C6AE-A00C-DF66139EA588}"/>
          </ac:grpSpMkLst>
        </pc:grpChg>
        <pc:grpChg chg="add del mod">
          <ac:chgData name="Kebba Jeng" userId="fe4cc296-ba7d-48a2-8799-89b58d218255" providerId="ADAL" clId="{253D94E7-442D-460C-9F4C-18558C0A0590}" dt="2022-05-21T19:54:51.253" v="25"/>
          <ac:grpSpMkLst>
            <pc:docMk/>
            <pc:sldMk cId="1056661577" sldId="2134803553"/>
            <ac:grpSpMk id="609" creationId="{807AE1DF-423C-37C8-0467-B3A2A8A8571C}"/>
          </ac:grpSpMkLst>
        </pc:grpChg>
        <pc:grpChg chg="add del mod">
          <ac:chgData name="Kebba Jeng" userId="fe4cc296-ba7d-48a2-8799-89b58d218255" providerId="ADAL" clId="{253D94E7-442D-460C-9F4C-18558C0A0590}" dt="2022-05-21T19:54:51.253" v="25"/>
          <ac:grpSpMkLst>
            <pc:docMk/>
            <pc:sldMk cId="1056661577" sldId="2134803553"/>
            <ac:grpSpMk id="807" creationId="{F3000404-CFE5-4232-3AEA-BB8251DED683}"/>
          </ac:grpSpMkLst>
        </pc:grpChg>
        <pc:picChg chg="add del mod">
          <ac:chgData name="Kebba Jeng" userId="fe4cc296-ba7d-48a2-8799-89b58d218255" providerId="ADAL" clId="{253D94E7-442D-460C-9F4C-18558C0A0590}" dt="2022-05-21T19:18:43.149" v="17" actId="21"/>
          <ac:picMkLst>
            <pc:docMk/>
            <pc:sldMk cId="1056661577" sldId="2134803553"/>
            <ac:picMk id="2" creationId="{6F986049-DE72-7F9E-E8A7-DE92B5C9675F}"/>
          </ac:picMkLst>
        </pc:picChg>
        <pc:picChg chg="add del">
          <ac:chgData name="Kebba Jeng" userId="fe4cc296-ba7d-48a2-8799-89b58d218255" providerId="ADAL" clId="{253D94E7-442D-460C-9F4C-18558C0A0590}" dt="2022-05-21T19:54:53.037" v="27" actId="21"/>
          <ac:picMkLst>
            <pc:docMk/>
            <pc:sldMk cId="1056661577" sldId="2134803553"/>
            <ac:picMk id="3" creationId="{AD1C20F6-D4D1-890F-9B23-D1FFDF1E7699}"/>
          </ac:picMkLst>
        </pc:picChg>
        <pc:cxnChg chg="mod">
          <ac:chgData name="Kebba Jeng" userId="fe4cc296-ba7d-48a2-8799-89b58d218255" providerId="ADAL" clId="{253D94E7-442D-460C-9F4C-18558C0A0590}" dt="2022-05-21T19:18:37.623" v="11"/>
          <ac:cxnSpMkLst>
            <pc:docMk/>
            <pc:sldMk cId="1056661577" sldId="2134803553"/>
            <ac:cxnSpMk id="603" creationId="{3750759E-9A1B-D06F-0A3A-F4AAF3DA51DB}"/>
          </ac:cxnSpMkLst>
        </pc:cxnChg>
        <pc:cxnChg chg="mod">
          <ac:chgData name="Kebba Jeng" userId="fe4cc296-ba7d-48a2-8799-89b58d218255" providerId="ADAL" clId="{253D94E7-442D-460C-9F4C-18558C0A0590}" dt="2022-05-21T19:18:37.623" v="11"/>
          <ac:cxnSpMkLst>
            <pc:docMk/>
            <pc:sldMk cId="1056661577" sldId="2134803553"/>
            <ac:cxnSpMk id="604" creationId="{F98EDA22-D1EC-455A-2B6A-C4ACF78749B5}"/>
          </ac:cxnSpMkLst>
        </pc:cxnChg>
        <pc:cxnChg chg="add del mod">
          <ac:chgData name="Kebba Jeng" userId="fe4cc296-ba7d-48a2-8799-89b58d218255" providerId="ADAL" clId="{253D94E7-442D-460C-9F4C-18558C0A0590}" dt="2022-05-21T19:18:40.746" v="14"/>
          <ac:cxnSpMkLst>
            <pc:docMk/>
            <pc:sldMk cId="1056661577" sldId="2134803553"/>
            <ac:cxnSpMk id="607" creationId="{5B32C017-0B54-79F5-6195-A264082ADF24}"/>
          </ac:cxnSpMkLst>
        </pc:cxnChg>
        <pc:cxnChg chg="add del mod">
          <ac:chgData name="Kebba Jeng" userId="fe4cc296-ba7d-48a2-8799-89b58d218255" providerId="ADAL" clId="{253D94E7-442D-460C-9F4C-18558C0A0590}" dt="2022-05-21T19:18:40.746" v="14"/>
          <ac:cxnSpMkLst>
            <pc:docMk/>
            <pc:sldMk cId="1056661577" sldId="2134803553"/>
            <ac:cxnSpMk id="608" creationId="{44A3D45E-506C-D798-BC72-5E1442E361F6}"/>
          </ac:cxnSpMkLst>
        </pc:cxnChg>
        <pc:cxnChg chg="mod">
          <ac:chgData name="Kebba Jeng" userId="fe4cc296-ba7d-48a2-8799-89b58d218255" providerId="ADAL" clId="{253D94E7-442D-460C-9F4C-18558C0A0590}" dt="2022-05-21T19:54:46.498" v="22"/>
          <ac:cxnSpMkLst>
            <pc:docMk/>
            <pc:sldMk cId="1056661577" sldId="2134803553"/>
            <ac:cxnSpMk id="808" creationId="{665A664C-176B-DA2A-DBD5-45D9652DB0C9}"/>
          </ac:cxnSpMkLst>
        </pc:cxnChg>
        <pc:cxnChg chg="mod">
          <ac:chgData name="Kebba Jeng" userId="fe4cc296-ba7d-48a2-8799-89b58d218255" providerId="ADAL" clId="{253D94E7-442D-460C-9F4C-18558C0A0590}" dt="2022-05-21T19:54:46.498" v="22"/>
          <ac:cxnSpMkLst>
            <pc:docMk/>
            <pc:sldMk cId="1056661577" sldId="2134803553"/>
            <ac:cxnSpMk id="809" creationId="{CE0EDEC4-9A21-75EA-C947-EF2DB014F091}"/>
          </ac:cxnSpMkLst>
        </pc:cxnChg>
        <pc:cxnChg chg="add del mod">
          <ac:chgData name="Kebba Jeng" userId="fe4cc296-ba7d-48a2-8799-89b58d218255" providerId="ADAL" clId="{253D94E7-442D-460C-9F4C-18558C0A0590}" dt="2022-05-21T19:54:51.253" v="25"/>
          <ac:cxnSpMkLst>
            <pc:docMk/>
            <pc:sldMk cId="1056661577" sldId="2134803553"/>
            <ac:cxnSpMk id="811" creationId="{5DDCAE95-C494-514E-0634-AD104310BAD7}"/>
          </ac:cxnSpMkLst>
        </pc:cxnChg>
        <pc:cxnChg chg="add del mod">
          <ac:chgData name="Kebba Jeng" userId="fe4cc296-ba7d-48a2-8799-89b58d218255" providerId="ADAL" clId="{253D94E7-442D-460C-9F4C-18558C0A0590}" dt="2022-05-21T19:54:51.253" v="25"/>
          <ac:cxnSpMkLst>
            <pc:docMk/>
            <pc:sldMk cId="1056661577" sldId="2134803553"/>
            <ac:cxnSpMk id="812" creationId="{6EDB9C89-A6C2-9E67-7A8F-573F65BE413C}"/>
          </ac:cxnSpMkLst>
        </pc:cxnChg>
      </pc:sldChg>
      <pc:sldChg chg="addSp delSp modSp mod">
        <pc:chgData name="Kebba Jeng" userId="fe4cc296-ba7d-48a2-8799-89b58d218255" providerId="ADAL" clId="{253D94E7-442D-460C-9F4C-18558C0A0590}" dt="2022-05-22T16:45:24.133" v="891"/>
        <pc:sldMkLst>
          <pc:docMk/>
          <pc:sldMk cId="2472330765" sldId="2134803561"/>
        </pc:sldMkLst>
        <pc:picChg chg="add del">
          <ac:chgData name="Kebba Jeng" userId="fe4cc296-ba7d-48a2-8799-89b58d218255" providerId="ADAL" clId="{253D94E7-442D-460C-9F4C-18558C0A0590}" dt="2022-05-22T16:45:23.754" v="890" actId="478"/>
          <ac:picMkLst>
            <pc:docMk/>
            <pc:sldMk cId="2472330765" sldId="2134803561"/>
            <ac:picMk id="4" creationId="{280B0523-0799-48E5-8A81-6CBB226DBC93}"/>
          </ac:picMkLst>
        </pc:picChg>
        <pc:picChg chg="add del mod">
          <ac:chgData name="Kebba Jeng" userId="fe4cc296-ba7d-48a2-8799-89b58d218255" providerId="ADAL" clId="{253D94E7-442D-460C-9F4C-18558C0A0590}" dt="2022-05-22T16:45:24.133" v="891"/>
          <ac:picMkLst>
            <pc:docMk/>
            <pc:sldMk cId="2472330765" sldId="2134803561"/>
            <ac:picMk id="11" creationId="{971D7756-B4A4-1A49-5F13-D658DAAF15DF}"/>
          </ac:picMkLst>
        </pc:picChg>
        <pc:picChg chg="add del mod">
          <ac:chgData name="Kebba Jeng" userId="fe4cc296-ba7d-48a2-8799-89b58d218255" providerId="ADAL" clId="{253D94E7-442D-460C-9F4C-18558C0A0590}" dt="2022-05-22T16:45:24.133" v="891"/>
          <ac:picMkLst>
            <pc:docMk/>
            <pc:sldMk cId="2472330765" sldId="2134803561"/>
            <ac:picMk id="12" creationId="{CDB8BA06-CDFE-6B1F-7DBB-29C947C4A15B}"/>
          </ac:picMkLst>
        </pc:picChg>
      </pc:sldChg>
      <pc:sldChg chg="addSp delSp modSp mod">
        <pc:chgData name="Kebba Jeng" userId="fe4cc296-ba7d-48a2-8799-89b58d218255" providerId="ADAL" clId="{253D94E7-442D-460C-9F4C-18558C0A0590}" dt="2022-05-22T16:45:17.202" v="887" actId="21"/>
        <pc:sldMkLst>
          <pc:docMk/>
          <pc:sldMk cId="3759988855" sldId="2134803564"/>
        </pc:sldMkLst>
        <pc:picChg chg="add del">
          <ac:chgData name="Kebba Jeng" userId="fe4cc296-ba7d-48a2-8799-89b58d218255" providerId="ADAL" clId="{253D94E7-442D-460C-9F4C-18558C0A0590}" dt="2022-05-22T16:45:11.299" v="884" actId="21"/>
          <ac:picMkLst>
            <pc:docMk/>
            <pc:sldMk cId="3759988855" sldId="2134803564"/>
            <ac:picMk id="4" creationId="{D5692597-18CD-436B-9BF0-4EB6021F01B1}"/>
          </ac:picMkLst>
        </pc:picChg>
        <pc:picChg chg="add del mod">
          <ac:chgData name="Kebba Jeng" userId="fe4cc296-ba7d-48a2-8799-89b58d218255" providerId="ADAL" clId="{253D94E7-442D-460C-9F4C-18558C0A0590}" dt="2022-05-22T16:45:15.288" v="886" actId="478"/>
          <ac:picMkLst>
            <pc:docMk/>
            <pc:sldMk cId="3759988855" sldId="2134803564"/>
            <ac:picMk id="10" creationId="{6E995EF0-9C1C-1206-17FD-E44DE91AFEAA}"/>
          </ac:picMkLst>
        </pc:picChg>
        <pc:picChg chg="add del mod">
          <ac:chgData name="Kebba Jeng" userId="fe4cc296-ba7d-48a2-8799-89b58d218255" providerId="ADAL" clId="{253D94E7-442D-460C-9F4C-18558C0A0590}" dt="2022-05-22T16:45:17.202" v="887" actId="21"/>
          <ac:picMkLst>
            <pc:docMk/>
            <pc:sldMk cId="3759988855" sldId="2134803564"/>
            <ac:picMk id="11" creationId="{FB1B0210-CE90-46CA-D2A5-93D14913CF01}"/>
          </ac:picMkLst>
        </pc:picChg>
        <pc:picChg chg="add del mod">
          <ac:chgData name="Kebba Jeng" userId="fe4cc296-ba7d-48a2-8799-89b58d218255" providerId="ADAL" clId="{253D94E7-442D-460C-9F4C-18558C0A0590}" dt="2022-05-22T16:45:17.202" v="887" actId="21"/>
          <ac:picMkLst>
            <pc:docMk/>
            <pc:sldMk cId="3759988855" sldId="2134803564"/>
            <ac:picMk id="12" creationId="{7122B518-CC32-3F71-C876-9552EE9AA70B}"/>
          </ac:picMkLst>
        </pc:picChg>
      </pc:sldChg>
      <pc:sldChg chg="addSp delSp modSp mod">
        <pc:chgData name="Kebba Jeng" userId="fe4cc296-ba7d-48a2-8799-89b58d218255" providerId="ADAL" clId="{253D94E7-442D-460C-9F4C-18558C0A0590}" dt="2022-05-22T14:23:02.023" v="117" actId="1076"/>
        <pc:sldMkLst>
          <pc:docMk/>
          <pc:sldMk cId="2773746863" sldId="2134803565"/>
        </pc:sldMkLst>
        <pc:spChg chg="mod">
          <ac:chgData name="Kebba Jeng" userId="fe4cc296-ba7d-48a2-8799-89b58d218255" providerId="ADAL" clId="{253D94E7-442D-460C-9F4C-18558C0A0590}" dt="2022-05-21T20:17:15.388" v="37" actId="1076"/>
          <ac:spMkLst>
            <pc:docMk/>
            <pc:sldMk cId="2773746863" sldId="2134803565"/>
            <ac:spMk id="7" creationId="{65FE3F15-C175-488B-81CF-32A8A3E45FCE}"/>
          </ac:spMkLst>
        </pc:spChg>
        <pc:spChg chg="add del mod">
          <ac:chgData name="Kebba Jeng" userId="fe4cc296-ba7d-48a2-8799-89b58d218255" providerId="ADAL" clId="{253D94E7-442D-460C-9F4C-18558C0A0590}" dt="2022-05-22T14:21:58.216" v="98" actId="21"/>
          <ac:spMkLst>
            <pc:docMk/>
            <pc:sldMk cId="2773746863" sldId="2134803565"/>
            <ac:spMk id="17" creationId="{630372D8-EDD1-2388-5EAD-9CD35EC3F41B}"/>
          </ac:spMkLst>
        </pc:spChg>
        <pc:spChg chg="add del mod">
          <ac:chgData name="Kebba Jeng" userId="fe4cc296-ba7d-48a2-8799-89b58d218255" providerId="ADAL" clId="{253D94E7-442D-460C-9F4C-18558C0A0590}" dt="2022-05-22T14:21:58.216" v="98" actId="21"/>
          <ac:spMkLst>
            <pc:docMk/>
            <pc:sldMk cId="2773746863" sldId="2134803565"/>
            <ac:spMk id="18" creationId="{90D1ED60-63C3-70C6-3477-34A0A3FF2459}"/>
          </ac:spMkLst>
        </pc:spChg>
        <pc:spChg chg="add del mod">
          <ac:chgData name="Kebba Jeng" userId="fe4cc296-ba7d-48a2-8799-89b58d218255" providerId="ADAL" clId="{253D94E7-442D-460C-9F4C-18558C0A0590}" dt="2022-05-22T14:21:58.216" v="98" actId="21"/>
          <ac:spMkLst>
            <pc:docMk/>
            <pc:sldMk cId="2773746863" sldId="2134803565"/>
            <ac:spMk id="19" creationId="{072B3F1D-F084-189D-6D9E-D40F8A2C8F5A}"/>
          </ac:spMkLst>
        </pc:spChg>
        <pc:spChg chg="add del mod">
          <ac:chgData name="Kebba Jeng" userId="fe4cc296-ba7d-48a2-8799-89b58d218255" providerId="ADAL" clId="{253D94E7-442D-460C-9F4C-18558C0A0590}" dt="2022-05-22T14:21:58.216" v="98" actId="21"/>
          <ac:spMkLst>
            <pc:docMk/>
            <pc:sldMk cId="2773746863" sldId="2134803565"/>
            <ac:spMk id="20" creationId="{D250D698-AAB9-C54B-0804-2C81945809F9}"/>
          </ac:spMkLst>
        </pc:spChg>
        <pc:spChg chg="add mod">
          <ac:chgData name="Kebba Jeng" userId="fe4cc296-ba7d-48a2-8799-89b58d218255" providerId="ADAL" clId="{253D94E7-442D-460C-9F4C-18558C0A0590}" dt="2022-05-22T14:21:17.788" v="89" actId="571"/>
          <ac:spMkLst>
            <pc:docMk/>
            <pc:sldMk cId="2773746863" sldId="2134803565"/>
            <ac:spMk id="22" creationId="{9A155DE7-5C15-1D64-5C1B-B369958AE20C}"/>
          </ac:spMkLst>
        </pc:spChg>
        <pc:spChg chg="add del mod">
          <ac:chgData name="Kebba Jeng" userId="fe4cc296-ba7d-48a2-8799-89b58d218255" providerId="ADAL" clId="{253D94E7-442D-460C-9F4C-18558C0A0590}" dt="2022-05-22T14:21:58.216" v="98" actId="21"/>
          <ac:spMkLst>
            <pc:docMk/>
            <pc:sldMk cId="2773746863" sldId="2134803565"/>
            <ac:spMk id="23" creationId="{613C1678-160F-12F9-EE85-45F2B45885D9}"/>
          </ac:spMkLst>
        </pc:spChg>
        <pc:spChg chg="add del mod">
          <ac:chgData name="Kebba Jeng" userId="fe4cc296-ba7d-48a2-8799-89b58d218255" providerId="ADAL" clId="{253D94E7-442D-460C-9F4C-18558C0A0590}" dt="2022-05-22T14:22:40.597" v="109" actId="368"/>
          <ac:spMkLst>
            <pc:docMk/>
            <pc:sldMk cId="2773746863" sldId="2134803565"/>
            <ac:spMk id="24" creationId="{8D994BA3-8480-BAA5-62EE-9BBA00F6929B}"/>
          </ac:spMkLst>
        </pc:spChg>
        <pc:spChg chg="add mod">
          <ac:chgData name="Kebba Jeng" userId="fe4cc296-ba7d-48a2-8799-89b58d218255" providerId="ADAL" clId="{253D94E7-442D-460C-9F4C-18558C0A0590}" dt="2022-05-22T14:22:36.417" v="105" actId="571"/>
          <ac:spMkLst>
            <pc:docMk/>
            <pc:sldMk cId="2773746863" sldId="2134803565"/>
            <ac:spMk id="25" creationId="{73294959-E1F1-541D-AE77-9ABD1420BBD2}"/>
          </ac:spMkLst>
        </pc:spChg>
        <pc:spChg chg="add del mod">
          <ac:chgData name="Kebba Jeng" userId="fe4cc296-ba7d-48a2-8799-89b58d218255" providerId="ADAL" clId="{253D94E7-442D-460C-9F4C-18558C0A0590}" dt="2022-05-22T14:22:02.075" v="100"/>
          <ac:spMkLst>
            <pc:docMk/>
            <pc:sldMk cId="2773746863" sldId="2134803565"/>
            <ac:spMk id="27" creationId="{652DA250-DEE9-3D8A-8F3D-DBB1F57F2CE8}"/>
          </ac:spMkLst>
        </pc:spChg>
        <pc:spChg chg="add del mod">
          <ac:chgData name="Kebba Jeng" userId="fe4cc296-ba7d-48a2-8799-89b58d218255" providerId="ADAL" clId="{253D94E7-442D-460C-9F4C-18558C0A0590}" dt="2022-05-22T14:22:02.075" v="100"/>
          <ac:spMkLst>
            <pc:docMk/>
            <pc:sldMk cId="2773746863" sldId="2134803565"/>
            <ac:spMk id="28" creationId="{5E8F435A-3676-0516-1127-43676282B894}"/>
          </ac:spMkLst>
        </pc:spChg>
        <pc:spChg chg="add del mod">
          <ac:chgData name="Kebba Jeng" userId="fe4cc296-ba7d-48a2-8799-89b58d218255" providerId="ADAL" clId="{253D94E7-442D-460C-9F4C-18558C0A0590}" dt="2022-05-22T14:22:02.075" v="100"/>
          <ac:spMkLst>
            <pc:docMk/>
            <pc:sldMk cId="2773746863" sldId="2134803565"/>
            <ac:spMk id="29" creationId="{EFF634C7-4BEA-1438-721F-732C6F41306E}"/>
          </ac:spMkLst>
        </pc:spChg>
        <pc:spChg chg="add del mod">
          <ac:chgData name="Kebba Jeng" userId="fe4cc296-ba7d-48a2-8799-89b58d218255" providerId="ADAL" clId="{253D94E7-442D-460C-9F4C-18558C0A0590}" dt="2022-05-22T14:22:02.075" v="100"/>
          <ac:spMkLst>
            <pc:docMk/>
            <pc:sldMk cId="2773746863" sldId="2134803565"/>
            <ac:spMk id="30" creationId="{B0474CE7-294A-097B-4C95-7FEF4E402CE0}"/>
          </ac:spMkLst>
        </pc:spChg>
        <pc:spChg chg="add del mod">
          <ac:chgData name="Kebba Jeng" userId="fe4cc296-ba7d-48a2-8799-89b58d218255" providerId="ADAL" clId="{253D94E7-442D-460C-9F4C-18558C0A0590}" dt="2022-05-22T14:22:02.075" v="100"/>
          <ac:spMkLst>
            <pc:docMk/>
            <pc:sldMk cId="2773746863" sldId="2134803565"/>
            <ac:spMk id="31" creationId="{EBF6F510-E09B-27D5-6F95-18F7AF343DF0}"/>
          </ac:spMkLst>
        </pc:spChg>
        <pc:spChg chg="add del mod">
          <ac:chgData name="Kebba Jeng" userId="fe4cc296-ba7d-48a2-8799-89b58d218255" providerId="ADAL" clId="{253D94E7-442D-460C-9F4C-18558C0A0590}" dt="2022-05-22T14:22:02.075" v="100"/>
          <ac:spMkLst>
            <pc:docMk/>
            <pc:sldMk cId="2773746863" sldId="2134803565"/>
            <ac:spMk id="32" creationId="{40B774AB-3379-5073-E9E9-EC3DAD4DB372}"/>
          </ac:spMkLst>
        </pc:spChg>
        <pc:spChg chg="add mod">
          <ac:chgData name="Kebba Jeng" userId="fe4cc296-ba7d-48a2-8799-89b58d218255" providerId="ADAL" clId="{253D94E7-442D-460C-9F4C-18558C0A0590}" dt="2022-05-22T14:22:43.799" v="110" actId="571"/>
          <ac:spMkLst>
            <pc:docMk/>
            <pc:sldMk cId="2773746863" sldId="2134803565"/>
            <ac:spMk id="33" creationId="{7B23EE26-54E2-7E26-614D-EA699444A15A}"/>
          </ac:spMkLst>
        </pc:spChg>
        <pc:spChg chg="add del mod">
          <ac:chgData name="Kebba Jeng" userId="fe4cc296-ba7d-48a2-8799-89b58d218255" providerId="ADAL" clId="{253D94E7-442D-460C-9F4C-18558C0A0590}" dt="2022-05-22T14:22:58.588" v="114"/>
          <ac:spMkLst>
            <pc:docMk/>
            <pc:sldMk cId="2773746863" sldId="2134803565"/>
            <ac:spMk id="35" creationId="{E22236BF-B01B-5EF4-9E83-F416A624444A}"/>
          </ac:spMkLst>
        </pc:spChg>
        <pc:spChg chg="add del mod">
          <ac:chgData name="Kebba Jeng" userId="fe4cc296-ba7d-48a2-8799-89b58d218255" providerId="ADAL" clId="{253D94E7-442D-460C-9F4C-18558C0A0590}" dt="2022-05-22T14:22:58.588" v="114"/>
          <ac:spMkLst>
            <pc:docMk/>
            <pc:sldMk cId="2773746863" sldId="2134803565"/>
            <ac:spMk id="36" creationId="{4E332D1C-6194-D6AD-71FD-0E6A463042E0}"/>
          </ac:spMkLst>
        </pc:spChg>
        <pc:spChg chg="add del mod">
          <ac:chgData name="Kebba Jeng" userId="fe4cc296-ba7d-48a2-8799-89b58d218255" providerId="ADAL" clId="{253D94E7-442D-460C-9F4C-18558C0A0590}" dt="2022-05-22T14:22:58.588" v="114"/>
          <ac:spMkLst>
            <pc:docMk/>
            <pc:sldMk cId="2773746863" sldId="2134803565"/>
            <ac:spMk id="37" creationId="{450F1E44-7A0B-4CFA-C357-580B63F71A49}"/>
          </ac:spMkLst>
        </pc:spChg>
        <pc:spChg chg="add del mod">
          <ac:chgData name="Kebba Jeng" userId="fe4cc296-ba7d-48a2-8799-89b58d218255" providerId="ADAL" clId="{253D94E7-442D-460C-9F4C-18558C0A0590}" dt="2022-05-22T14:22:58.588" v="114"/>
          <ac:spMkLst>
            <pc:docMk/>
            <pc:sldMk cId="2773746863" sldId="2134803565"/>
            <ac:spMk id="38" creationId="{3319D4FA-E5F5-A6A3-51B4-B404231D908B}"/>
          </ac:spMkLst>
        </pc:spChg>
        <pc:spChg chg="add del mod">
          <ac:chgData name="Kebba Jeng" userId="fe4cc296-ba7d-48a2-8799-89b58d218255" providerId="ADAL" clId="{253D94E7-442D-460C-9F4C-18558C0A0590}" dt="2022-05-22T14:22:58.588" v="114"/>
          <ac:spMkLst>
            <pc:docMk/>
            <pc:sldMk cId="2773746863" sldId="2134803565"/>
            <ac:spMk id="39" creationId="{D160CB21-837C-8096-0DFA-9DB546436989}"/>
          </ac:spMkLst>
        </pc:spChg>
        <pc:spChg chg="add del mod">
          <ac:chgData name="Kebba Jeng" userId="fe4cc296-ba7d-48a2-8799-89b58d218255" providerId="ADAL" clId="{253D94E7-442D-460C-9F4C-18558C0A0590}" dt="2022-05-22T14:22:58.588" v="114"/>
          <ac:spMkLst>
            <pc:docMk/>
            <pc:sldMk cId="2773746863" sldId="2134803565"/>
            <ac:spMk id="40" creationId="{61A3263A-975D-C484-91E3-34BB5C374858}"/>
          </ac:spMkLst>
        </pc:spChg>
        <pc:spChg chg="add del mod">
          <ac:chgData name="Kebba Jeng" userId="fe4cc296-ba7d-48a2-8799-89b58d218255" providerId="ADAL" clId="{253D94E7-442D-460C-9F4C-18558C0A0590}" dt="2022-05-22T14:22:58.588" v="114"/>
          <ac:spMkLst>
            <pc:docMk/>
            <pc:sldMk cId="2773746863" sldId="2134803565"/>
            <ac:spMk id="41" creationId="{1B00D074-A274-D4FB-6441-DD0FA19C5119}"/>
          </ac:spMkLst>
        </pc:spChg>
        <pc:picChg chg="add del mod">
          <ac:chgData name="Kebba Jeng" userId="fe4cc296-ba7d-48a2-8799-89b58d218255" providerId="ADAL" clId="{253D94E7-442D-460C-9F4C-18558C0A0590}" dt="2022-05-22T14:22:35.056" v="104"/>
          <ac:picMkLst>
            <pc:docMk/>
            <pc:sldMk cId="2773746863" sldId="2134803565"/>
            <ac:picMk id="4" creationId="{1B847483-37AA-AA2B-027F-D3D1FF0DF416}"/>
          </ac:picMkLst>
        </pc:picChg>
        <pc:picChg chg="add mod">
          <ac:chgData name="Kebba Jeng" userId="fe4cc296-ba7d-48a2-8799-89b58d218255" providerId="ADAL" clId="{253D94E7-442D-460C-9F4C-18558C0A0590}" dt="2022-05-22T14:23:02.023" v="117" actId="1076"/>
          <ac:picMkLst>
            <pc:docMk/>
            <pc:sldMk cId="2773746863" sldId="2134803565"/>
            <ac:picMk id="5" creationId="{B9FA907B-180E-10FF-8937-F7FA449F13C1}"/>
          </ac:picMkLst>
        </pc:picChg>
        <pc:picChg chg="add del mod">
          <ac:chgData name="Kebba Jeng" userId="fe4cc296-ba7d-48a2-8799-89b58d218255" providerId="ADAL" clId="{253D94E7-442D-460C-9F4C-18558C0A0590}" dt="2022-05-21T20:17:03.573" v="33" actId="1076"/>
          <ac:picMkLst>
            <pc:docMk/>
            <pc:sldMk cId="2773746863" sldId="2134803565"/>
            <ac:picMk id="6" creationId="{55D2E903-C86F-4B2B-B08B-EE1B128BE929}"/>
          </ac:picMkLst>
        </pc:picChg>
        <pc:picChg chg="add del mod">
          <ac:chgData name="Kebba Jeng" userId="fe4cc296-ba7d-48a2-8799-89b58d218255" providerId="ADAL" clId="{253D94E7-442D-460C-9F4C-18558C0A0590}" dt="2022-05-22T14:21:58.216" v="98" actId="21"/>
          <ac:picMkLst>
            <pc:docMk/>
            <pc:sldMk cId="2773746863" sldId="2134803565"/>
            <ac:picMk id="16" creationId="{149B163F-DC1F-86D0-C106-500D294D4F29}"/>
          </ac:picMkLst>
        </pc:picChg>
        <pc:picChg chg="add mod">
          <ac:chgData name="Kebba Jeng" userId="fe4cc296-ba7d-48a2-8799-89b58d218255" providerId="ADAL" clId="{253D94E7-442D-460C-9F4C-18558C0A0590}" dt="2022-05-22T14:21:17.788" v="89" actId="571"/>
          <ac:picMkLst>
            <pc:docMk/>
            <pc:sldMk cId="2773746863" sldId="2134803565"/>
            <ac:picMk id="21" creationId="{73E27882-58D9-736E-0E05-B56C39D87BD3}"/>
          </ac:picMkLst>
        </pc:picChg>
        <pc:picChg chg="add del mod">
          <ac:chgData name="Kebba Jeng" userId="fe4cc296-ba7d-48a2-8799-89b58d218255" providerId="ADAL" clId="{253D94E7-442D-460C-9F4C-18558C0A0590}" dt="2022-05-22T14:22:02.075" v="100"/>
          <ac:picMkLst>
            <pc:docMk/>
            <pc:sldMk cId="2773746863" sldId="2134803565"/>
            <ac:picMk id="26" creationId="{EF28D8E0-450E-2DAE-95AE-CDDE23E7695F}"/>
          </ac:picMkLst>
        </pc:picChg>
        <pc:picChg chg="add del mod">
          <ac:chgData name="Kebba Jeng" userId="fe4cc296-ba7d-48a2-8799-89b58d218255" providerId="ADAL" clId="{253D94E7-442D-460C-9F4C-18558C0A0590}" dt="2022-05-22T14:22:58.588" v="114"/>
          <ac:picMkLst>
            <pc:docMk/>
            <pc:sldMk cId="2773746863" sldId="2134803565"/>
            <ac:picMk id="34" creationId="{490C3C59-6675-3D18-8303-C6624CB150EC}"/>
          </ac:picMkLst>
        </pc:picChg>
      </pc:sldChg>
      <pc:sldChg chg="addSp delSp modSp mod">
        <pc:chgData name="Kebba Jeng" userId="fe4cc296-ba7d-48a2-8799-89b58d218255" providerId="ADAL" clId="{253D94E7-442D-460C-9F4C-18558C0A0590}" dt="2022-05-22T16:49:27.751" v="944" actId="21"/>
        <pc:sldMkLst>
          <pc:docMk/>
          <pc:sldMk cId="2499674548" sldId="2134803572"/>
        </pc:sldMkLst>
        <pc:spChg chg="add mod">
          <ac:chgData name="Kebba Jeng" userId="fe4cc296-ba7d-48a2-8799-89b58d218255" providerId="ADAL" clId="{253D94E7-442D-460C-9F4C-18558C0A0590}" dt="2022-05-22T16:49:10.413" v="938" actId="207"/>
          <ac:spMkLst>
            <pc:docMk/>
            <pc:sldMk cId="2499674548" sldId="2134803572"/>
            <ac:spMk id="202" creationId="{151EFAA6-EF07-0CC8-D0DD-79A5EFB3B086}"/>
          </ac:spMkLst>
        </pc:spChg>
        <pc:spChg chg="add mod">
          <ac:chgData name="Kebba Jeng" userId="fe4cc296-ba7d-48a2-8799-89b58d218255" providerId="ADAL" clId="{253D94E7-442D-460C-9F4C-18558C0A0590}" dt="2022-05-22T16:49:10.413" v="938" actId="207"/>
          <ac:spMkLst>
            <pc:docMk/>
            <pc:sldMk cId="2499674548" sldId="2134803572"/>
            <ac:spMk id="203" creationId="{D366495C-35A7-AC0A-B5D4-5CB856DD73C2}"/>
          </ac:spMkLst>
        </pc:spChg>
        <pc:spChg chg="add mod">
          <ac:chgData name="Kebba Jeng" userId="fe4cc296-ba7d-48a2-8799-89b58d218255" providerId="ADAL" clId="{253D94E7-442D-460C-9F4C-18558C0A0590}" dt="2022-05-22T16:49:10.413" v="938" actId="207"/>
          <ac:spMkLst>
            <pc:docMk/>
            <pc:sldMk cId="2499674548" sldId="2134803572"/>
            <ac:spMk id="204" creationId="{DA19A6FA-4A95-B889-6CF4-0B8D24569047}"/>
          </ac:spMkLst>
        </pc:spChg>
        <pc:spChg chg="add mod">
          <ac:chgData name="Kebba Jeng" userId="fe4cc296-ba7d-48a2-8799-89b58d218255" providerId="ADAL" clId="{253D94E7-442D-460C-9F4C-18558C0A0590}" dt="2022-05-22T16:49:10.413" v="938" actId="207"/>
          <ac:spMkLst>
            <pc:docMk/>
            <pc:sldMk cId="2499674548" sldId="2134803572"/>
            <ac:spMk id="205" creationId="{4D79D779-C682-FB76-4B00-B413606CB9C5}"/>
          </ac:spMkLst>
        </pc:spChg>
        <pc:spChg chg="add mod">
          <ac:chgData name="Kebba Jeng" userId="fe4cc296-ba7d-48a2-8799-89b58d218255" providerId="ADAL" clId="{253D94E7-442D-460C-9F4C-18558C0A0590}" dt="2022-05-22T16:49:10.413" v="938" actId="207"/>
          <ac:spMkLst>
            <pc:docMk/>
            <pc:sldMk cId="2499674548" sldId="2134803572"/>
            <ac:spMk id="206" creationId="{E8D35CFD-8C58-4B35-1C31-8868DD4BA9F1}"/>
          </ac:spMkLst>
        </pc:spChg>
        <pc:spChg chg="add mod">
          <ac:chgData name="Kebba Jeng" userId="fe4cc296-ba7d-48a2-8799-89b58d218255" providerId="ADAL" clId="{253D94E7-442D-460C-9F4C-18558C0A0590}" dt="2022-05-22T16:49:10.413" v="938" actId="207"/>
          <ac:spMkLst>
            <pc:docMk/>
            <pc:sldMk cId="2499674548" sldId="2134803572"/>
            <ac:spMk id="207" creationId="{7CBE1C40-F285-C93B-C80A-DC67C74D1426}"/>
          </ac:spMkLst>
        </pc:spChg>
        <pc:spChg chg="add mod">
          <ac:chgData name="Kebba Jeng" userId="fe4cc296-ba7d-48a2-8799-89b58d218255" providerId="ADAL" clId="{253D94E7-442D-460C-9F4C-18558C0A0590}" dt="2022-05-22T16:49:10.413" v="938" actId="207"/>
          <ac:spMkLst>
            <pc:docMk/>
            <pc:sldMk cId="2499674548" sldId="2134803572"/>
            <ac:spMk id="208" creationId="{F71EEF83-C2FE-1F5B-57E7-F54840B6D839}"/>
          </ac:spMkLst>
        </pc:spChg>
        <pc:spChg chg="add mod">
          <ac:chgData name="Kebba Jeng" userId="fe4cc296-ba7d-48a2-8799-89b58d218255" providerId="ADAL" clId="{253D94E7-442D-460C-9F4C-18558C0A0590}" dt="2022-05-22T16:49:10.413" v="938" actId="207"/>
          <ac:spMkLst>
            <pc:docMk/>
            <pc:sldMk cId="2499674548" sldId="2134803572"/>
            <ac:spMk id="209" creationId="{A068B73D-9117-24F4-E515-9F1401E4EC47}"/>
          </ac:spMkLst>
        </pc:spChg>
        <pc:spChg chg="add mod">
          <ac:chgData name="Kebba Jeng" userId="fe4cc296-ba7d-48a2-8799-89b58d218255" providerId="ADAL" clId="{253D94E7-442D-460C-9F4C-18558C0A0590}" dt="2022-05-22T16:49:10.413" v="938" actId="207"/>
          <ac:spMkLst>
            <pc:docMk/>
            <pc:sldMk cId="2499674548" sldId="2134803572"/>
            <ac:spMk id="210" creationId="{8F97572D-903B-31E8-CD72-D462608BF046}"/>
          </ac:spMkLst>
        </pc:spChg>
        <pc:spChg chg="add mod">
          <ac:chgData name="Kebba Jeng" userId="fe4cc296-ba7d-48a2-8799-89b58d218255" providerId="ADAL" clId="{253D94E7-442D-460C-9F4C-18558C0A0590}" dt="2022-05-22T16:49:10.413" v="938" actId="207"/>
          <ac:spMkLst>
            <pc:docMk/>
            <pc:sldMk cId="2499674548" sldId="2134803572"/>
            <ac:spMk id="211" creationId="{CB426E4E-8A9B-7940-FE88-F68AB2250EBF}"/>
          </ac:spMkLst>
        </pc:spChg>
        <pc:spChg chg="add mod">
          <ac:chgData name="Kebba Jeng" userId="fe4cc296-ba7d-48a2-8799-89b58d218255" providerId="ADAL" clId="{253D94E7-442D-460C-9F4C-18558C0A0590}" dt="2022-05-22T16:49:10.413" v="938" actId="207"/>
          <ac:spMkLst>
            <pc:docMk/>
            <pc:sldMk cId="2499674548" sldId="2134803572"/>
            <ac:spMk id="212" creationId="{E74829F5-BCEE-7623-1B3E-2BA1273610F2}"/>
          </ac:spMkLst>
        </pc:spChg>
        <pc:spChg chg="add mod">
          <ac:chgData name="Kebba Jeng" userId="fe4cc296-ba7d-48a2-8799-89b58d218255" providerId="ADAL" clId="{253D94E7-442D-460C-9F4C-18558C0A0590}" dt="2022-05-22T16:49:10.413" v="938" actId="207"/>
          <ac:spMkLst>
            <pc:docMk/>
            <pc:sldMk cId="2499674548" sldId="2134803572"/>
            <ac:spMk id="213" creationId="{952D7C48-E9B6-8B75-982B-850F4A79D51B}"/>
          </ac:spMkLst>
        </pc:spChg>
        <pc:spChg chg="add mod">
          <ac:chgData name="Kebba Jeng" userId="fe4cc296-ba7d-48a2-8799-89b58d218255" providerId="ADAL" clId="{253D94E7-442D-460C-9F4C-18558C0A0590}" dt="2022-05-22T16:49:10.413" v="938" actId="207"/>
          <ac:spMkLst>
            <pc:docMk/>
            <pc:sldMk cId="2499674548" sldId="2134803572"/>
            <ac:spMk id="214" creationId="{47BEE659-1C27-6DEE-EA78-FB372FDB371C}"/>
          </ac:spMkLst>
        </pc:spChg>
        <pc:spChg chg="add mod">
          <ac:chgData name="Kebba Jeng" userId="fe4cc296-ba7d-48a2-8799-89b58d218255" providerId="ADAL" clId="{253D94E7-442D-460C-9F4C-18558C0A0590}" dt="2022-05-22T16:49:10.413" v="938" actId="207"/>
          <ac:spMkLst>
            <pc:docMk/>
            <pc:sldMk cId="2499674548" sldId="2134803572"/>
            <ac:spMk id="215" creationId="{F4EB430B-E0FE-91D6-5CE6-C13EF82CE522}"/>
          </ac:spMkLst>
        </pc:spChg>
        <pc:spChg chg="add mod">
          <ac:chgData name="Kebba Jeng" userId="fe4cc296-ba7d-48a2-8799-89b58d218255" providerId="ADAL" clId="{253D94E7-442D-460C-9F4C-18558C0A0590}" dt="2022-05-22T16:49:10.413" v="938" actId="207"/>
          <ac:spMkLst>
            <pc:docMk/>
            <pc:sldMk cId="2499674548" sldId="2134803572"/>
            <ac:spMk id="216" creationId="{188928EE-C7F0-F66B-31B0-F2EF16C8A7B4}"/>
          </ac:spMkLst>
        </pc:spChg>
        <pc:spChg chg="add mod">
          <ac:chgData name="Kebba Jeng" userId="fe4cc296-ba7d-48a2-8799-89b58d218255" providerId="ADAL" clId="{253D94E7-442D-460C-9F4C-18558C0A0590}" dt="2022-05-22T16:49:10.413" v="938" actId="207"/>
          <ac:spMkLst>
            <pc:docMk/>
            <pc:sldMk cId="2499674548" sldId="2134803572"/>
            <ac:spMk id="217" creationId="{723A34F1-AF01-9E69-944E-6DF47664FB29}"/>
          </ac:spMkLst>
        </pc:spChg>
        <pc:spChg chg="add mod">
          <ac:chgData name="Kebba Jeng" userId="fe4cc296-ba7d-48a2-8799-89b58d218255" providerId="ADAL" clId="{253D94E7-442D-460C-9F4C-18558C0A0590}" dt="2022-05-22T16:49:10.413" v="938" actId="207"/>
          <ac:spMkLst>
            <pc:docMk/>
            <pc:sldMk cId="2499674548" sldId="2134803572"/>
            <ac:spMk id="218" creationId="{DFAC05E5-A79E-CC16-73FE-1BA2F1DD3CAB}"/>
          </ac:spMkLst>
        </pc:spChg>
        <pc:spChg chg="add mod">
          <ac:chgData name="Kebba Jeng" userId="fe4cc296-ba7d-48a2-8799-89b58d218255" providerId="ADAL" clId="{253D94E7-442D-460C-9F4C-18558C0A0590}" dt="2022-05-22T16:49:10.413" v="938" actId="207"/>
          <ac:spMkLst>
            <pc:docMk/>
            <pc:sldMk cId="2499674548" sldId="2134803572"/>
            <ac:spMk id="219" creationId="{3A920374-A651-16A4-2CF5-27E618A42AE7}"/>
          </ac:spMkLst>
        </pc:spChg>
        <pc:spChg chg="add mod">
          <ac:chgData name="Kebba Jeng" userId="fe4cc296-ba7d-48a2-8799-89b58d218255" providerId="ADAL" clId="{253D94E7-442D-460C-9F4C-18558C0A0590}" dt="2022-05-22T16:49:10.413" v="938" actId="207"/>
          <ac:spMkLst>
            <pc:docMk/>
            <pc:sldMk cId="2499674548" sldId="2134803572"/>
            <ac:spMk id="220" creationId="{84C86AE8-6341-EE29-D001-1BC7066B8351}"/>
          </ac:spMkLst>
        </pc:spChg>
        <pc:spChg chg="add mod">
          <ac:chgData name="Kebba Jeng" userId="fe4cc296-ba7d-48a2-8799-89b58d218255" providerId="ADAL" clId="{253D94E7-442D-460C-9F4C-18558C0A0590}" dt="2022-05-22T16:49:10.413" v="938" actId="207"/>
          <ac:spMkLst>
            <pc:docMk/>
            <pc:sldMk cId="2499674548" sldId="2134803572"/>
            <ac:spMk id="221" creationId="{305AACB3-27D9-01F4-44C9-EAA09542FD56}"/>
          </ac:spMkLst>
        </pc:spChg>
        <pc:spChg chg="add mod">
          <ac:chgData name="Kebba Jeng" userId="fe4cc296-ba7d-48a2-8799-89b58d218255" providerId="ADAL" clId="{253D94E7-442D-460C-9F4C-18558C0A0590}" dt="2022-05-22T16:49:10.413" v="938" actId="207"/>
          <ac:spMkLst>
            <pc:docMk/>
            <pc:sldMk cId="2499674548" sldId="2134803572"/>
            <ac:spMk id="222" creationId="{BA85CC6F-D1C6-C40E-DFFC-E107A00806F9}"/>
          </ac:spMkLst>
        </pc:spChg>
        <pc:spChg chg="add mod">
          <ac:chgData name="Kebba Jeng" userId="fe4cc296-ba7d-48a2-8799-89b58d218255" providerId="ADAL" clId="{253D94E7-442D-460C-9F4C-18558C0A0590}" dt="2022-05-22T16:49:10.413" v="938" actId="207"/>
          <ac:spMkLst>
            <pc:docMk/>
            <pc:sldMk cId="2499674548" sldId="2134803572"/>
            <ac:spMk id="223" creationId="{EB78E6F9-7AD5-7CFA-1C61-8D65D8D137F0}"/>
          </ac:spMkLst>
        </pc:spChg>
        <pc:spChg chg="add mod">
          <ac:chgData name="Kebba Jeng" userId="fe4cc296-ba7d-48a2-8799-89b58d218255" providerId="ADAL" clId="{253D94E7-442D-460C-9F4C-18558C0A0590}" dt="2022-05-22T16:49:10.413" v="938" actId="207"/>
          <ac:spMkLst>
            <pc:docMk/>
            <pc:sldMk cId="2499674548" sldId="2134803572"/>
            <ac:spMk id="224" creationId="{310A4B0A-90E6-E003-7880-C122FB5AE349}"/>
          </ac:spMkLst>
        </pc:spChg>
        <pc:spChg chg="add mod">
          <ac:chgData name="Kebba Jeng" userId="fe4cc296-ba7d-48a2-8799-89b58d218255" providerId="ADAL" clId="{253D94E7-442D-460C-9F4C-18558C0A0590}" dt="2022-05-22T16:49:10.413" v="938" actId="207"/>
          <ac:spMkLst>
            <pc:docMk/>
            <pc:sldMk cId="2499674548" sldId="2134803572"/>
            <ac:spMk id="225" creationId="{5A35E4FF-D64D-2B2E-C7B1-D92A5AA74241}"/>
          </ac:spMkLst>
        </pc:spChg>
        <pc:spChg chg="add mod">
          <ac:chgData name="Kebba Jeng" userId="fe4cc296-ba7d-48a2-8799-89b58d218255" providerId="ADAL" clId="{253D94E7-442D-460C-9F4C-18558C0A0590}" dt="2022-05-22T16:49:10.413" v="938" actId="207"/>
          <ac:spMkLst>
            <pc:docMk/>
            <pc:sldMk cId="2499674548" sldId="2134803572"/>
            <ac:spMk id="226" creationId="{65D39B17-B7B6-F9D8-4863-03209C479717}"/>
          </ac:spMkLst>
        </pc:spChg>
        <pc:spChg chg="add mod">
          <ac:chgData name="Kebba Jeng" userId="fe4cc296-ba7d-48a2-8799-89b58d218255" providerId="ADAL" clId="{253D94E7-442D-460C-9F4C-18558C0A0590}" dt="2022-05-22T16:49:10.413" v="938" actId="207"/>
          <ac:spMkLst>
            <pc:docMk/>
            <pc:sldMk cId="2499674548" sldId="2134803572"/>
            <ac:spMk id="227" creationId="{114AEB8E-7AE9-75BE-5003-78791BEE63E8}"/>
          </ac:spMkLst>
        </pc:spChg>
        <pc:spChg chg="add mod">
          <ac:chgData name="Kebba Jeng" userId="fe4cc296-ba7d-48a2-8799-89b58d218255" providerId="ADAL" clId="{253D94E7-442D-460C-9F4C-18558C0A0590}" dt="2022-05-22T16:49:10.413" v="938" actId="207"/>
          <ac:spMkLst>
            <pc:docMk/>
            <pc:sldMk cId="2499674548" sldId="2134803572"/>
            <ac:spMk id="228" creationId="{5FD1A9B5-09B9-D861-7489-4A58AC2775DC}"/>
          </ac:spMkLst>
        </pc:spChg>
        <pc:spChg chg="add mod">
          <ac:chgData name="Kebba Jeng" userId="fe4cc296-ba7d-48a2-8799-89b58d218255" providerId="ADAL" clId="{253D94E7-442D-460C-9F4C-18558C0A0590}" dt="2022-05-22T16:49:10.413" v="938" actId="207"/>
          <ac:spMkLst>
            <pc:docMk/>
            <pc:sldMk cId="2499674548" sldId="2134803572"/>
            <ac:spMk id="229" creationId="{4ABFC6C0-F3F6-2288-A77D-BECABBB21A85}"/>
          </ac:spMkLst>
        </pc:spChg>
        <pc:spChg chg="add mod">
          <ac:chgData name="Kebba Jeng" userId="fe4cc296-ba7d-48a2-8799-89b58d218255" providerId="ADAL" clId="{253D94E7-442D-460C-9F4C-18558C0A0590}" dt="2022-05-22T16:49:10.413" v="938" actId="207"/>
          <ac:spMkLst>
            <pc:docMk/>
            <pc:sldMk cId="2499674548" sldId="2134803572"/>
            <ac:spMk id="230" creationId="{15D65B06-0850-FB3C-06A8-61BB4BE8D90A}"/>
          </ac:spMkLst>
        </pc:spChg>
        <pc:spChg chg="add mod">
          <ac:chgData name="Kebba Jeng" userId="fe4cc296-ba7d-48a2-8799-89b58d218255" providerId="ADAL" clId="{253D94E7-442D-460C-9F4C-18558C0A0590}" dt="2022-05-22T16:49:10.413" v="938" actId="207"/>
          <ac:spMkLst>
            <pc:docMk/>
            <pc:sldMk cId="2499674548" sldId="2134803572"/>
            <ac:spMk id="231" creationId="{C41CCCAA-384A-5C7C-627E-BFFF366CAB15}"/>
          </ac:spMkLst>
        </pc:spChg>
        <pc:spChg chg="add mod">
          <ac:chgData name="Kebba Jeng" userId="fe4cc296-ba7d-48a2-8799-89b58d218255" providerId="ADAL" clId="{253D94E7-442D-460C-9F4C-18558C0A0590}" dt="2022-05-22T16:49:10.413" v="938" actId="207"/>
          <ac:spMkLst>
            <pc:docMk/>
            <pc:sldMk cId="2499674548" sldId="2134803572"/>
            <ac:spMk id="232" creationId="{B847F999-2C79-29C6-E59D-F880D7BF23EF}"/>
          </ac:spMkLst>
        </pc:spChg>
        <pc:spChg chg="add mod">
          <ac:chgData name="Kebba Jeng" userId="fe4cc296-ba7d-48a2-8799-89b58d218255" providerId="ADAL" clId="{253D94E7-442D-460C-9F4C-18558C0A0590}" dt="2022-05-22T16:49:10.413" v="938" actId="207"/>
          <ac:spMkLst>
            <pc:docMk/>
            <pc:sldMk cId="2499674548" sldId="2134803572"/>
            <ac:spMk id="233" creationId="{BD4DD90D-452F-C382-EF47-68D0D72B83EE}"/>
          </ac:spMkLst>
        </pc:spChg>
        <pc:spChg chg="add mod">
          <ac:chgData name="Kebba Jeng" userId="fe4cc296-ba7d-48a2-8799-89b58d218255" providerId="ADAL" clId="{253D94E7-442D-460C-9F4C-18558C0A0590}" dt="2022-05-22T16:49:10.413" v="938" actId="207"/>
          <ac:spMkLst>
            <pc:docMk/>
            <pc:sldMk cId="2499674548" sldId="2134803572"/>
            <ac:spMk id="234" creationId="{CBA6519F-CB04-FB82-7616-25BCBA7BE0FF}"/>
          </ac:spMkLst>
        </pc:spChg>
        <pc:spChg chg="add mod">
          <ac:chgData name="Kebba Jeng" userId="fe4cc296-ba7d-48a2-8799-89b58d218255" providerId="ADAL" clId="{253D94E7-442D-460C-9F4C-18558C0A0590}" dt="2022-05-22T16:49:10.413" v="938" actId="207"/>
          <ac:spMkLst>
            <pc:docMk/>
            <pc:sldMk cId="2499674548" sldId="2134803572"/>
            <ac:spMk id="235" creationId="{755D73CE-09FD-6FED-0144-88C03244BAD1}"/>
          </ac:spMkLst>
        </pc:spChg>
        <pc:spChg chg="add mod">
          <ac:chgData name="Kebba Jeng" userId="fe4cc296-ba7d-48a2-8799-89b58d218255" providerId="ADAL" clId="{253D94E7-442D-460C-9F4C-18558C0A0590}" dt="2022-05-22T16:49:10.413" v="938" actId="207"/>
          <ac:spMkLst>
            <pc:docMk/>
            <pc:sldMk cId="2499674548" sldId="2134803572"/>
            <ac:spMk id="236" creationId="{C93E2CF2-55F9-BD70-A6EC-AFB1BFD9208E}"/>
          </ac:spMkLst>
        </pc:spChg>
        <pc:spChg chg="add mod">
          <ac:chgData name="Kebba Jeng" userId="fe4cc296-ba7d-48a2-8799-89b58d218255" providerId="ADAL" clId="{253D94E7-442D-460C-9F4C-18558C0A0590}" dt="2022-05-22T16:49:10.413" v="938" actId="207"/>
          <ac:spMkLst>
            <pc:docMk/>
            <pc:sldMk cId="2499674548" sldId="2134803572"/>
            <ac:spMk id="237" creationId="{27260114-FAD3-EDBB-97BD-C0B88D5D0942}"/>
          </ac:spMkLst>
        </pc:spChg>
        <pc:spChg chg="add mod">
          <ac:chgData name="Kebba Jeng" userId="fe4cc296-ba7d-48a2-8799-89b58d218255" providerId="ADAL" clId="{253D94E7-442D-460C-9F4C-18558C0A0590}" dt="2022-05-22T16:49:10.413" v="938" actId="207"/>
          <ac:spMkLst>
            <pc:docMk/>
            <pc:sldMk cId="2499674548" sldId="2134803572"/>
            <ac:spMk id="238" creationId="{E904BD4B-D316-1742-D545-9E5FAB78F48B}"/>
          </ac:spMkLst>
        </pc:spChg>
        <pc:spChg chg="add mod">
          <ac:chgData name="Kebba Jeng" userId="fe4cc296-ba7d-48a2-8799-89b58d218255" providerId="ADAL" clId="{253D94E7-442D-460C-9F4C-18558C0A0590}" dt="2022-05-22T16:49:10.413" v="938" actId="207"/>
          <ac:spMkLst>
            <pc:docMk/>
            <pc:sldMk cId="2499674548" sldId="2134803572"/>
            <ac:spMk id="239" creationId="{BF90A553-13CE-5AD1-44D5-D7A2CC392C65}"/>
          </ac:spMkLst>
        </pc:spChg>
        <pc:spChg chg="add mod">
          <ac:chgData name="Kebba Jeng" userId="fe4cc296-ba7d-48a2-8799-89b58d218255" providerId="ADAL" clId="{253D94E7-442D-460C-9F4C-18558C0A0590}" dt="2022-05-22T16:49:10.413" v="938" actId="207"/>
          <ac:spMkLst>
            <pc:docMk/>
            <pc:sldMk cId="2499674548" sldId="2134803572"/>
            <ac:spMk id="240" creationId="{A02C8028-B9FD-5202-A262-27D9C34AFE5C}"/>
          </ac:spMkLst>
        </pc:spChg>
        <pc:spChg chg="add mod">
          <ac:chgData name="Kebba Jeng" userId="fe4cc296-ba7d-48a2-8799-89b58d218255" providerId="ADAL" clId="{253D94E7-442D-460C-9F4C-18558C0A0590}" dt="2022-05-22T16:49:10.413" v="938" actId="207"/>
          <ac:spMkLst>
            <pc:docMk/>
            <pc:sldMk cId="2499674548" sldId="2134803572"/>
            <ac:spMk id="241" creationId="{6D3EBED5-1BC5-2EFD-7B81-048DE6C5C9E9}"/>
          </ac:spMkLst>
        </pc:spChg>
        <pc:spChg chg="add mod">
          <ac:chgData name="Kebba Jeng" userId="fe4cc296-ba7d-48a2-8799-89b58d218255" providerId="ADAL" clId="{253D94E7-442D-460C-9F4C-18558C0A0590}" dt="2022-05-22T16:49:10.413" v="938" actId="207"/>
          <ac:spMkLst>
            <pc:docMk/>
            <pc:sldMk cId="2499674548" sldId="2134803572"/>
            <ac:spMk id="242" creationId="{D4D6CB59-CF93-F7B7-61D7-F84A3EF3FF68}"/>
          </ac:spMkLst>
        </pc:spChg>
        <pc:spChg chg="add mod">
          <ac:chgData name="Kebba Jeng" userId="fe4cc296-ba7d-48a2-8799-89b58d218255" providerId="ADAL" clId="{253D94E7-442D-460C-9F4C-18558C0A0590}" dt="2022-05-22T16:49:10.413" v="938" actId="207"/>
          <ac:spMkLst>
            <pc:docMk/>
            <pc:sldMk cId="2499674548" sldId="2134803572"/>
            <ac:spMk id="243" creationId="{B0FB3F4C-602B-9279-DA11-314C6AE1CE4A}"/>
          </ac:spMkLst>
        </pc:spChg>
        <pc:spChg chg="add mod">
          <ac:chgData name="Kebba Jeng" userId="fe4cc296-ba7d-48a2-8799-89b58d218255" providerId="ADAL" clId="{253D94E7-442D-460C-9F4C-18558C0A0590}" dt="2022-05-22T16:49:10.413" v="938" actId="207"/>
          <ac:spMkLst>
            <pc:docMk/>
            <pc:sldMk cId="2499674548" sldId="2134803572"/>
            <ac:spMk id="244" creationId="{6B4B520B-AB7B-1396-79FC-0A2B4552CE3A}"/>
          </ac:spMkLst>
        </pc:spChg>
        <pc:spChg chg="add mod">
          <ac:chgData name="Kebba Jeng" userId="fe4cc296-ba7d-48a2-8799-89b58d218255" providerId="ADAL" clId="{253D94E7-442D-460C-9F4C-18558C0A0590}" dt="2022-05-22T16:49:10.413" v="938" actId="207"/>
          <ac:spMkLst>
            <pc:docMk/>
            <pc:sldMk cId="2499674548" sldId="2134803572"/>
            <ac:spMk id="245" creationId="{6FA0B750-55CF-F4DC-2944-7AE8F44011CF}"/>
          </ac:spMkLst>
        </pc:spChg>
        <pc:spChg chg="add mod">
          <ac:chgData name="Kebba Jeng" userId="fe4cc296-ba7d-48a2-8799-89b58d218255" providerId="ADAL" clId="{253D94E7-442D-460C-9F4C-18558C0A0590}" dt="2022-05-22T16:49:10.413" v="938" actId="207"/>
          <ac:spMkLst>
            <pc:docMk/>
            <pc:sldMk cId="2499674548" sldId="2134803572"/>
            <ac:spMk id="246" creationId="{A799D56B-BE7B-9773-ED3F-5ED2310C8D9B}"/>
          </ac:spMkLst>
        </pc:spChg>
        <pc:spChg chg="add mod">
          <ac:chgData name="Kebba Jeng" userId="fe4cc296-ba7d-48a2-8799-89b58d218255" providerId="ADAL" clId="{253D94E7-442D-460C-9F4C-18558C0A0590}" dt="2022-05-22T16:49:10.413" v="938" actId="207"/>
          <ac:spMkLst>
            <pc:docMk/>
            <pc:sldMk cId="2499674548" sldId="2134803572"/>
            <ac:spMk id="247" creationId="{0AB31018-A376-3A80-0DE1-1F983C4EA2A9}"/>
          </ac:spMkLst>
        </pc:spChg>
        <pc:spChg chg="add mod">
          <ac:chgData name="Kebba Jeng" userId="fe4cc296-ba7d-48a2-8799-89b58d218255" providerId="ADAL" clId="{253D94E7-442D-460C-9F4C-18558C0A0590}" dt="2022-05-22T16:49:10.413" v="938" actId="207"/>
          <ac:spMkLst>
            <pc:docMk/>
            <pc:sldMk cId="2499674548" sldId="2134803572"/>
            <ac:spMk id="248" creationId="{AAB3310B-4842-ADFE-0424-E3455E3D9D04}"/>
          </ac:spMkLst>
        </pc:spChg>
        <pc:spChg chg="add mod">
          <ac:chgData name="Kebba Jeng" userId="fe4cc296-ba7d-48a2-8799-89b58d218255" providerId="ADAL" clId="{253D94E7-442D-460C-9F4C-18558C0A0590}" dt="2022-05-22T16:49:10.413" v="938" actId="207"/>
          <ac:spMkLst>
            <pc:docMk/>
            <pc:sldMk cId="2499674548" sldId="2134803572"/>
            <ac:spMk id="249" creationId="{CB2B9DFE-8BA7-FE7C-4200-BF06C0763848}"/>
          </ac:spMkLst>
        </pc:spChg>
        <pc:spChg chg="add mod">
          <ac:chgData name="Kebba Jeng" userId="fe4cc296-ba7d-48a2-8799-89b58d218255" providerId="ADAL" clId="{253D94E7-442D-460C-9F4C-18558C0A0590}" dt="2022-05-22T16:49:10.413" v="938" actId="207"/>
          <ac:spMkLst>
            <pc:docMk/>
            <pc:sldMk cId="2499674548" sldId="2134803572"/>
            <ac:spMk id="250" creationId="{12E9AC21-DF12-5B1D-A34C-53AA68F8F6A5}"/>
          </ac:spMkLst>
        </pc:spChg>
        <pc:spChg chg="add mod">
          <ac:chgData name="Kebba Jeng" userId="fe4cc296-ba7d-48a2-8799-89b58d218255" providerId="ADAL" clId="{253D94E7-442D-460C-9F4C-18558C0A0590}" dt="2022-05-22T16:49:10.413" v="938" actId="207"/>
          <ac:spMkLst>
            <pc:docMk/>
            <pc:sldMk cId="2499674548" sldId="2134803572"/>
            <ac:spMk id="251" creationId="{E379B30C-4D69-B5FB-3DB4-14ECC449F091}"/>
          </ac:spMkLst>
        </pc:spChg>
        <pc:spChg chg="add mod">
          <ac:chgData name="Kebba Jeng" userId="fe4cc296-ba7d-48a2-8799-89b58d218255" providerId="ADAL" clId="{253D94E7-442D-460C-9F4C-18558C0A0590}" dt="2022-05-22T16:49:10.413" v="938" actId="207"/>
          <ac:spMkLst>
            <pc:docMk/>
            <pc:sldMk cId="2499674548" sldId="2134803572"/>
            <ac:spMk id="252" creationId="{1AB5D459-3F8D-751F-90B7-2BE8B03460B0}"/>
          </ac:spMkLst>
        </pc:spChg>
        <pc:spChg chg="add mod">
          <ac:chgData name="Kebba Jeng" userId="fe4cc296-ba7d-48a2-8799-89b58d218255" providerId="ADAL" clId="{253D94E7-442D-460C-9F4C-18558C0A0590}" dt="2022-05-22T16:49:10.413" v="938" actId="207"/>
          <ac:spMkLst>
            <pc:docMk/>
            <pc:sldMk cId="2499674548" sldId="2134803572"/>
            <ac:spMk id="253" creationId="{503A771B-B0F5-082E-1086-87512A991572}"/>
          </ac:spMkLst>
        </pc:spChg>
        <pc:spChg chg="add mod">
          <ac:chgData name="Kebba Jeng" userId="fe4cc296-ba7d-48a2-8799-89b58d218255" providerId="ADAL" clId="{253D94E7-442D-460C-9F4C-18558C0A0590}" dt="2022-05-22T16:49:10.413" v="938" actId="207"/>
          <ac:spMkLst>
            <pc:docMk/>
            <pc:sldMk cId="2499674548" sldId="2134803572"/>
            <ac:spMk id="254" creationId="{7850DBA7-2F85-F0DE-FD69-D608E3328782}"/>
          </ac:spMkLst>
        </pc:spChg>
        <pc:spChg chg="add mod">
          <ac:chgData name="Kebba Jeng" userId="fe4cc296-ba7d-48a2-8799-89b58d218255" providerId="ADAL" clId="{253D94E7-442D-460C-9F4C-18558C0A0590}" dt="2022-05-22T16:49:10.413" v="938" actId="207"/>
          <ac:spMkLst>
            <pc:docMk/>
            <pc:sldMk cId="2499674548" sldId="2134803572"/>
            <ac:spMk id="255" creationId="{E7B419EC-6682-E6E3-4424-DE143F469F75}"/>
          </ac:spMkLst>
        </pc:spChg>
        <pc:spChg chg="add mod">
          <ac:chgData name="Kebba Jeng" userId="fe4cc296-ba7d-48a2-8799-89b58d218255" providerId="ADAL" clId="{253D94E7-442D-460C-9F4C-18558C0A0590}" dt="2022-05-22T16:49:10.413" v="938" actId="207"/>
          <ac:spMkLst>
            <pc:docMk/>
            <pc:sldMk cId="2499674548" sldId="2134803572"/>
            <ac:spMk id="256" creationId="{1984CF9A-5948-95DD-0084-44AB18A4CB39}"/>
          </ac:spMkLst>
        </pc:spChg>
        <pc:spChg chg="add mod">
          <ac:chgData name="Kebba Jeng" userId="fe4cc296-ba7d-48a2-8799-89b58d218255" providerId="ADAL" clId="{253D94E7-442D-460C-9F4C-18558C0A0590}" dt="2022-05-22T16:49:10.413" v="938" actId="207"/>
          <ac:spMkLst>
            <pc:docMk/>
            <pc:sldMk cId="2499674548" sldId="2134803572"/>
            <ac:spMk id="257" creationId="{B9FD6538-6E1F-207F-3E54-59F06C717042}"/>
          </ac:spMkLst>
        </pc:spChg>
        <pc:spChg chg="add mod">
          <ac:chgData name="Kebba Jeng" userId="fe4cc296-ba7d-48a2-8799-89b58d218255" providerId="ADAL" clId="{253D94E7-442D-460C-9F4C-18558C0A0590}" dt="2022-05-22T16:49:10.413" v="938" actId="207"/>
          <ac:spMkLst>
            <pc:docMk/>
            <pc:sldMk cId="2499674548" sldId="2134803572"/>
            <ac:spMk id="258" creationId="{86B408C4-73BE-18C1-37DC-D531F42020D5}"/>
          </ac:spMkLst>
        </pc:spChg>
        <pc:spChg chg="add mod">
          <ac:chgData name="Kebba Jeng" userId="fe4cc296-ba7d-48a2-8799-89b58d218255" providerId="ADAL" clId="{253D94E7-442D-460C-9F4C-18558C0A0590}" dt="2022-05-22T16:49:10.413" v="938" actId="207"/>
          <ac:spMkLst>
            <pc:docMk/>
            <pc:sldMk cId="2499674548" sldId="2134803572"/>
            <ac:spMk id="259" creationId="{AA644E03-A171-E577-363A-389D640A0C6C}"/>
          </ac:spMkLst>
        </pc:spChg>
        <pc:spChg chg="add mod">
          <ac:chgData name="Kebba Jeng" userId="fe4cc296-ba7d-48a2-8799-89b58d218255" providerId="ADAL" clId="{253D94E7-442D-460C-9F4C-18558C0A0590}" dt="2022-05-22T16:49:10.413" v="938" actId="207"/>
          <ac:spMkLst>
            <pc:docMk/>
            <pc:sldMk cId="2499674548" sldId="2134803572"/>
            <ac:spMk id="260" creationId="{C65402FE-DFA3-587B-4583-78834D2A3EF6}"/>
          </ac:spMkLst>
        </pc:spChg>
        <pc:spChg chg="add mod">
          <ac:chgData name="Kebba Jeng" userId="fe4cc296-ba7d-48a2-8799-89b58d218255" providerId="ADAL" clId="{253D94E7-442D-460C-9F4C-18558C0A0590}" dt="2022-05-22T16:49:10.413" v="938" actId="207"/>
          <ac:spMkLst>
            <pc:docMk/>
            <pc:sldMk cId="2499674548" sldId="2134803572"/>
            <ac:spMk id="261" creationId="{4A03FF03-C147-74F5-84E2-8488AEF13CAF}"/>
          </ac:spMkLst>
        </pc:spChg>
        <pc:spChg chg="add mod">
          <ac:chgData name="Kebba Jeng" userId="fe4cc296-ba7d-48a2-8799-89b58d218255" providerId="ADAL" clId="{253D94E7-442D-460C-9F4C-18558C0A0590}" dt="2022-05-22T16:49:10.413" v="938" actId="207"/>
          <ac:spMkLst>
            <pc:docMk/>
            <pc:sldMk cId="2499674548" sldId="2134803572"/>
            <ac:spMk id="262" creationId="{C6D6A08A-1754-0297-C872-A992EDA0A10B}"/>
          </ac:spMkLst>
        </pc:spChg>
        <pc:spChg chg="add mod">
          <ac:chgData name="Kebba Jeng" userId="fe4cc296-ba7d-48a2-8799-89b58d218255" providerId="ADAL" clId="{253D94E7-442D-460C-9F4C-18558C0A0590}" dt="2022-05-22T16:49:10.413" v="938" actId="207"/>
          <ac:spMkLst>
            <pc:docMk/>
            <pc:sldMk cId="2499674548" sldId="2134803572"/>
            <ac:spMk id="263" creationId="{238ED96B-D45C-7B38-750E-9F55EA2CA0C3}"/>
          </ac:spMkLst>
        </pc:spChg>
        <pc:spChg chg="add mod">
          <ac:chgData name="Kebba Jeng" userId="fe4cc296-ba7d-48a2-8799-89b58d218255" providerId="ADAL" clId="{253D94E7-442D-460C-9F4C-18558C0A0590}" dt="2022-05-22T16:49:10.413" v="938" actId="207"/>
          <ac:spMkLst>
            <pc:docMk/>
            <pc:sldMk cId="2499674548" sldId="2134803572"/>
            <ac:spMk id="264" creationId="{89F3B241-8352-0853-FDCB-B60F0275B862}"/>
          </ac:spMkLst>
        </pc:spChg>
        <pc:spChg chg="add mod">
          <ac:chgData name="Kebba Jeng" userId="fe4cc296-ba7d-48a2-8799-89b58d218255" providerId="ADAL" clId="{253D94E7-442D-460C-9F4C-18558C0A0590}" dt="2022-05-22T16:49:10.413" v="938" actId="207"/>
          <ac:spMkLst>
            <pc:docMk/>
            <pc:sldMk cId="2499674548" sldId="2134803572"/>
            <ac:spMk id="265" creationId="{B504A7B0-9531-2A82-E724-8AE7B68CABD2}"/>
          </ac:spMkLst>
        </pc:spChg>
        <pc:spChg chg="add mod">
          <ac:chgData name="Kebba Jeng" userId="fe4cc296-ba7d-48a2-8799-89b58d218255" providerId="ADAL" clId="{253D94E7-442D-460C-9F4C-18558C0A0590}" dt="2022-05-22T16:49:26.879" v="943" actId="164"/>
          <ac:spMkLst>
            <pc:docMk/>
            <pc:sldMk cId="2499674548" sldId="2134803572"/>
            <ac:spMk id="267" creationId="{02E787FE-814B-7A14-FD82-DC30E9E1CE2D}"/>
          </ac:spMkLst>
        </pc:spChg>
        <pc:spChg chg="mod">
          <ac:chgData name="Kebba Jeng" userId="fe4cc296-ba7d-48a2-8799-89b58d218255" providerId="ADAL" clId="{253D94E7-442D-460C-9F4C-18558C0A0590}" dt="2022-05-22T16:49:13.583" v="940" actId="1076"/>
          <ac:spMkLst>
            <pc:docMk/>
            <pc:sldMk cId="2499674548" sldId="2134803572"/>
            <ac:spMk id="1722" creationId="{00000000-0000-0000-0000-000000000000}"/>
          </ac:spMkLst>
        </pc:spChg>
        <pc:grpChg chg="add mod">
          <ac:chgData name="Kebba Jeng" userId="fe4cc296-ba7d-48a2-8799-89b58d218255" providerId="ADAL" clId="{253D94E7-442D-460C-9F4C-18558C0A0590}" dt="2022-05-22T16:49:26.879" v="943" actId="164"/>
          <ac:grpSpMkLst>
            <pc:docMk/>
            <pc:sldMk cId="2499674548" sldId="2134803572"/>
            <ac:grpSpMk id="2" creationId="{9690F212-9C69-B4AB-EF3C-8400704A38FD}"/>
          </ac:grpSpMkLst>
        </pc:grpChg>
        <pc:grpChg chg="add del mod">
          <ac:chgData name="Kebba Jeng" userId="fe4cc296-ba7d-48a2-8799-89b58d218255" providerId="ADAL" clId="{253D94E7-442D-460C-9F4C-18558C0A0590}" dt="2022-05-22T16:49:27.751" v="944" actId="21"/>
          <ac:grpSpMkLst>
            <pc:docMk/>
            <pc:sldMk cId="2499674548" sldId="2134803572"/>
            <ac:grpSpMk id="3" creationId="{DAD89033-4F59-66B9-85F1-A926DBC416E7}"/>
          </ac:grpSpMkLst>
        </pc:grpChg>
      </pc:sldChg>
      <pc:sldChg chg="addSp delSp modSp mod">
        <pc:chgData name="Kebba Jeng" userId="fe4cc296-ba7d-48a2-8799-89b58d218255" providerId="ADAL" clId="{253D94E7-442D-460C-9F4C-18558C0A0590}" dt="2022-05-22T16:49:41.318" v="953" actId="21"/>
        <pc:sldMkLst>
          <pc:docMk/>
          <pc:sldMk cId="1821985377" sldId="2134803575"/>
        </pc:sldMkLst>
        <pc:spChg chg="mod">
          <ac:chgData name="Kebba Jeng" userId="fe4cc296-ba7d-48a2-8799-89b58d218255" providerId="ADAL" clId="{253D94E7-442D-460C-9F4C-18558C0A0590}" dt="2022-05-22T16:49:32.969" v="945"/>
          <ac:spMkLst>
            <pc:docMk/>
            <pc:sldMk cId="1821985377" sldId="2134803575"/>
            <ac:spMk id="204" creationId="{9E50B876-F141-E497-A175-4DAF362FA20B}"/>
          </ac:spMkLst>
        </pc:spChg>
        <pc:spChg chg="mod">
          <ac:chgData name="Kebba Jeng" userId="fe4cc296-ba7d-48a2-8799-89b58d218255" providerId="ADAL" clId="{253D94E7-442D-460C-9F4C-18558C0A0590}" dt="2022-05-22T16:49:32.969" v="945"/>
          <ac:spMkLst>
            <pc:docMk/>
            <pc:sldMk cId="1821985377" sldId="2134803575"/>
            <ac:spMk id="205" creationId="{33442B3C-4A63-C173-3B14-C8BF6C3A9AB5}"/>
          </ac:spMkLst>
        </pc:spChg>
        <pc:spChg chg="mod">
          <ac:chgData name="Kebba Jeng" userId="fe4cc296-ba7d-48a2-8799-89b58d218255" providerId="ADAL" clId="{253D94E7-442D-460C-9F4C-18558C0A0590}" dt="2022-05-22T16:49:32.969" v="945"/>
          <ac:spMkLst>
            <pc:docMk/>
            <pc:sldMk cId="1821985377" sldId="2134803575"/>
            <ac:spMk id="206" creationId="{4C58C22F-BF9B-DFAC-C913-AFE99F026A9B}"/>
          </ac:spMkLst>
        </pc:spChg>
        <pc:spChg chg="mod">
          <ac:chgData name="Kebba Jeng" userId="fe4cc296-ba7d-48a2-8799-89b58d218255" providerId="ADAL" clId="{253D94E7-442D-460C-9F4C-18558C0A0590}" dt="2022-05-22T16:49:32.969" v="945"/>
          <ac:spMkLst>
            <pc:docMk/>
            <pc:sldMk cId="1821985377" sldId="2134803575"/>
            <ac:spMk id="207" creationId="{B1E0EFD7-3AAE-0037-8B66-0396EC3A07F0}"/>
          </ac:spMkLst>
        </pc:spChg>
        <pc:spChg chg="mod">
          <ac:chgData name="Kebba Jeng" userId="fe4cc296-ba7d-48a2-8799-89b58d218255" providerId="ADAL" clId="{253D94E7-442D-460C-9F4C-18558C0A0590}" dt="2022-05-22T16:49:32.969" v="945"/>
          <ac:spMkLst>
            <pc:docMk/>
            <pc:sldMk cId="1821985377" sldId="2134803575"/>
            <ac:spMk id="208" creationId="{E3392195-7A43-B493-B648-862026366F22}"/>
          </ac:spMkLst>
        </pc:spChg>
        <pc:spChg chg="mod">
          <ac:chgData name="Kebba Jeng" userId="fe4cc296-ba7d-48a2-8799-89b58d218255" providerId="ADAL" clId="{253D94E7-442D-460C-9F4C-18558C0A0590}" dt="2022-05-22T16:49:32.969" v="945"/>
          <ac:spMkLst>
            <pc:docMk/>
            <pc:sldMk cId="1821985377" sldId="2134803575"/>
            <ac:spMk id="209" creationId="{0700BC6C-A081-DB92-3CC6-9E9858AAA19E}"/>
          </ac:spMkLst>
        </pc:spChg>
        <pc:spChg chg="mod">
          <ac:chgData name="Kebba Jeng" userId="fe4cc296-ba7d-48a2-8799-89b58d218255" providerId="ADAL" clId="{253D94E7-442D-460C-9F4C-18558C0A0590}" dt="2022-05-22T16:49:32.969" v="945"/>
          <ac:spMkLst>
            <pc:docMk/>
            <pc:sldMk cId="1821985377" sldId="2134803575"/>
            <ac:spMk id="210" creationId="{5C7E7E88-4D86-0EEC-AAD8-26884CC18B7A}"/>
          </ac:spMkLst>
        </pc:spChg>
        <pc:spChg chg="mod">
          <ac:chgData name="Kebba Jeng" userId="fe4cc296-ba7d-48a2-8799-89b58d218255" providerId="ADAL" clId="{253D94E7-442D-460C-9F4C-18558C0A0590}" dt="2022-05-22T16:49:32.969" v="945"/>
          <ac:spMkLst>
            <pc:docMk/>
            <pc:sldMk cId="1821985377" sldId="2134803575"/>
            <ac:spMk id="211" creationId="{10FF6BAC-755E-569E-9C22-E8EADCE1FEAF}"/>
          </ac:spMkLst>
        </pc:spChg>
        <pc:spChg chg="mod">
          <ac:chgData name="Kebba Jeng" userId="fe4cc296-ba7d-48a2-8799-89b58d218255" providerId="ADAL" clId="{253D94E7-442D-460C-9F4C-18558C0A0590}" dt="2022-05-22T16:49:32.969" v="945"/>
          <ac:spMkLst>
            <pc:docMk/>
            <pc:sldMk cId="1821985377" sldId="2134803575"/>
            <ac:spMk id="212" creationId="{CF8032FD-FF5A-4CC3-66C9-52D947BFF6D4}"/>
          </ac:spMkLst>
        </pc:spChg>
        <pc:spChg chg="mod">
          <ac:chgData name="Kebba Jeng" userId="fe4cc296-ba7d-48a2-8799-89b58d218255" providerId="ADAL" clId="{253D94E7-442D-460C-9F4C-18558C0A0590}" dt="2022-05-22T16:49:32.969" v="945"/>
          <ac:spMkLst>
            <pc:docMk/>
            <pc:sldMk cId="1821985377" sldId="2134803575"/>
            <ac:spMk id="213" creationId="{7E16105B-1A06-15E3-F44B-CEE0739D7584}"/>
          </ac:spMkLst>
        </pc:spChg>
        <pc:spChg chg="mod">
          <ac:chgData name="Kebba Jeng" userId="fe4cc296-ba7d-48a2-8799-89b58d218255" providerId="ADAL" clId="{253D94E7-442D-460C-9F4C-18558C0A0590}" dt="2022-05-22T16:49:32.969" v="945"/>
          <ac:spMkLst>
            <pc:docMk/>
            <pc:sldMk cId="1821985377" sldId="2134803575"/>
            <ac:spMk id="214" creationId="{818E18AD-627D-B75E-E8ED-EA4FF26EEE75}"/>
          </ac:spMkLst>
        </pc:spChg>
        <pc:spChg chg="mod">
          <ac:chgData name="Kebba Jeng" userId="fe4cc296-ba7d-48a2-8799-89b58d218255" providerId="ADAL" clId="{253D94E7-442D-460C-9F4C-18558C0A0590}" dt="2022-05-22T16:49:32.969" v="945"/>
          <ac:spMkLst>
            <pc:docMk/>
            <pc:sldMk cId="1821985377" sldId="2134803575"/>
            <ac:spMk id="215" creationId="{05228E1D-BB3C-5142-E7BB-DACC3D272552}"/>
          </ac:spMkLst>
        </pc:spChg>
        <pc:spChg chg="mod">
          <ac:chgData name="Kebba Jeng" userId="fe4cc296-ba7d-48a2-8799-89b58d218255" providerId="ADAL" clId="{253D94E7-442D-460C-9F4C-18558C0A0590}" dt="2022-05-22T16:49:32.969" v="945"/>
          <ac:spMkLst>
            <pc:docMk/>
            <pc:sldMk cId="1821985377" sldId="2134803575"/>
            <ac:spMk id="216" creationId="{241B6D40-5E9D-58E5-F26A-EB2EB8B2E28B}"/>
          </ac:spMkLst>
        </pc:spChg>
        <pc:spChg chg="mod">
          <ac:chgData name="Kebba Jeng" userId="fe4cc296-ba7d-48a2-8799-89b58d218255" providerId="ADAL" clId="{253D94E7-442D-460C-9F4C-18558C0A0590}" dt="2022-05-22T16:49:32.969" v="945"/>
          <ac:spMkLst>
            <pc:docMk/>
            <pc:sldMk cId="1821985377" sldId="2134803575"/>
            <ac:spMk id="217" creationId="{BF682A7A-8496-65BD-C546-12EB9CA8BF55}"/>
          </ac:spMkLst>
        </pc:spChg>
        <pc:spChg chg="mod">
          <ac:chgData name="Kebba Jeng" userId="fe4cc296-ba7d-48a2-8799-89b58d218255" providerId="ADAL" clId="{253D94E7-442D-460C-9F4C-18558C0A0590}" dt="2022-05-22T16:49:32.969" v="945"/>
          <ac:spMkLst>
            <pc:docMk/>
            <pc:sldMk cId="1821985377" sldId="2134803575"/>
            <ac:spMk id="218" creationId="{B007500F-2D32-AC70-C037-B67B4042FAAB}"/>
          </ac:spMkLst>
        </pc:spChg>
        <pc:spChg chg="mod">
          <ac:chgData name="Kebba Jeng" userId="fe4cc296-ba7d-48a2-8799-89b58d218255" providerId="ADAL" clId="{253D94E7-442D-460C-9F4C-18558C0A0590}" dt="2022-05-22T16:49:32.969" v="945"/>
          <ac:spMkLst>
            <pc:docMk/>
            <pc:sldMk cId="1821985377" sldId="2134803575"/>
            <ac:spMk id="219" creationId="{7388DD9D-1088-F5A5-E823-B26C0B8057C0}"/>
          </ac:spMkLst>
        </pc:spChg>
        <pc:spChg chg="mod">
          <ac:chgData name="Kebba Jeng" userId="fe4cc296-ba7d-48a2-8799-89b58d218255" providerId="ADAL" clId="{253D94E7-442D-460C-9F4C-18558C0A0590}" dt="2022-05-22T16:49:32.969" v="945"/>
          <ac:spMkLst>
            <pc:docMk/>
            <pc:sldMk cId="1821985377" sldId="2134803575"/>
            <ac:spMk id="220" creationId="{05E23D69-29AC-223E-A89C-3A18B86D0C81}"/>
          </ac:spMkLst>
        </pc:spChg>
        <pc:spChg chg="mod">
          <ac:chgData name="Kebba Jeng" userId="fe4cc296-ba7d-48a2-8799-89b58d218255" providerId="ADAL" clId="{253D94E7-442D-460C-9F4C-18558C0A0590}" dt="2022-05-22T16:49:32.969" v="945"/>
          <ac:spMkLst>
            <pc:docMk/>
            <pc:sldMk cId="1821985377" sldId="2134803575"/>
            <ac:spMk id="221" creationId="{ED0F42A6-9435-4AC7-56AC-7F8711C81CCE}"/>
          </ac:spMkLst>
        </pc:spChg>
        <pc:spChg chg="mod">
          <ac:chgData name="Kebba Jeng" userId="fe4cc296-ba7d-48a2-8799-89b58d218255" providerId="ADAL" clId="{253D94E7-442D-460C-9F4C-18558C0A0590}" dt="2022-05-22T16:49:32.969" v="945"/>
          <ac:spMkLst>
            <pc:docMk/>
            <pc:sldMk cId="1821985377" sldId="2134803575"/>
            <ac:spMk id="222" creationId="{CBBE2504-EF6E-8B0B-AD27-48C103CECC5B}"/>
          </ac:spMkLst>
        </pc:spChg>
        <pc:spChg chg="mod">
          <ac:chgData name="Kebba Jeng" userId="fe4cc296-ba7d-48a2-8799-89b58d218255" providerId="ADAL" clId="{253D94E7-442D-460C-9F4C-18558C0A0590}" dt="2022-05-22T16:49:32.969" v="945"/>
          <ac:spMkLst>
            <pc:docMk/>
            <pc:sldMk cId="1821985377" sldId="2134803575"/>
            <ac:spMk id="223" creationId="{B0F34C19-B79E-2947-3A5F-BACEBB724AF2}"/>
          </ac:spMkLst>
        </pc:spChg>
        <pc:spChg chg="mod">
          <ac:chgData name="Kebba Jeng" userId="fe4cc296-ba7d-48a2-8799-89b58d218255" providerId="ADAL" clId="{253D94E7-442D-460C-9F4C-18558C0A0590}" dt="2022-05-22T16:49:32.969" v="945"/>
          <ac:spMkLst>
            <pc:docMk/>
            <pc:sldMk cId="1821985377" sldId="2134803575"/>
            <ac:spMk id="224" creationId="{6C5BFF33-FFD2-F164-6D49-9CB43DDE6B70}"/>
          </ac:spMkLst>
        </pc:spChg>
        <pc:spChg chg="mod">
          <ac:chgData name="Kebba Jeng" userId="fe4cc296-ba7d-48a2-8799-89b58d218255" providerId="ADAL" clId="{253D94E7-442D-460C-9F4C-18558C0A0590}" dt="2022-05-22T16:49:32.969" v="945"/>
          <ac:spMkLst>
            <pc:docMk/>
            <pc:sldMk cId="1821985377" sldId="2134803575"/>
            <ac:spMk id="225" creationId="{47927AB3-C044-9AF3-B73F-43B180D8C7B7}"/>
          </ac:spMkLst>
        </pc:spChg>
        <pc:spChg chg="mod">
          <ac:chgData name="Kebba Jeng" userId="fe4cc296-ba7d-48a2-8799-89b58d218255" providerId="ADAL" clId="{253D94E7-442D-460C-9F4C-18558C0A0590}" dt="2022-05-22T16:49:32.969" v="945"/>
          <ac:spMkLst>
            <pc:docMk/>
            <pc:sldMk cId="1821985377" sldId="2134803575"/>
            <ac:spMk id="226" creationId="{1EBD9CE9-6141-4979-43F0-05EA8DB854B6}"/>
          </ac:spMkLst>
        </pc:spChg>
        <pc:spChg chg="mod">
          <ac:chgData name="Kebba Jeng" userId="fe4cc296-ba7d-48a2-8799-89b58d218255" providerId="ADAL" clId="{253D94E7-442D-460C-9F4C-18558C0A0590}" dt="2022-05-22T16:49:32.969" v="945"/>
          <ac:spMkLst>
            <pc:docMk/>
            <pc:sldMk cId="1821985377" sldId="2134803575"/>
            <ac:spMk id="227" creationId="{01502430-1F5E-4D01-97D8-122CAA79DADD}"/>
          </ac:spMkLst>
        </pc:spChg>
        <pc:spChg chg="mod">
          <ac:chgData name="Kebba Jeng" userId="fe4cc296-ba7d-48a2-8799-89b58d218255" providerId="ADAL" clId="{253D94E7-442D-460C-9F4C-18558C0A0590}" dt="2022-05-22T16:49:32.969" v="945"/>
          <ac:spMkLst>
            <pc:docMk/>
            <pc:sldMk cId="1821985377" sldId="2134803575"/>
            <ac:spMk id="228" creationId="{A11E9DC0-19B5-556D-BA41-D5266443AA51}"/>
          </ac:spMkLst>
        </pc:spChg>
        <pc:spChg chg="mod">
          <ac:chgData name="Kebba Jeng" userId="fe4cc296-ba7d-48a2-8799-89b58d218255" providerId="ADAL" clId="{253D94E7-442D-460C-9F4C-18558C0A0590}" dt="2022-05-22T16:49:32.969" v="945"/>
          <ac:spMkLst>
            <pc:docMk/>
            <pc:sldMk cId="1821985377" sldId="2134803575"/>
            <ac:spMk id="229" creationId="{C844CB3C-E0A6-2DBF-1B0C-CD2DE9351B1B}"/>
          </ac:spMkLst>
        </pc:spChg>
        <pc:spChg chg="mod">
          <ac:chgData name="Kebba Jeng" userId="fe4cc296-ba7d-48a2-8799-89b58d218255" providerId="ADAL" clId="{253D94E7-442D-460C-9F4C-18558C0A0590}" dt="2022-05-22T16:49:32.969" v="945"/>
          <ac:spMkLst>
            <pc:docMk/>
            <pc:sldMk cId="1821985377" sldId="2134803575"/>
            <ac:spMk id="230" creationId="{E655CD26-14E8-2D57-1DBE-457CDCC037A6}"/>
          </ac:spMkLst>
        </pc:spChg>
        <pc:spChg chg="mod">
          <ac:chgData name="Kebba Jeng" userId="fe4cc296-ba7d-48a2-8799-89b58d218255" providerId="ADAL" clId="{253D94E7-442D-460C-9F4C-18558C0A0590}" dt="2022-05-22T16:49:32.969" v="945"/>
          <ac:spMkLst>
            <pc:docMk/>
            <pc:sldMk cId="1821985377" sldId="2134803575"/>
            <ac:spMk id="231" creationId="{5CCF3411-9D7D-3650-5A45-E670F8914DE0}"/>
          </ac:spMkLst>
        </pc:spChg>
        <pc:spChg chg="mod">
          <ac:chgData name="Kebba Jeng" userId="fe4cc296-ba7d-48a2-8799-89b58d218255" providerId="ADAL" clId="{253D94E7-442D-460C-9F4C-18558C0A0590}" dt="2022-05-22T16:49:32.969" v="945"/>
          <ac:spMkLst>
            <pc:docMk/>
            <pc:sldMk cId="1821985377" sldId="2134803575"/>
            <ac:spMk id="232" creationId="{09138975-2B8A-20AE-64E8-F10F7EA215D3}"/>
          </ac:spMkLst>
        </pc:spChg>
        <pc:spChg chg="mod">
          <ac:chgData name="Kebba Jeng" userId="fe4cc296-ba7d-48a2-8799-89b58d218255" providerId="ADAL" clId="{253D94E7-442D-460C-9F4C-18558C0A0590}" dt="2022-05-22T16:49:32.969" v="945"/>
          <ac:spMkLst>
            <pc:docMk/>
            <pc:sldMk cId="1821985377" sldId="2134803575"/>
            <ac:spMk id="233" creationId="{188950BD-38F9-D0BC-5BA4-2222CEAEFB2C}"/>
          </ac:spMkLst>
        </pc:spChg>
        <pc:spChg chg="mod">
          <ac:chgData name="Kebba Jeng" userId="fe4cc296-ba7d-48a2-8799-89b58d218255" providerId="ADAL" clId="{253D94E7-442D-460C-9F4C-18558C0A0590}" dt="2022-05-22T16:49:32.969" v="945"/>
          <ac:spMkLst>
            <pc:docMk/>
            <pc:sldMk cId="1821985377" sldId="2134803575"/>
            <ac:spMk id="234" creationId="{BFE4CE83-D520-A261-7A3E-FA5C505691DE}"/>
          </ac:spMkLst>
        </pc:spChg>
        <pc:spChg chg="mod">
          <ac:chgData name="Kebba Jeng" userId="fe4cc296-ba7d-48a2-8799-89b58d218255" providerId="ADAL" clId="{253D94E7-442D-460C-9F4C-18558C0A0590}" dt="2022-05-22T16:49:32.969" v="945"/>
          <ac:spMkLst>
            <pc:docMk/>
            <pc:sldMk cId="1821985377" sldId="2134803575"/>
            <ac:spMk id="235" creationId="{0203B217-2263-E9C3-1EC6-EE06AC90C8C2}"/>
          </ac:spMkLst>
        </pc:spChg>
        <pc:spChg chg="mod">
          <ac:chgData name="Kebba Jeng" userId="fe4cc296-ba7d-48a2-8799-89b58d218255" providerId="ADAL" clId="{253D94E7-442D-460C-9F4C-18558C0A0590}" dt="2022-05-22T16:49:32.969" v="945"/>
          <ac:spMkLst>
            <pc:docMk/>
            <pc:sldMk cId="1821985377" sldId="2134803575"/>
            <ac:spMk id="236" creationId="{FE39C167-B913-E4D3-9E6E-2F14D2677A8D}"/>
          </ac:spMkLst>
        </pc:spChg>
        <pc:spChg chg="mod">
          <ac:chgData name="Kebba Jeng" userId="fe4cc296-ba7d-48a2-8799-89b58d218255" providerId="ADAL" clId="{253D94E7-442D-460C-9F4C-18558C0A0590}" dt="2022-05-22T16:49:32.969" v="945"/>
          <ac:spMkLst>
            <pc:docMk/>
            <pc:sldMk cId="1821985377" sldId="2134803575"/>
            <ac:spMk id="237" creationId="{51DD8A54-A5F7-4EFE-F297-ABC3581053A0}"/>
          </ac:spMkLst>
        </pc:spChg>
        <pc:spChg chg="mod">
          <ac:chgData name="Kebba Jeng" userId="fe4cc296-ba7d-48a2-8799-89b58d218255" providerId="ADAL" clId="{253D94E7-442D-460C-9F4C-18558C0A0590}" dt="2022-05-22T16:49:32.969" v="945"/>
          <ac:spMkLst>
            <pc:docMk/>
            <pc:sldMk cId="1821985377" sldId="2134803575"/>
            <ac:spMk id="238" creationId="{D2BD7A17-C363-0349-851D-B3B2DAE2C829}"/>
          </ac:spMkLst>
        </pc:spChg>
        <pc:spChg chg="mod">
          <ac:chgData name="Kebba Jeng" userId="fe4cc296-ba7d-48a2-8799-89b58d218255" providerId="ADAL" clId="{253D94E7-442D-460C-9F4C-18558C0A0590}" dt="2022-05-22T16:49:32.969" v="945"/>
          <ac:spMkLst>
            <pc:docMk/>
            <pc:sldMk cId="1821985377" sldId="2134803575"/>
            <ac:spMk id="239" creationId="{D3B9CCC7-DE48-2A82-5FEA-46E987A2138B}"/>
          </ac:spMkLst>
        </pc:spChg>
        <pc:spChg chg="mod">
          <ac:chgData name="Kebba Jeng" userId="fe4cc296-ba7d-48a2-8799-89b58d218255" providerId="ADAL" clId="{253D94E7-442D-460C-9F4C-18558C0A0590}" dt="2022-05-22T16:49:32.969" v="945"/>
          <ac:spMkLst>
            <pc:docMk/>
            <pc:sldMk cId="1821985377" sldId="2134803575"/>
            <ac:spMk id="240" creationId="{DEBDD88A-EF1A-33A1-30F7-A87C7B51584E}"/>
          </ac:spMkLst>
        </pc:spChg>
        <pc:spChg chg="mod">
          <ac:chgData name="Kebba Jeng" userId="fe4cc296-ba7d-48a2-8799-89b58d218255" providerId="ADAL" clId="{253D94E7-442D-460C-9F4C-18558C0A0590}" dt="2022-05-22T16:49:32.969" v="945"/>
          <ac:spMkLst>
            <pc:docMk/>
            <pc:sldMk cId="1821985377" sldId="2134803575"/>
            <ac:spMk id="241" creationId="{38A25D89-F12F-16DC-BB93-F0C852A88356}"/>
          </ac:spMkLst>
        </pc:spChg>
        <pc:spChg chg="mod">
          <ac:chgData name="Kebba Jeng" userId="fe4cc296-ba7d-48a2-8799-89b58d218255" providerId="ADAL" clId="{253D94E7-442D-460C-9F4C-18558C0A0590}" dt="2022-05-22T16:49:32.969" v="945"/>
          <ac:spMkLst>
            <pc:docMk/>
            <pc:sldMk cId="1821985377" sldId="2134803575"/>
            <ac:spMk id="242" creationId="{B72479E4-3F01-7924-A211-5F821B63E7D8}"/>
          </ac:spMkLst>
        </pc:spChg>
        <pc:spChg chg="mod">
          <ac:chgData name="Kebba Jeng" userId="fe4cc296-ba7d-48a2-8799-89b58d218255" providerId="ADAL" clId="{253D94E7-442D-460C-9F4C-18558C0A0590}" dt="2022-05-22T16:49:32.969" v="945"/>
          <ac:spMkLst>
            <pc:docMk/>
            <pc:sldMk cId="1821985377" sldId="2134803575"/>
            <ac:spMk id="243" creationId="{60D5B1A4-8331-3E3B-FC0B-0EF3F27E4EDA}"/>
          </ac:spMkLst>
        </pc:spChg>
        <pc:spChg chg="mod">
          <ac:chgData name="Kebba Jeng" userId="fe4cc296-ba7d-48a2-8799-89b58d218255" providerId="ADAL" clId="{253D94E7-442D-460C-9F4C-18558C0A0590}" dt="2022-05-22T16:49:32.969" v="945"/>
          <ac:spMkLst>
            <pc:docMk/>
            <pc:sldMk cId="1821985377" sldId="2134803575"/>
            <ac:spMk id="244" creationId="{8B9958CC-C5A8-6845-191B-118DB29C39AA}"/>
          </ac:spMkLst>
        </pc:spChg>
        <pc:spChg chg="mod">
          <ac:chgData name="Kebba Jeng" userId="fe4cc296-ba7d-48a2-8799-89b58d218255" providerId="ADAL" clId="{253D94E7-442D-460C-9F4C-18558C0A0590}" dt="2022-05-22T16:49:32.969" v="945"/>
          <ac:spMkLst>
            <pc:docMk/>
            <pc:sldMk cId="1821985377" sldId="2134803575"/>
            <ac:spMk id="245" creationId="{85150404-DD19-C564-278A-74BB7DD4D635}"/>
          </ac:spMkLst>
        </pc:spChg>
        <pc:spChg chg="mod">
          <ac:chgData name="Kebba Jeng" userId="fe4cc296-ba7d-48a2-8799-89b58d218255" providerId="ADAL" clId="{253D94E7-442D-460C-9F4C-18558C0A0590}" dt="2022-05-22T16:49:32.969" v="945"/>
          <ac:spMkLst>
            <pc:docMk/>
            <pc:sldMk cId="1821985377" sldId="2134803575"/>
            <ac:spMk id="246" creationId="{E12B215C-AE34-A7FD-5C9D-C5468C58FF11}"/>
          </ac:spMkLst>
        </pc:spChg>
        <pc:spChg chg="mod">
          <ac:chgData name="Kebba Jeng" userId="fe4cc296-ba7d-48a2-8799-89b58d218255" providerId="ADAL" clId="{253D94E7-442D-460C-9F4C-18558C0A0590}" dt="2022-05-22T16:49:32.969" v="945"/>
          <ac:spMkLst>
            <pc:docMk/>
            <pc:sldMk cId="1821985377" sldId="2134803575"/>
            <ac:spMk id="247" creationId="{30D63C52-9779-66F5-B771-FDBB15DCA535}"/>
          </ac:spMkLst>
        </pc:spChg>
        <pc:spChg chg="mod">
          <ac:chgData name="Kebba Jeng" userId="fe4cc296-ba7d-48a2-8799-89b58d218255" providerId="ADAL" clId="{253D94E7-442D-460C-9F4C-18558C0A0590}" dt="2022-05-22T16:49:32.969" v="945"/>
          <ac:spMkLst>
            <pc:docMk/>
            <pc:sldMk cId="1821985377" sldId="2134803575"/>
            <ac:spMk id="248" creationId="{8EBDB3E5-D322-03B7-532F-B2CCB9A63031}"/>
          </ac:spMkLst>
        </pc:spChg>
        <pc:spChg chg="mod">
          <ac:chgData name="Kebba Jeng" userId="fe4cc296-ba7d-48a2-8799-89b58d218255" providerId="ADAL" clId="{253D94E7-442D-460C-9F4C-18558C0A0590}" dt="2022-05-22T16:49:32.969" v="945"/>
          <ac:spMkLst>
            <pc:docMk/>
            <pc:sldMk cId="1821985377" sldId="2134803575"/>
            <ac:spMk id="249" creationId="{88A48024-EC53-18E4-5E87-9FBD7529E2A0}"/>
          </ac:spMkLst>
        </pc:spChg>
        <pc:spChg chg="mod">
          <ac:chgData name="Kebba Jeng" userId="fe4cc296-ba7d-48a2-8799-89b58d218255" providerId="ADAL" clId="{253D94E7-442D-460C-9F4C-18558C0A0590}" dt="2022-05-22T16:49:32.969" v="945"/>
          <ac:spMkLst>
            <pc:docMk/>
            <pc:sldMk cId="1821985377" sldId="2134803575"/>
            <ac:spMk id="250" creationId="{7B751C67-9F25-2E89-A75E-45E7E6D388D7}"/>
          </ac:spMkLst>
        </pc:spChg>
        <pc:spChg chg="mod">
          <ac:chgData name="Kebba Jeng" userId="fe4cc296-ba7d-48a2-8799-89b58d218255" providerId="ADAL" clId="{253D94E7-442D-460C-9F4C-18558C0A0590}" dt="2022-05-22T16:49:32.969" v="945"/>
          <ac:spMkLst>
            <pc:docMk/>
            <pc:sldMk cId="1821985377" sldId="2134803575"/>
            <ac:spMk id="251" creationId="{176F2F73-1D83-CFB2-C80F-05BE288C2762}"/>
          </ac:spMkLst>
        </pc:spChg>
        <pc:spChg chg="mod">
          <ac:chgData name="Kebba Jeng" userId="fe4cc296-ba7d-48a2-8799-89b58d218255" providerId="ADAL" clId="{253D94E7-442D-460C-9F4C-18558C0A0590}" dt="2022-05-22T16:49:32.969" v="945"/>
          <ac:spMkLst>
            <pc:docMk/>
            <pc:sldMk cId="1821985377" sldId="2134803575"/>
            <ac:spMk id="252" creationId="{D9E862F2-EDFD-D907-4A4C-C830CA8DA2C1}"/>
          </ac:spMkLst>
        </pc:spChg>
        <pc:spChg chg="mod">
          <ac:chgData name="Kebba Jeng" userId="fe4cc296-ba7d-48a2-8799-89b58d218255" providerId="ADAL" clId="{253D94E7-442D-460C-9F4C-18558C0A0590}" dt="2022-05-22T16:49:32.969" v="945"/>
          <ac:spMkLst>
            <pc:docMk/>
            <pc:sldMk cId="1821985377" sldId="2134803575"/>
            <ac:spMk id="253" creationId="{69B42D45-380C-54EF-5A67-50B837AC2B8F}"/>
          </ac:spMkLst>
        </pc:spChg>
        <pc:spChg chg="mod">
          <ac:chgData name="Kebba Jeng" userId="fe4cc296-ba7d-48a2-8799-89b58d218255" providerId="ADAL" clId="{253D94E7-442D-460C-9F4C-18558C0A0590}" dt="2022-05-22T16:49:32.969" v="945"/>
          <ac:spMkLst>
            <pc:docMk/>
            <pc:sldMk cId="1821985377" sldId="2134803575"/>
            <ac:spMk id="254" creationId="{211E6963-EE7E-4FC7-EFF7-AC4F919859BB}"/>
          </ac:spMkLst>
        </pc:spChg>
        <pc:spChg chg="mod">
          <ac:chgData name="Kebba Jeng" userId="fe4cc296-ba7d-48a2-8799-89b58d218255" providerId="ADAL" clId="{253D94E7-442D-460C-9F4C-18558C0A0590}" dt="2022-05-22T16:49:32.969" v="945"/>
          <ac:spMkLst>
            <pc:docMk/>
            <pc:sldMk cId="1821985377" sldId="2134803575"/>
            <ac:spMk id="255" creationId="{B5D3FAEE-AE84-84A1-B11D-F54484A8C9EA}"/>
          </ac:spMkLst>
        </pc:spChg>
        <pc:spChg chg="mod">
          <ac:chgData name="Kebba Jeng" userId="fe4cc296-ba7d-48a2-8799-89b58d218255" providerId="ADAL" clId="{253D94E7-442D-460C-9F4C-18558C0A0590}" dt="2022-05-22T16:49:32.969" v="945"/>
          <ac:spMkLst>
            <pc:docMk/>
            <pc:sldMk cId="1821985377" sldId="2134803575"/>
            <ac:spMk id="256" creationId="{C606607B-7257-E0CE-1503-C3AE277F1887}"/>
          </ac:spMkLst>
        </pc:spChg>
        <pc:spChg chg="mod">
          <ac:chgData name="Kebba Jeng" userId="fe4cc296-ba7d-48a2-8799-89b58d218255" providerId="ADAL" clId="{253D94E7-442D-460C-9F4C-18558C0A0590}" dt="2022-05-22T16:49:32.969" v="945"/>
          <ac:spMkLst>
            <pc:docMk/>
            <pc:sldMk cId="1821985377" sldId="2134803575"/>
            <ac:spMk id="257" creationId="{DD3FE6A6-4DFF-9B37-4CE8-C815F7E0E33D}"/>
          </ac:spMkLst>
        </pc:spChg>
        <pc:spChg chg="mod">
          <ac:chgData name="Kebba Jeng" userId="fe4cc296-ba7d-48a2-8799-89b58d218255" providerId="ADAL" clId="{253D94E7-442D-460C-9F4C-18558C0A0590}" dt="2022-05-22T16:49:32.969" v="945"/>
          <ac:spMkLst>
            <pc:docMk/>
            <pc:sldMk cId="1821985377" sldId="2134803575"/>
            <ac:spMk id="258" creationId="{892C7F68-F66D-CA42-93D4-AA1CE92CD72E}"/>
          </ac:spMkLst>
        </pc:spChg>
        <pc:spChg chg="mod">
          <ac:chgData name="Kebba Jeng" userId="fe4cc296-ba7d-48a2-8799-89b58d218255" providerId="ADAL" clId="{253D94E7-442D-460C-9F4C-18558C0A0590}" dt="2022-05-22T16:49:32.969" v="945"/>
          <ac:spMkLst>
            <pc:docMk/>
            <pc:sldMk cId="1821985377" sldId="2134803575"/>
            <ac:spMk id="259" creationId="{45985E0F-1F28-A53A-4827-12747249F163}"/>
          </ac:spMkLst>
        </pc:spChg>
        <pc:spChg chg="mod">
          <ac:chgData name="Kebba Jeng" userId="fe4cc296-ba7d-48a2-8799-89b58d218255" providerId="ADAL" clId="{253D94E7-442D-460C-9F4C-18558C0A0590}" dt="2022-05-22T16:49:32.969" v="945"/>
          <ac:spMkLst>
            <pc:docMk/>
            <pc:sldMk cId="1821985377" sldId="2134803575"/>
            <ac:spMk id="260" creationId="{52953E53-93C6-46E2-862D-6E97B7E09224}"/>
          </ac:spMkLst>
        </pc:spChg>
        <pc:spChg chg="mod">
          <ac:chgData name="Kebba Jeng" userId="fe4cc296-ba7d-48a2-8799-89b58d218255" providerId="ADAL" clId="{253D94E7-442D-460C-9F4C-18558C0A0590}" dt="2022-05-22T16:49:32.969" v="945"/>
          <ac:spMkLst>
            <pc:docMk/>
            <pc:sldMk cId="1821985377" sldId="2134803575"/>
            <ac:spMk id="261" creationId="{9F7ED959-BC2C-0937-E422-9796EA266AED}"/>
          </ac:spMkLst>
        </pc:spChg>
        <pc:spChg chg="mod">
          <ac:chgData name="Kebba Jeng" userId="fe4cc296-ba7d-48a2-8799-89b58d218255" providerId="ADAL" clId="{253D94E7-442D-460C-9F4C-18558C0A0590}" dt="2022-05-22T16:49:32.969" v="945"/>
          <ac:spMkLst>
            <pc:docMk/>
            <pc:sldMk cId="1821985377" sldId="2134803575"/>
            <ac:spMk id="262" creationId="{F070428A-627E-2751-2718-AACC5FF53F30}"/>
          </ac:spMkLst>
        </pc:spChg>
        <pc:spChg chg="mod">
          <ac:chgData name="Kebba Jeng" userId="fe4cc296-ba7d-48a2-8799-89b58d218255" providerId="ADAL" clId="{253D94E7-442D-460C-9F4C-18558C0A0590}" dt="2022-05-22T16:49:32.969" v="945"/>
          <ac:spMkLst>
            <pc:docMk/>
            <pc:sldMk cId="1821985377" sldId="2134803575"/>
            <ac:spMk id="263" creationId="{79CB85F6-43B9-61F1-9167-73B0E571F44A}"/>
          </ac:spMkLst>
        </pc:spChg>
        <pc:spChg chg="mod">
          <ac:chgData name="Kebba Jeng" userId="fe4cc296-ba7d-48a2-8799-89b58d218255" providerId="ADAL" clId="{253D94E7-442D-460C-9F4C-18558C0A0590}" dt="2022-05-22T16:49:32.969" v="945"/>
          <ac:spMkLst>
            <pc:docMk/>
            <pc:sldMk cId="1821985377" sldId="2134803575"/>
            <ac:spMk id="264" creationId="{E1A114CB-B484-A043-2F49-EFA415B0D7F1}"/>
          </ac:spMkLst>
        </pc:spChg>
        <pc:spChg chg="mod">
          <ac:chgData name="Kebba Jeng" userId="fe4cc296-ba7d-48a2-8799-89b58d218255" providerId="ADAL" clId="{253D94E7-442D-460C-9F4C-18558C0A0590}" dt="2022-05-22T16:49:32.969" v="945"/>
          <ac:spMkLst>
            <pc:docMk/>
            <pc:sldMk cId="1821985377" sldId="2134803575"/>
            <ac:spMk id="265" creationId="{E498D9D5-FD28-25FD-1B63-B7FE66A49F0E}"/>
          </ac:spMkLst>
        </pc:spChg>
        <pc:spChg chg="mod">
          <ac:chgData name="Kebba Jeng" userId="fe4cc296-ba7d-48a2-8799-89b58d218255" providerId="ADAL" clId="{253D94E7-442D-460C-9F4C-18558C0A0590}" dt="2022-05-22T16:49:32.969" v="945"/>
          <ac:spMkLst>
            <pc:docMk/>
            <pc:sldMk cId="1821985377" sldId="2134803575"/>
            <ac:spMk id="266" creationId="{1EBD41FB-A576-1166-CE1D-74085FB2B945}"/>
          </ac:spMkLst>
        </pc:spChg>
        <pc:spChg chg="mod">
          <ac:chgData name="Kebba Jeng" userId="fe4cc296-ba7d-48a2-8799-89b58d218255" providerId="ADAL" clId="{253D94E7-442D-460C-9F4C-18558C0A0590}" dt="2022-05-22T16:49:32.969" v="945"/>
          <ac:spMkLst>
            <pc:docMk/>
            <pc:sldMk cId="1821985377" sldId="2134803575"/>
            <ac:spMk id="267" creationId="{17502FBE-28E2-48BF-447D-E507C8DD20C7}"/>
          </ac:spMkLst>
        </pc:spChg>
        <pc:spChg chg="mod">
          <ac:chgData name="Kebba Jeng" userId="fe4cc296-ba7d-48a2-8799-89b58d218255" providerId="ADAL" clId="{253D94E7-442D-460C-9F4C-18558C0A0590}" dt="2022-05-22T16:49:32.969" v="945"/>
          <ac:spMkLst>
            <pc:docMk/>
            <pc:sldMk cId="1821985377" sldId="2134803575"/>
            <ac:spMk id="268" creationId="{360FE88B-22A9-3A3A-E02E-7AD086965A8E}"/>
          </ac:spMkLst>
        </pc:spChg>
        <pc:spChg chg="mod">
          <ac:chgData name="Kebba Jeng" userId="fe4cc296-ba7d-48a2-8799-89b58d218255" providerId="ADAL" clId="{253D94E7-442D-460C-9F4C-18558C0A0590}" dt="2022-05-22T16:49:37.073" v="949"/>
          <ac:spMkLst>
            <pc:docMk/>
            <pc:sldMk cId="1821985377" sldId="2134803575"/>
            <ac:spMk id="272" creationId="{B5AFAA2B-C385-6305-FD49-A18E7FA198E3}"/>
          </ac:spMkLst>
        </pc:spChg>
        <pc:spChg chg="mod">
          <ac:chgData name="Kebba Jeng" userId="fe4cc296-ba7d-48a2-8799-89b58d218255" providerId="ADAL" clId="{253D94E7-442D-460C-9F4C-18558C0A0590}" dt="2022-05-22T16:49:37.073" v="949"/>
          <ac:spMkLst>
            <pc:docMk/>
            <pc:sldMk cId="1821985377" sldId="2134803575"/>
            <ac:spMk id="273" creationId="{5ACBA1CD-B92D-2C4B-3A69-F2A79F481F2C}"/>
          </ac:spMkLst>
        </pc:spChg>
        <pc:spChg chg="mod">
          <ac:chgData name="Kebba Jeng" userId="fe4cc296-ba7d-48a2-8799-89b58d218255" providerId="ADAL" clId="{253D94E7-442D-460C-9F4C-18558C0A0590}" dt="2022-05-22T16:49:37.073" v="949"/>
          <ac:spMkLst>
            <pc:docMk/>
            <pc:sldMk cId="1821985377" sldId="2134803575"/>
            <ac:spMk id="274" creationId="{6E4F66DD-10EC-3CA4-1DEA-6C3DE63E0C5B}"/>
          </ac:spMkLst>
        </pc:spChg>
        <pc:spChg chg="mod">
          <ac:chgData name="Kebba Jeng" userId="fe4cc296-ba7d-48a2-8799-89b58d218255" providerId="ADAL" clId="{253D94E7-442D-460C-9F4C-18558C0A0590}" dt="2022-05-22T16:49:37.073" v="949"/>
          <ac:spMkLst>
            <pc:docMk/>
            <pc:sldMk cId="1821985377" sldId="2134803575"/>
            <ac:spMk id="275" creationId="{55C3136B-774A-3A55-E4D5-C83786EA4AC8}"/>
          </ac:spMkLst>
        </pc:spChg>
        <pc:spChg chg="mod">
          <ac:chgData name="Kebba Jeng" userId="fe4cc296-ba7d-48a2-8799-89b58d218255" providerId="ADAL" clId="{253D94E7-442D-460C-9F4C-18558C0A0590}" dt="2022-05-22T16:49:37.073" v="949"/>
          <ac:spMkLst>
            <pc:docMk/>
            <pc:sldMk cId="1821985377" sldId="2134803575"/>
            <ac:spMk id="276" creationId="{FB211FBF-64EB-1AC1-D8ED-B618DB22DFFF}"/>
          </ac:spMkLst>
        </pc:spChg>
        <pc:spChg chg="mod">
          <ac:chgData name="Kebba Jeng" userId="fe4cc296-ba7d-48a2-8799-89b58d218255" providerId="ADAL" clId="{253D94E7-442D-460C-9F4C-18558C0A0590}" dt="2022-05-22T16:49:37.073" v="949"/>
          <ac:spMkLst>
            <pc:docMk/>
            <pc:sldMk cId="1821985377" sldId="2134803575"/>
            <ac:spMk id="277" creationId="{D31A2ADA-7C81-67D0-2F58-C6A3ACF2E9B5}"/>
          </ac:spMkLst>
        </pc:spChg>
        <pc:spChg chg="mod">
          <ac:chgData name="Kebba Jeng" userId="fe4cc296-ba7d-48a2-8799-89b58d218255" providerId="ADAL" clId="{253D94E7-442D-460C-9F4C-18558C0A0590}" dt="2022-05-22T16:49:37.073" v="949"/>
          <ac:spMkLst>
            <pc:docMk/>
            <pc:sldMk cId="1821985377" sldId="2134803575"/>
            <ac:spMk id="278" creationId="{89121387-BB42-606C-7FB2-3678C322CE74}"/>
          </ac:spMkLst>
        </pc:spChg>
        <pc:spChg chg="mod">
          <ac:chgData name="Kebba Jeng" userId="fe4cc296-ba7d-48a2-8799-89b58d218255" providerId="ADAL" clId="{253D94E7-442D-460C-9F4C-18558C0A0590}" dt="2022-05-22T16:49:37.073" v="949"/>
          <ac:spMkLst>
            <pc:docMk/>
            <pc:sldMk cId="1821985377" sldId="2134803575"/>
            <ac:spMk id="279" creationId="{059670E1-9447-01B4-4C99-69F8E3C78B59}"/>
          </ac:spMkLst>
        </pc:spChg>
        <pc:spChg chg="mod">
          <ac:chgData name="Kebba Jeng" userId="fe4cc296-ba7d-48a2-8799-89b58d218255" providerId="ADAL" clId="{253D94E7-442D-460C-9F4C-18558C0A0590}" dt="2022-05-22T16:49:37.073" v="949"/>
          <ac:spMkLst>
            <pc:docMk/>
            <pc:sldMk cId="1821985377" sldId="2134803575"/>
            <ac:spMk id="280" creationId="{E71F4250-DF49-B5B9-1379-EA180383B341}"/>
          </ac:spMkLst>
        </pc:spChg>
        <pc:spChg chg="mod">
          <ac:chgData name="Kebba Jeng" userId="fe4cc296-ba7d-48a2-8799-89b58d218255" providerId="ADAL" clId="{253D94E7-442D-460C-9F4C-18558C0A0590}" dt="2022-05-22T16:49:37.073" v="949"/>
          <ac:spMkLst>
            <pc:docMk/>
            <pc:sldMk cId="1821985377" sldId="2134803575"/>
            <ac:spMk id="281" creationId="{56BB0304-D91F-F865-8350-B222DBDB5DE4}"/>
          </ac:spMkLst>
        </pc:spChg>
        <pc:spChg chg="mod">
          <ac:chgData name="Kebba Jeng" userId="fe4cc296-ba7d-48a2-8799-89b58d218255" providerId="ADAL" clId="{253D94E7-442D-460C-9F4C-18558C0A0590}" dt="2022-05-22T16:49:37.073" v="949"/>
          <ac:spMkLst>
            <pc:docMk/>
            <pc:sldMk cId="1821985377" sldId="2134803575"/>
            <ac:spMk id="282" creationId="{29DF2D7A-8214-21A4-D0E7-167ECB0E6F6D}"/>
          </ac:spMkLst>
        </pc:spChg>
        <pc:spChg chg="mod">
          <ac:chgData name="Kebba Jeng" userId="fe4cc296-ba7d-48a2-8799-89b58d218255" providerId="ADAL" clId="{253D94E7-442D-460C-9F4C-18558C0A0590}" dt="2022-05-22T16:49:37.073" v="949"/>
          <ac:spMkLst>
            <pc:docMk/>
            <pc:sldMk cId="1821985377" sldId="2134803575"/>
            <ac:spMk id="283" creationId="{B20B0258-4FB3-E53F-5F2E-97092567EA61}"/>
          </ac:spMkLst>
        </pc:spChg>
        <pc:spChg chg="mod">
          <ac:chgData name="Kebba Jeng" userId="fe4cc296-ba7d-48a2-8799-89b58d218255" providerId="ADAL" clId="{253D94E7-442D-460C-9F4C-18558C0A0590}" dt="2022-05-22T16:49:37.073" v="949"/>
          <ac:spMkLst>
            <pc:docMk/>
            <pc:sldMk cId="1821985377" sldId="2134803575"/>
            <ac:spMk id="284" creationId="{F176F0EE-F403-BDC0-7C8A-1A9C6AC0C974}"/>
          </ac:spMkLst>
        </pc:spChg>
        <pc:spChg chg="mod">
          <ac:chgData name="Kebba Jeng" userId="fe4cc296-ba7d-48a2-8799-89b58d218255" providerId="ADAL" clId="{253D94E7-442D-460C-9F4C-18558C0A0590}" dt="2022-05-22T16:49:37.073" v="949"/>
          <ac:spMkLst>
            <pc:docMk/>
            <pc:sldMk cId="1821985377" sldId="2134803575"/>
            <ac:spMk id="285" creationId="{02A00863-92E5-6448-DAD1-1BEE6C7E95A2}"/>
          </ac:spMkLst>
        </pc:spChg>
        <pc:spChg chg="mod">
          <ac:chgData name="Kebba Jeng" userId="fe4cc296-ba7d-48a2-8799-89b58d218255" providerId="ADAL" clId="{253D94E7-442D-460C-9F4C-18558C0A0590}" dt="2022-05-22T16:49:37.073" v="949"/>
          <ac:spMkLst>
            <pc:docMk/>
            <pc:sldMk cId="1821985377" sldId="2134803575"/>
            <ac:spMk id="286" creationId="{B6A65C3E-01FF-6865-0A21-8CBF10C273B9}"/>
          </ac:spMkLst>
        </pc:spChg>
        <pc:spChg chg="mod">
          <ac:chgData name="Kebba Jeng" userId="fe4cc296-ba7d-48a2-8799-89b58d218255" providerId="ADAL" clId="{253D94E7-442D-460C-9F4C-18558C0A0590}" dt="2022-05-22T16:49:37.073" v="949"/>
          <ac:spMkLst>
            <pc:docMk/>
            <pc:sldMk cId="1821985377" sldId="2134803575"/>
            <ac:spMk id="287" creationId="{074D0634-9905-0D6A-23EE-9086CAD65A14}"/>
          </ac:spMkLst>
        </pc:spChg>
        <pc:spChg chg="mod">
          <ac:chgData name="Kebba Jeng" userId="fe4cc296-ba7d-48a2-8799-89b58d218255" providerId="ADAL" clId="{253D94E7-442D-460C-9F4C-18558C0A0590}" dt="2022-05-22T16:49:37.073" v="949"/>
          <ac:spMkLst>
            <pc:docMk/>
            <pc:sldMk cId="1821985377" sldId="2134803575"/>
            <ac:spMk id="288" creationId="{B920C023-FEEC-B8F6-D6EE-781F39B35724}"/>
          </ac:spMkLst>
        </pc:spChg>
        <pc:spChg chg="mod">
          <ac:chgData name="Kebba Jeng" userId="fe4cc296-ba7d-48a2-8799-89b58d218255" providerId="ADAL" clId="{253D94E7-442D-460C-9F4C-18558C0A0590}" dt="2022-05-22T16:49:37.073" v="949"/>
          <ac:spMkLst>
            <pc:docMk/>
            <pc:sldMk cId="1821985377" sldId="2134803575"/>
            <ac:spMk id="289" creationId="{144365A0-BB67-1A3F-49CE-FC230577A6A1}"/>
          </ac:spMkLst>
        </pc:spChg>
        <pc:spChg chg="mod">
          <ac:chgData name="Kebba Jeng" userId="fe4cc296-ba7d-48a2-8799-89b58d218255" providerId="ADAL" clId="{253D94E7-442D-460C-9F4C-18558C0A0590}" dt="2022-05-22T16:49:37.073" v="949"/>
          <ac:spMkLst>
            <pc:docMk/>
            <pc:sldMk cId="1821985377" sldId="2134803575"/>
            <ac:spMk id="290" creationId="{3AAD11DF-CC7E-F060-6899-D2398EF4AF91}"/>
          </ac:spMkLst>
        </pc:spChg>
        <pc:spChg chg="mod">
          <ac:chgData name="Kebba Jeng" userId="fe4cc296-ba7d-48a2-8799-89b58d218255" providerId="ADAL" clId="{253D94E7-442D-460C-9F4C-18558C0A0590}" dt="2022-05-22T16:49:37.073" v="949"/>
          <ac:spMkLst>
            <pc:docMk/>
            <pc:sldMk cId="1821985377" sldId="2134803575"/>
            <ac:spMk id="291" creationId="{7C175BA1-9031-9F0B-00DF-E4286A5C767E}"/>
          </ac:spMkLst>
        </pc:spChg>
        <pc:spChg chg="mod">
          <ac:chgData name="Kebba Jeng" userId="fe4cc296-ba7d-48a2-8799-89b58d218255" providerId="ADAL" clId="{253D94E7-442D-460C-9F4C-18558C0A0590}" dt="2022-05-22T16:49:37.073" v="949"/>
          <ac:spMkLst>
            <pc:docMk/>
            <pc:sldMk cId="1821985377" sldId="2134803575"/>
            <ac:spMk id="292" creationId="{C17D50AB-C6B8-5251-D2DA-5CB39E963F13}"/>
          </ac:spMkLst>
        </pc:spChg>
        <pc:spChg chg="mod">
          <ac:chgData name="Kebba Jeng" userId="fe4cc296-ba7d-48a2-8799-89b58d218255" providerId="ADAL" clId="{253D94E7-442D-460C-9F4C-18558C0A0590}" dt="2022-05-22T16:49:37.073" v="949"/>
          <ac:spMkLst>
            <pc:docMk/>
            <pc:sldMk cId="1821985377" sldId="2134803575"/>
            <ac:spMk id="293" creationId="{5E1AF264-2E9D-E94E-D0DE-6AF458AFBBA4}"/>
          </ac:spMkLst>
        </pc:spChg>
        <pc:spChg chg="mod">
          <ac:chgData name="Kebba Jeng" userId="fe4cc296-ba7d-48a2-8799-89b58d218255" providerId="ADAL" clId="{253D94E7-442D-460C-9F4C-18558C0A0590}" dt="2022-05-22T16:49:37.073" v="949"/>
          <ac:spMkLst>
            <pc:docMk/>
            <pc:sldMk cId="1821985377" sldId="2134803575"/>
            <ac:spMk id="294" creationId="{4296A417-9911-B7D7-398E-6EEA5433B3DC}"/>
          </ac:spMkLst>
        </pc:spChg>
        <pc:spChg chg="mod">
          <ac:chgData name="Kebba Jeng" userId="fe4cc296-ba7d-48a2-8799-89b58d218255" providerId="ADAL" clId="{253D94E7-442D-460C-9F4C-18558C0A0590}" dt="2022-05-22T16:49:37.073" v="949"/>
          <ac:spMkLst>
            <pc:docMk/>
            <pc:sldMk cId="1821985377" sldId="2134803575"/>
            <ac:spMk id="295" creationId="{9B3C4B89-6CBD-3A44-6AAD-A55574346D69}"/>
          </ac:spMkLst>
        </pc:spChg>
        <pc:spChg chg="mod">
          <ac:chgData name="Kebba Jeng" userId="fe4cc296-ba7d-48a2-8799-89b58d218255" providerId="ADAL" clId="{253D94E7-442D-460C-9F4C-18558C0A0590}" dt="2022-05-22T16:49:37.073" v="949"/>
          <ac:spMkLst>
            <pc:docMk/>
            <pc:sldMk cId="1821985377" sldId="2134803575"/>
            <ac:spMk id="296" creationId="{73B069CB-3FE1-DF99-6704-065CD67E6451}"/>
          </ac:spMkLst>
        </pc:spChg>
        <pc:spChg chg="mod">
          <ac:chgData name="Kebba Jeng" userId="fe4cc296-ba7d-48a2-8799-89b58d218255" providerId="ADAL" clId="{253D94E7-442D-460C-9F4C-18558C0A0590}" dt="2022-05-22T16:49:37.073" v="949"/>
          <ac:spMkLst>
            <pc:docMk/>
            <pc:sldMk cId="1821985377" sldId="2134803575"/>
            <ac:spMk id="297" creationId="{66C4CB9C-CC59-34EB-F505-5B018EBA1AD1}"/>
          </ac:spMkLst>
        </pc:spChg>
        <pc:spChg chg="mod">
          <ac:chgData name="Kebba Jeng" userId="fe4cc296-ba7d-48a2-8799-89b58d218255" providerId="ADAL" clId="{253D94E7-442D-460C-9F4C-18558C0A0590}" dt="2022-05-22T16:49:37.073" v="949"/>
          <ac:spMkLst>
            <pc:docMk/>
            <pc:sldMk cId="1821985377" sldId="2134803575"/>
            <ac:spMk id="298" creationId="{C70B818C-2952-B52A-5195-19AFF668981A}"/>
          </ac:spMkLst>
        </pc:spChg>
        <pc:spChg chg="mod">
          <ac:chgData name="Kebba Jeng" userId="fe4cc296-ba7d-48a2-8799-89b58d218255" providerId="ADAL" clId="{253D94E7-442D-460C-9F4C-18558C0A0590}" dt="2022-05-22T16:49:37.073" v="949"/>
          <ac:spMkLst>
            <pc:docMk/>
            <pc:sldMk cId="1821985377" sldId="2134803575"/>
            <ac:spMk id="299" creationId="{19A3FEC9-D19D-243A-2F9C-0F987E4E403B}"/>
          </ac:spMkLst>
        </pc:spChg>
        <pc:spChg chg="mod">
          <ac:chgData name="Kebba Jeng" userId="fe4cc296-ba7d-48a2-8799-89b58d218255" providerId="ADAL" clId="{253D94E7-442D-460C-9F4C-18558C0A0590}" dt="2022-05-22T16:49:37.073" v="949"/>
          <ac:spMkLst>
            <pc:docMk/>
            <pc:sldMk cId="1821985377" sldId="2134803575"/>
            <ac:spMk id="300" creationId="{85E1B092-FD10-E576-77C7-4CC632123654}"/>
          </ac:spMkLst>
        </pc:spChg>
        <pc:spChg chg="mod">
          <ac:chgData name="Kebba Jeng" userId="fe4cc296-ba7d-48a2-8799-89b58d218255" providerId="ADAL" clId="{253D94E7-442D-460C-9F4C-18558C0A0590}" dt="2022-05-22T16:49:37.073" v="949"/>
          <ac:spMkLst>
            <pc:docMk/>
            <pc:sldMk cId="1821985377" sldId="2134803575"/>
            <ac:spMk id="301" creationId="{39AD5A9A-EAAD-FA31-4B2A-118F016E5136}"/>
          </ac:spMkLst>
        </pc:spChg>
        <pc:spChg chg="mod">
          <ac:chgData name="Kebba Jeng" userId="fe4cc296-ba7d-48a2-8799-89b58d218255" providerId="ADAL" clId="{253D94E7-442D-460C-9F4C-18558C0A0590}" dt="2022-05-22T16:49:37.073" v="949"/>
          <ac:spMkLst>
            <pc:docMk/>
            <pc:sldMk cId="1821985377" sldId="2134803575"/>
            <ac:spMk id="302" creationId="{088A5DB7-A1C3-C6F1-7B13-7D025A9573BE}"/>
          </ac:spMkLst>
        </pc:spChg>
        <pc:spChg chg="mod">
          <ac:chgData name="Kebba Jeng" userId="fe4cc296-ba7d-48a2-8799-89b58d218255" providerId="ADAL" clId="{253D94E7-442D-460C-9F4C-18558C0A0590}" dt="2022-05-22T16:49:37.073" v="949"/>
          <ac:spMkLst>
            <pc:docMk/>
            <pc:sldMk cId="1821985377" sldId="2134803575"/>
            <ac:spMk id="303" creationId="{9530299D-6B26-56C0-CB7E-7B1B19F0FB83}"/>
          </ac:spMkLst>
        </pc:spChg>
        <pc:spChg chg="mod">
          <ac:chgData name="Kebba Jeng" userId="fe4cc296-ba7d-48a2-8799-89b58d218255" providerId="ADAL" clId="{253D94E7-442D-460C-9F4C-18558C0A0590}" dt="2022-05-22T16:49:37.073" v="949"/>
          <ac:spMkLst>
            <pc:docMk/>
            <pc:sldMk cId="1821985377" sldId="2134803575"/>
            <ac:spMk id="304" creationId="{2D8EE61A-DFEC-2267-45F3-57C5DA44EEE2}"/>
          </ac:spMkLst>
        </pc:spChg>
        <pc:spChg chg="mod">
          <ac:chgData name="Kebba Jeng" userId="fe4cc296-ba7d-48a2-8799-89b58d218255" providerId="ADAL" clId="{253D94E7-442D-460C-9F4C-18558C0A0590}" dt="2022-05-22T16:49:37.073" v="949"/>
          <ac:spMkLst>
            <pc:docMk/>
            <pc:sldMk cId="1821985377" sldId="2134803575"/>
            <ac:spMk id="305" creationId="{E661A7C3-B5D7-D5D3-BC40-B71D4BF4CC10}"/>
          </ac:spMkLst>
        </pc:spChg>
        <pc:spChg chg="mod">
          <ac:chgData name="Kebba Jeng" userId="fe4cc296-ba7d-48a2-8799-89b58d218255" providerId="ADAL" clId="{253D94E7-442D-460C-9F4C-18558C0A0590}" dt="2022-05-22T16:49:37.073" v="949"/>
          <ac:spMkLst>
            <pc:docMk/>
            <pc:sldMk cId="1821985377" sldId="2134803575"/>
            <ac:spMk id="306" creationId="{71AD00B1-5EDC-DDFF-B46E-28D1FF263BDC}"/>
          </ac:spMkLst>
        </pc:spChg>
        <pc:spChg chg="mod">
          <ac:chgData name="Kebba Jeng" userId="fe4cc296-ba7d-48a2-8799-89b58d218255" providerId="ADAL" clId="{253D94E7-442D-460C-9F4C-18558C0A0590}" dt="2022-05-22T16:49:37.073" v="949"/>
          <ac:spMkLst>
            <pc:docMk/>
            <pc:sldMk cId="1821985377" sldId="2134803575"/>
            <ac:spMk id="307" creationId="{2CAA80EB-B7D3-0330-6C71-74A02EB81E36}"/>
          </ac:spMkLst>
        </pc:spChg>
        <pc:spChg chg="mod">
          <ac:chgData name="Kebba Jeng" userId="fe4cc296-ba7d-48a2-8799-89b58d218255" providerId="ADAL" clId="{253D94E7-442D-460C-9F4C-18558C0A0590}" dt="2022-05-22T16:49:37.073" v="949"/>
          <ac:spMkLst>
            <pc:docMk/>
            <pc:sldMk cId="1821985377" sldId="2134803575"/>
            <ac:spMk id="308" creationId="{A8B34459-B298-6A68-CF92-D6990846FB52}"/>
          </ac:spMkLst>
        </pc:spChg>
        <pc:spChg chg="mod">
          <ac:chgData name="Kebba Jeng" userId="fe4cc296-ba7d-48a2-8799-89b58d218255" providerId="ADAL" clId="{253D94E7-442D-460C-9F4C-18558C0A0590}" dt="2022-05-22T16:49:37.073" v="949"/>
          <ac:spMkLst>
            <pc:docMk/>
            <pc:sldMk cId="1821985377" sldId="2134803575"/>
            <ac:spMk id="309" creationId="{4824A6AA-AB26-D5B8-0B78-EE4AA2864548}"/>
          </ac:spMkLst>
        </pc:spChg>
        <pc:spChg chg="mod">
          <ac:chgData name="Kebba Jeng" userId="fe4cc296-ba7d-48a2-8799-89b58d218255" providerId="ADAL" clId="{253D94E7-442D-460C-9F4C-18558C0A0590}" dt="2022-05-22T16:49:37.073" v="949"/>
          <ac:spMkLst>
            <pc:docMk/>
            <pc:sldMk cId="1821985377" sldId="2134803575"/>
            <ac:spMk id="310" creationId="{ECA7CEA4-7A5C-6649-5FE0-9515196BFBA6}"/>
          </ac:spMkLst>
        </pc:spChg>
        <pc:spChg chg="mod">
          <ac:chgData name="Kebba Jeng" userId="fe4cc296-ba7d-48a2-8799-89b58d218255" providerId="ADAL" clId="{253D94E7-442D-460C-9F4C-18558C0A0590}" dt="2022-05-22T16:49:37.073" v="949"/>
          <ac:spMkLst>
            <pc:docMk/>
            <pc:sldMk cId="1821985377" sldId="2134803575"/>
            <ac:spMk id="311" creationId="{A30704CD-5157-FF28-7DFB-C465583CA596}"/>
          </ac:spMkLst>
        </pc:spChg>
        <pc:spChg chg="mod">
          <ac:chgData name="Kebba Jeng" userId="fe4cc296-ba7d-48a2-8799-89b58d218255" providerId="ADAL" clId="{253D94E7-442D-460C-9F4C-18558C0A0590}" dt="2022-05-22T16:49:37.073" v="949"/>
          <ac:spMkLst>
            <pc:docMk/>
            <pc:sldMk cId="1821985377" sldId="2134803575"/>
            <ac:spMk id="312" creationId="{F10F373C-8FC9-0EB4-4CDA-1421E641D9A5}"/>
          </ac:spMkLst>
        </pc:spChg>
        <pc:spChg chg="mod">
          <ac:chgData name="Kebba Jeng" userId="fe4cc296-ba7d-48a2-8799-89b58d218255" providerId="ADAL" clId="{253D94E7-442D-460C-9F4C-18558C0A0590}" dt="2022-05-22T16:49:37.073" v="949"/>
          <ac:spMkLst>
            <pc:docMk/>
            <pc:sldMk cId="1821985377" sldId="2134803575"/>
            <ac:spMk id="313" creationId="{FA73CB5F-59E9-CB46-52E5-14B02BE58AA5}"/>
          </ac:spMkLst>
        </pc:spChg>
        <pc:spChg chg="mod">
          <ac:chgData name="Kebba Jeng" userId="fe4cc296-ba7d-48a2-8799-89b58d218255" providerId="ADAL" clId="{253D94E7-442D-460C-9F4C-18558C0A0590}" dt="2022-05-22T16:49:37.073" v="949"/>
          <ac:spMkLst>
            <pc:docMk/>
            <pc:sldMk cId="1821985377" sldId="2134803575"/>
            <ac:spMk id="314" creationId="{24257940-B5EA-D3B5-BB6F-A25A52937AC7}"/>
          </ac:spMkLst>
        </pc:spChg>
        <pc:spChg chg="mod">
          <ac:chgData name="Kebba Jeng" userId="fe4cc296-ba7d-48a2-8799-89b58d218255" providerId="ADAL" clId="{253D94E7-442D-460C-9F4C-18558C0A0590}" dt="2022-05-22T16:49:37.073" v="949"/>
          <ac:spMkLst>
            <pc:docMk/>
            <pc:sldMk cId="1821985377" sldId="2134803575"/>
            <ac:spMk id="315" creationId="{1EC10EF0-838B-0D74-E102-634965B952B4}"/>
          </ac:spMkLst>
        </pc:spChg>
        <pc:spChg chg="mod">
          <ac:chgData name="Kebba Jeng" userId="fe4cc296-ba7d-48a2-8799-89b58d218255" providerId="ADAL" clId="{253D94E7-442D-460C-9F4C-18558C0A0590}" dt="2022-05-22T16:49:37.073" v="949"/>
          <ac:spMkLst>
            <pc:docMk/>
            <pc:sldMk cId="1821985377" sldId="2134803575"/>
            <ac:spMk id="316" creationId="{0BD3355E-CE53-0846-B66B-9BCB49634690}"/>
          </ac:spMkLst>
        </pc:spChg>
        <pc:spChg chg="mod">
          <ac:chgData name="Kebba Jeng" userId="fe4cc296-ba7d-48a2-8799-89b58d218255" providerId="ADAL" clId="{253D94E7-442D-460C-9F4C-18558C0A0590}" dt="2022-05-22T16:49:37.073" v="949"/>
          <ac:spMkLst>
            <pc:docMk/>
            <pc:sldMk cId="1821985377" sldId="2134803575"/>
            <ac:spMk id="317" creationId="{5698F024-2EBE-D258-6140-EAFD665D168F}"/>
          </ac:spMkLst>
        </pc:spChg>
        <pc:spChg chg="mod">
          <ac:chgData name="Kebba Jeng" userId="fe4cc296-ba7d-48a2-8799-89b58d218255" providerId="ADAL" clId="{253D94E7-442D-460C-9F4C-18558C0A0590}" dt="2022-05-22T16:49:37.073" v="949"/>
          <ac:spMkLst>
            <pc:docMk/>
            <pc:sldMk cId="1821985377" sldId="2134803575"/>
            <ac:spMk id="318" creationId="{40BDDF35-D1A9-6EC3-452C-7C3626FEE24C}"/>
          </ac:spMkLst>
        </pc:spChg>
        <pc:spChg chg="mod">
          <ac:chgData name="Kebba Jeng" userId="fe4cc296-ba7d-48a2-8799-89b58d218255" providerId="ADAL" clId="{253D94E7-442D-460C-9F4C-18558C0A0590}" dt="2022-05-22T16:49:37.073" v="949"/>
          <ac:spMkLst>
            <pc:docMk/>
            <pc:sldMk cId="1821985377" sldId="2134803575"/>
            <ac:spMk id="319" creationId="{D4562460-0F7A-BC90-E2D9-915D06887CC0}"/>
          </ac:spMkLst>
        </pc:spChg>
        <pc:spChg chg="mod">
          <ac:chgData name="Kebba Jeng" userId="fe4cc296-ba7d-48a2-8799-89b58d218255" providerId="ADAL" clId="{253D94E7-442D-460C-9F4C-18558C0A0590}" dt="2022-05-22T16:49:37.073" v="949"/>
          <ac:spMkLst>
            <pc:docMk/>
            <pc:sldMk cId="1821985377" sldId="2134803575"/>
            <ac:spMk id="320" creationId="{58E7C59C-BF3E-12EE-F26A-A0CE311A495A}"/>
          </ac:spMkLst>
        </pc:spChg>
        <pc:spChg chg="mod">
          <ac:chgData name="Kebba Jeng" userId="fe4cc296-ba7d-48a2-8799-89b58d218255" providerId="ADAL" clId="{253D94E7-442D-460C-9F4C-18558C0A0590}" dt="2022-05-22T16:49:37.073" v="949"/>
          <ac:spMkLst>
            <pc:docMk/>
            <pc:sldMk cId="1821985377" sldId="2134803575"/>
            <ac:spMk id="321" creationId="{E37F44C6-154C-8380-0EA3-F32A8740328E}"/>
          </ac:spMkLst>
        </pc:spChg>
        <pc:spChg chg="mod">
          <ac:chgData name="Kebba Jeng" userId="fe4cc296-ba7d-48a2-8799-89b58d218255" providerId="ADAL" clId="{253D94E7-442D-460C-9F4C-18558C0A0590}" dt="2022-05-22T16:49:37.073" v="949"/>
          <ac:spMkLst>
            <pc:docMk/>
            <pc:sldMk cId="1821985377" sldId="2134803575"/>
            <ac:spMk id="322" creationId="{A54882DB-89E4-F136-7A7D-6C17470157F0}"/>
          </ac:spMkLst>
        </pc:spChg>
        <pc:spChg chg="mod">
          <ac:chgData name="Kebba Jeng" userId="fe4cc296-ba7d-48a2-8799-89b58d218255" providerId="ADAL" clId="{253D94E7-442D-460C-9F4C-18558C0A0590}" dt="2022-05-22T16:49:37.073" v="949"/>
          <ac:spMkLst>
            <pc:docMk/>
            <pc:sldMk cId="1821985377" sldId="2134803575"/>
            <ac:spMk id="323" creationId="{0A5BFD84-77CE-2CE1-3205-A5B9BC022DA4}"/>
          </ac:spMkLst>
        </pc:spChg>
        <pc:spChg chg="mod">
          <ac:chgData name="Kebba Jeng" userId="fe4cc296-ba7d-48a2-8799-89b58d218255" providerId="ADAL" clId="{253D94E7-442D-460C-9F4C-18558C0A0590}" dt="2022-05-22T16:49:37.073" v="949"/>
          <ac:spMkLst>
            <pc:docMk/>
            <pc:sldMk cId="1821985377" sldId="2134803575"/>
            <ac:spMk id="324" creationId="{25ED2AF0-1A78-AF67-657A-939BDF17AB8B}"/>
          </ac:spMkLst>
        </pc:spChg>
        <pc:spChg chg="mod">
          <ac:chgData name="Kebba Jeng" userId="fe4cc296-ba7d-48a2-8799-89b58d218255" providerId="ADAL" clId="{253D94E7-442D-460C-9F4C-18558C0A0590}" dt="2022-05-22T16:49:37.073" v="949"/>
          <ac:spMkLst>
            <pc:docMk/>
            <pc:sldMk cId="1821985377" sldId="2134803575"/>
            <ac:spMk id="325" creationId="{DE315F40-9F26-9F64-D19E-FDCE2FCF0007}"/>
          </ac:spMkLst>
        </pc:spChg>
        <pc:spChg chg="mod">
          <ac:chgData name="Kebba Jeng" userId="fe4cc296-ba7d-48a2-8799-89b58d218255" providerId="ADAL" clId="{253D94E7-442D-460C-9F4C-18558C0A0590}" dt="2022-05-22T16:49:37.073" v="949"/>
          <ac:spMkLst>
            <pc:docMk/>
            <pc:sldMk cId="1821985377" sldId="2134803575"/>
            <ac:spMk id="326" creationId="{B25144F6-033D-C476-5499-99BA2F71215F}"/>
          </ac:spMkLst>
        </pc:spChg>
        <pc:spChg chg="mod">
          <ac:chgData name="Kebba Jeng" userId="fe4cc296-ba7d-48a2-8799-89b58d218255" providerId="ADAL" clId="{253D94E7-442D-460C-9F4C-18558C0A0590}" dt="2022-05-22T16:49:37.073" v="949"/>
          <ac:spMkLst>
            <pc:docMk/>
            <pc:sldMk cId="1821985377" sldId="2134803575"/>
            <ac:spMk id="327" creationId="{BE11BC8D-035E-A9F3-E05E-8D99F5CB07DF}"/>
          </ac:spMkLst>
        </pc:spChg>
        <pc:spChg chg="mod">
          <ac:chgData name="Kebba Jeng" userId="fe4cc296-ba7d-48a2-8799-89b58d218255" providerId="ADAL" clId="{253D94E7-442D-460C-9F4C-18558C0A0590}" dt="2022-05-22T16:49:37.073" v="949"/>
          <ac:spMkLst>
            <pc:docMk/>
            <pc:sldMk cId="1821985377" sldId="2134803575"/>
            <ac:spMk id="328" creationId="{1D41DE6B-F7BC-C553-E879-E5B3E7099950}"/>
          </ac:spMkLst>
        </pc:spChg>
        <pc:spChg chg="mod">
          <ac:chgData name="Kebba Jeng" userId="fe4cc296-ba7d-48a2-8799-89b58d218255" providerId="ADAL" clId="{253D94E7-442D-460C-9F4C-18558C0A0590}" dt="2022-05-22T16:49:37.073" v="949"/>
          <ac:spMkLst>
            <pc:docMk/>
            <pc:sldMk cId="1821985377" sldId="2134803575"/>
            <ac:spMk id="329" creationId="{E16FB4D0-E292-4842-27AF-220AF075CDDC}"/>
          </ac:spMkLst>
        </pc:spChg>
        <pc:spChg chg="mod">
          <ac:chgData name="Kebba Jeng" userId="fe4cc296-ba7d-48a2-8799-89b58d218255" providerId="ADAL" clId="{253D94E7-442D-460C-9F4C-18558C0A0590}" dt="2022-05-22T16:49:37.073" v="949"/>
          <ac:spMkLst>
            <pc:docMk/>
            <pc:sldMk cId="1821985377" sldId="2134803575"/>
            <ac:spMk id="330" creationId="{34B3AE6D-FB2A-77FB-69F3-8EB1E4DEEDFA}"/>
          </ac:spMkLst>
        </pc:spChg>
        <pc:spChg chg="mod">
          <ac:chgData name="Kebba Jeng" userId="fe4cc296-ba7d-48a2-8799-89b58d218255" providerId="ADAL" clId="{253D94E7-442D-460C-9F4C-18558C0A0590}" dt="2022-05-22T16:49:37.073" v="949"/>
          <ac:spMkLst>
            <pc:docMk/>
            <pc:sldMk cId="1821985377" sldId="2134803575"/>
            <ac:spMk id="331" creationId="{A8A5B700-F65E-8279-9E1F-C2EBE83F9BC6}"/>
          </ac:spMkLst>
        </pc:spChg>
        <pc:spChg chg="mod">
          <ac:chgData name="Kebba Jeng" userId="fe4cc296-ba7d-48a2-8799-89b58d218255" providerId="ADAL" clId="{253D94E7-442D-460C-9F4C-18558C0A0590}" dt="2022-05-22T16:49:37.073" v="949"/>
          <ac:spMkLst>
            <pc:docMk/>
            <pc:sldMk cId="1821985377" sldId="2134803575"/>
            <ac:spMk id="332" creationId="{F221A8CA-6FC9-6A07-4AAC-7A3FABA86DDB}"/>
          </ac:spMkLst>
        </pc:spChg>
        <pc:spChg chg="mod">
          <ac:chgData name="Kebba Jeng" userId="fe4cc296-ba7d-48a2-8799-89b58d218255" providerId="ADAL" clId="{253D94E7-442D-460C-9F4C-18558C0A0590}" dt="2022-05-22T16:49:37.073" v="949"/>
          <ac:spMkLst>
            <pc:docMk/>
            <pc:sldMk cId="1821985377" sldId="2134803575"/>
            <ac:spMk id="333" creationId="{7244C37F-9F46-DEE3-165D-BD1A93EF1612}"/>
          </ac:spMkLst>
        </pc:spChg>
        <pc:spChg chg="mod">
          <ac:chgData name="Kebba Jeng" userId="fe4cc296-ba7d-48a2-8799-89b58d218255" providerId="ADAL" clId="{253D94E7-442D-460C-9F4C-18558C0A0590}" dt="2022-05-22T16:49:37.073" v="949"/>
          <ac:spMkLst>
            <pc:docMk/>
            <pc:sldMk cId="1821985377" sldId="2134803575"/>
            <ac:spMk id="334" creationId="{A0E7C039-7C57-A2E7-7974-5ACBB44CA1F3}"/>
          </ac:spMkLst>
        </pc:spChg>
        <pc:spChg chg="mod">
          <ac:chgData name="Kebba Jeng" userId="fe4cc296-ba7d-48a2-8799-89b58d218255" providerId="ADAL" clId="{253D94E7-442D-460C-9F4C-18558C0A0590}" dt="2022-05-22T16:49:37.073" v="949"/>
          <ac:spMkLst>
            <pc:docMk/>
            <pc:sldMk cId="1821985377" sldId="2134803575"/>
            <ac:spMk id="335" creationId="{C6060E8C-AC12-B18D-E84B-64B1D46DC819}"/>
          </ac:spMkLst>
        </pc:spChg>
        <pc:spChg chg="mod">
          <ac:chgData name="Kebba Jeng" userId="fe4cc296-ba7d-48a2-8799-89b58d218255" providerId="ADAL" clId="{253D94E7-442D-460C-9F4C-18558C0A0590}" dt="2022-05-22T16:49:37.073" v="949"/>
          <ac:spMkLst>
            <pc:docMk/>
            <pc:sldMk cId="1821985377" sldId="2134803575"/>
            <ac:spMk id="336" creationId="{A8D073AB-F81E-7A28-23AE-3BEB722FEEB3}"/>
          </ac:spMkLst>
        </pc:spChg>
        <pc:spChg chg="mod">
          <ac:chgData name="Kebba Jeng" userId="fe4cc296-ba7d-48a2-8799-89b58d218255" providerId="ADAL" clId="{253D94E7-442D-460C-9F4C-18558C0A0590}" dt="2022-05-22T16:49:38.015" v="950"/>
          <ac:spMkLst>
            <pc:docMk/>
            <pc:sldMk cId="1821985377" sldId="2134803575"/>
            <ac:spMk id="339" creationId="{CC9842BE-9808-13C4-6C70-3FAC3195E0F3}"/>
          </ac:spMkLst>
        </pc:spChg>
        <pc:spChg chg="mod">
          <ac:chgData name="Kebba Jeng" userId="fe4cc296-ba7d-48a2-8799-89b58d218255" providerId="ADAL" clId="{253D94E7-442D-460C-9F4C-18558C0A0590}" dt="2022-05-22T16:49:38.015" v="950"/>
          <ac:spMkLst>
            <pc:docMk/>
            <pc:sldMk cId="1821985377" sldId="2134803575"/>
            <ac:spMk id="340" creationId="{128F4C50-91CE-DEE0-AFB6-11A27BD64250}"/>
          </ac:spMkLst>
        </pc:spChg>
        <pc:spChg chg="mod">
          <ac:chgData name="Kebba Jeng" userId="fe4cc296-ba7d-48a2-8799-89b58d218255" providerId="ADAL" clId="{253D94E7-442D-460C-9F4C-18558C0A0590}" dt="2022-05-22T16:49:38.015" v="950"/>
          <ac:spMkLst>
            <pc:docMk/>
            <pc:sldMk cId="1821985377" sldId="2134803575"/>
            <ac:spMk id="341" creationId="{293D8606-A76A-06A4-E79A-047F5EA691E7}"/>
          </ac:spMkLst>
        </pc:spChg>
        <pc:spChg chg="mod">
          <ac:chgData name="Kebba Jeng" userId="fe4cc296-ba7d-48a2-8799-89b58d218255" providerId="ADAL" clId="{253D94E7-442D-460C-9F4C-18558C0A0590}" dt="2022-05-22T16:49:38.015" v="950"/>
          <ac:spMkLst>
            <pc:docMk/>
            <pc:sldMk cId="1821985377" sldId="2134803575"/>
            <ac:spMk id="342" creationId="{B7036972-A6E5-D433-D0F3-3CD567D0B920}"/>
          </ac:spMkLst>
        </pc:spChg>
        <pc:spChg chg="mod">
          <ac:chgData name="Kebba Jeng" userId="fe4cc296-ba7d-48a2-8799-89b58d218255" providerId="ADAL" clId="{253D94E7-442D-460C-9F4C-18558C0A0590}" dt="2022-05-22T16:49:38.015" v="950"/>
          <ac:spMkLst>
            <pc:docMk/>
            <pc:sldMk cId="1821985377" sldId="2134803575"/>
            <ac:spMk id="343" creationId="{3D38BD51-EB76-5782-700A-8DE100554C14}"/>
          </ac:spMkLst>
        </pc:spChg>
        <pc:spChg chg="mod">
          <ac:chgData name="Kebba Jeng" userId="fe4cc296-ba7d-48a2-8799-89b58d218255" providerId="ADAL" clId="{253D94E7-442D-460C-9F4C-18558C0A0590}" dt="2022-05-22T16:49:38.015" v="950"/>
          <ac:spMkLst>
            <pc:docMk/>
            <pc:sldMk cId="1821985377" sldId="2134803575"/>
            <ac:spMk id="344" creationId="{54915E58-54F1-4ED9-9761-3E9B6434BA5C}"/>
          </ac:spMkLst>
        </pc:spChg>
        <pc:spChg chg="mod">
          <ac:chgData name="Kebba Jeng" userId="fe4cc296-ba7d-48a2-8799-89b58d218255" providerId="ADAL" clId="{253D94E7-442D-460C-9F4C-18558C0A0590}" dt="2022-05-22T16:49:38.015" v="950"/>
          <ac:spMkLst>
            <pc:docMk/>
            <pc:sldMk cId="1821985377" sldId="2134803575"/>
            <ac:spMk id="345" creationId="{42CE0DE2-6AFE-FAB4-DE71-476DECD10D31}"/>
          </ac:spMkLst>
        </pc:spChg>
        <pc:spChg chg="mod">
          <ac:chgData name="Kebba Jeng" userId="fe4cc296-ba7d-48a2-8799-89b58d218255" providerId="ADAL" clId="{253D94E7-442D-460C-9F4C-18558C0A0590}" dt="2022-05-22T16:49:38.015" v="950"/>
          <ac:spMkLst>
            <pc:docMk/>
            <pc:sldMk cId="1821985377" sldId="2134803575"/>
            <ac:spMk id="346" creationId="{320FC6BD-6127-644E-301D-4AD72E19B16E}"/>
          </ac:spMkLst>
        </pc:spChg>
        <pc:spChg chg="mod">
          <ac:chgData name="Kebba Jeng" userId="fe4cc296-ba7d-48a2-8799-89b58d218255" providerId="ADAL" clId="{253D94E7-442D-460C-9F4C-18558C0A0590}" dt="2022-05-22T16:49:38.015" v="950"/>
          <ac:spMkLst>
            <pc:docMk/>
            <pc:sldMk cId="1821985377" sldId="2134803575"/>
            <ac:spMk id="347" creationId="{BCBB282D-00BF-4AE6-E2C2-240A2FFA2A55}"/>
          </ac:spMkLst>
        </pc:spChg>
        <pc:spChg chg="mod">
          <ac:chgData name="Kebba Jeng" userId="fe4cc296-ba7d-48a2-8799-89b58d218255" providerId="ADAL" clId="{253D94E7-442D-460C-9F4C-18558C0A0590}" dt="2022-05-22T16:49:38.015" v="950"/>
          <ac:spMkLst>
            <pc:docMk/>
            <pc:sldMk cId="1821985377" sldId="2134803575"/>
            <ac:spMk id="348" creationId="{8C52549A-7F5C-ED9E-0E26-CA046751A718}"/>
          </ac:spMkLst>
        </pc:spChg>
        <pc:spChg chg="mod">
          <ac:chgData name="Kebba Jeng" userId="fe4cc296-ba7d-48a2-8799-89b58d218255" providerId="ADAL" clId="{253D94E7-442D-460C-9F4C-18558C0A0590}" dt="2022-05-22T16:49:38.015" v="950"/>
          <ac:spMkLst>
            <pc:docMk/>
            <pc:sldMk cId="1821985377" sldId="2134803575"/>
            <ac:spMk id="349" creationId="{E7811072-C549-A221-9320-7FE51C7B947D}"/>
          </ac:spMkLst>
        </pc:spChg>
        <pc:spChg chg="mod">
          <ac:chgData name="Kebba Jeng" userId="fe4cc296-ba7d-48a2-8799-89b58d218255" providerId="ADAL" clId="{253D94E7-442D-460C-9F4C-18558C0A0590}" dt="2022-05-22T16:49:38.015" v="950"/>
          <ac:spMkLst>
            <pc:docMk/>
            <pc:sldMk cId="1821985377" sldId="2134803575"/>
            <ac:spMk id="350" creationId="{03CB9DE3-9AF7-7506-ECEB-BECF3D1A90A8}"/>
          </ac:spMkLst>
        </pc:spChg>
        <pc:spChg chg="mod">
          <ac:chgData name="Kebba Jeng" userId="fe4cc296-ba7d-48a2-8799-89b58d218255" providerId="ADAL" clId="{253D94E7-442D-460C-9F4C-18558C0A0590}" dt="2022-05-22T16:49:38.015" v="950"/>
          <ac:spMkLst>
            <pc:docMk/>
            <pc:sldMk cId="1821985377" sldId="2134803575"/>
            <ac:spMk id="351" creationId="{0BE7F8D9-EADE-2702-AF5E-B66B5AF66A78}"/>
          </ac:spMkLst>
        </pc:spChg>
        <pc:spChg chg="mod">
          <ac:chgData name="Kebba Jeng" userId="fe4cc296-ba7d-48a2-8799-89b58d218255" providerId="ADAL" clId="{253D94E7-442D-460C-9F4C-18558C0A0590}" dt="2022-05-22T16:49:38.015" v="950"/>
          <ac:spMkLst>
            <pc:docMk/>
            <pc:sldMk cId="1821985377" sldId="2134803575"/>
            <ac:spMk id="352" creationId="{5BDFAC02-65EC-C52A-F278-D7D5E88B67B9}"/>
          </ac:spMkLst>
        </pc:spChg>
        <pc:spChg chg="mod">
          <ac:chgData name="Kebba Jeng" userId="fe4cc296-ba7d-48a2-8799-89b58d218255" providerId="ADAL" clId="{253D94E7-442D-460C-9F4C-18558C0A0590}" dt="2022-05-22T16:49:38.015" v="950"/>
          <ac:spMkLst>
            <pc:docMk/>
            <pc:sldMk cId="1821985377" sldId="2134803575"/>
            <ac:spMk id="353" creationId="{C5B92D58-0D79-81E6-0229-ED7051898460}"/>
          </ac:spMkLst>
        </pc:spChg>
        <pc:spChg chg="mod">
          <ac:chgData name="Kebba Jeng" userId="fe4cc296-ba7d-48a2-8799-89b58d218255" providerId="ADAL" clId="{253D94E7-442D-460C-9F4C-18558C0A0590}" dt="2022-05-22T16:49:38.015" v="950"/>
          <ac:spMkLst>
            <pc:docMk/>
            <pc:sldMk cId="1821985377" sldId="2134803575"/>
            <ac:spMk id="354" creationId="{381D311A-40F1-C565-0658-03B8D3DD36B4}"/>
          </ac:spMkLst>
        </pc:spChg>
        <pc:spChg chg="mod">
          <ac:chgData name="Kebba Jeng" userId="fe4cc296-ba7d-48a2-8799-89b58d218255" providerId="ADAL" clId="{253D94E7-442D-460C-9F4C-18558C0A0590}" dt="2022-05-22T16:49:38.015" v="950"/>
          <ac:spMkLst>
            <pc:docMk/>
            <pc:sldMk cId="1821985377" sldId="2134803575"/>
            <ac:spMk id="355" creationId="{1B93C95E-D3F3-F435-F432-B48CBA9644EF}"/>
          </ac:spMkLst>
        </pc:spChg>
        <pc:spChg chg="mod">
          <ac:chgData name="Kebba Jeng" userId="fe4cc296-ba7d-48a2-8799-89b58d218255" providerId="ADAL" clId="{253D94E7-442D-460C-9F4C-18558C0A0590}" dt="2022-05-22T16:49:38.015" v="950"/>
          <ac:spMkLst>
            <pc:docMk/>
            <pc:sldMk cId="1821985377" sldId="2134803575"/>
            <ac:spMk id="356" creationId="{7A9DDE54-C577-A10C-E3B9-46E239330801}"/>
          </ac:spMkLst>
        </pc:spChg>
        <pc:spChg chg="mod">
          <ac:chgData name="Kebba Jeng" userId="fe4cc296-ba7d-48a2-8799-89b58d218255" providerId="ADAL" clId="{253D94E7-442D-460C-9F4C-18558C0A0590}" dt="2022-05-22T16:49:38.015" v="950"/>
          <ac:spMkLst>
            <pc:docMk/>
            <pc:sldMk cId="1821985377" sldId="2134803575"/>
            <ac:spMk id="357" creationId="{3140198F-9F7F-7836-D2CC-2A68019174B5}"/>
          </ac:spMkLst>
        </pc:spChg>
        <pc:spChg chg="mod">
          <ac:chgData name="Kebba Jeng" userId="fe4cc296-ba7d-48a2-8799-89b58d218255" providerId="ADAL" clId="{253D94E7-442D-460C-9F4C-18558C0A0590}" dt="2022-05-22T16:49:38.015" v="950"/>
          <ac:spMkLst>
            <pc:docMk/>
            <pc:sldMk cId="1821985377" sldId="2134803575"/>
            <ac:spMk id="358" creationId="{14FAAECC-0E06-B432-28F8-4651FC423CA6}"/>
          </ac:spMkLst>
        </pc:spChg>
        <pc:spChg chg="mod">
          <ac:chgData name="Kebba Jeng" userId="fe4cc296-ba7d-48a2-8799-89b58d218255" providerId="ADAL" clId="{253D94E7-442D-460C-9F4C-18558C0A0590}" dt="2022-05-22T16:49:38.015" v="950"/>
          <ac:spMkLst>
            <pc:docMk/>
            <pc:sldMk cId="1821985377" sldId="2134803575"/>
            <ac:spMk id="359" creationId="{CD14E3E3-FC20-D403-474F-C0F30D10E875}"/>
          </ac:spMkLst>
        </pc:spChg>
        <pc:spChg chg="mod">
          <ac:chgData name="Kebba Jeng" userId="fe4cc296-ba7d-48a2-8799-89b58d218255" providerId="ADAL" clId="{253D94E7-442D-460C-9F4C-18558C0A0590}" dt="2022-05-22T16:49:38.015" v="950"/>
          <ac:spMkLst>
            <pc:docMk/>
            <pc:sldMk cId="1821985377" sldId="2134803575"/>
            <ac:spMk id="360" creationId="{5161189D-C508-1623-4B2C-E0C378A80017}"/>
          </ac:spMkLst>
        </pc:spChg>
        <pc:spChg chg="mod">
          <ac:chgData name="Kebba Jeng" userId="fe4cc296-ba7d-48a2-8799-89b58d218255" providerId="ADAL" clId="{253D94E7-442D-460C-9F4C-18558C0A0590}" dt="2022-05-22T16:49:38.015" v="950"/>
          <ac:spMkLst>
            <pc:docMk/>
            <pc:sldMk cId="1821985377" sldId="2134803575"/>
            <ac:spMk id="361" creationId="{A6241C5F-0F01-00DD-83E6-8D8EDE4BDEBA}"/>
          </ac:spMkLst>
        </pc:spChg>
        <pc:spChg chg="mod">
          <ac:chgData name="Kebba Jeng" userId="fe4cc296-ba7d-48a2-8799-89b58d218255" providerId="ADAL" clId="{253D94E7-442D-460C-9F4C-18558C0A0590}" dt="2022-05-22T16:49:38.015" v="950"/>
          <ac:spMkLst>
            <pc:docMk/>
            <pc:sldMk cId="1821985377" sldId="2134803575"/>
            <ac:spMk id="362" creationId="{DEF3864F-3DB5-9FEB-B0D5-EC0BDDA1B767}"/>
          </ac:spMkLst>
        </pc:spChg>
        <pc:spChg chg="mod">
          <ac:chgData name="Kebba Jeng" userId="fe4cc296-ba7d-48a2-8799-89b58d218255" providerId="ADAL" clId="{253D94E7-442D-460C-9F4C-18558C0A0590}" dt="2022-05-22T16:49:38.015" v="950"/>
          <ac:spMkLst>
            <pc:docMk/>
            <pc:sldMk cId="1821985377" sldId="2134803575"/>
            <ac:spMk id="363" creationId="{FF9399EF-89E0-3F02-5817-26D7100F3DE1}"/>
          </ac:spMkLst>
        </pc:spChg>
        <pc:spChg chg="mod">
          <ac:chgData name="Kebba Jeng" userId="fe4cc296-ba7d-48a2-8799-89b58d218255" providerId="ADAL" clId="{253D94E7-442D-460C-9F4C-18558C0A0590}" dt="2022-05-22T16:49:38.015" v="950"/>
          <ac:spMkLst>
            <pc:docMk/>
            <pc:sldMk cId="1821985377" sldId="2134803575"/>
            <ac:spMk id="364" creationId="{6630196F-A7B2-9ADB-243B-BAC477269E55}"/>
          </ac:spMkLst>
        </pc:spChg>
        <pc:spChg chg="mod">
          <ac:chgData name="Kebba Jeng" userId="fe4cc296-ba7d-48a2-8799-89b58d218255" providerId="ADAL" clId="{253D94E7-442D-460C-9F4C-18558C0A0590}" dt="2022-05-22T16:49:38.015" v="950"/>
          <ac:spMkLst>
            <pc:docMk/>
            <pc:sldMk cId="1821985377" sldId="2134803575"/>
            <ac:spMk id="365" creationId="{56B48E1A-5DF9-E05B-F1E0-62CDF41218B8}"/>
          </ac:spMkLst>
        </pc:spChg>
        <pc:spChg chg="mod">
          <ac:chgData name="Kebba Jeng" userId="fe4cc296-ba7d-48a2-8799-89b58d218255" providerId="ADAL" clId="{253D94E7-442D-460C-9F4C-18558C0A0590}" dt="2022-05-22T16:49:38.015" v="950"/>
          <ac:spMkLst>
            <pc:docMk/>
            <pc:sldMk cId="1821985377" sldId="2134803575"/>
            <ac:spMk id="366" creationId="{EFC32ED1-B737-3AED-8EA3-B7045E57FEE1}"/>
          </ac:spMkLst>
        </pc:spChg>
        <pc:spChg chg="mod">
          <ac:chgData name="Kebba Jeng" userId="fe4cc296-ba7d-48a2-8799-89b58d218255" providerId="ADAL" clId="{253D94E7-442D-460C-9F4C-18558C0A0590}" dt="2022-05-22T16:49:38.015" v="950"/>
          <ac:spMkLst>
            <pc:docMk/>
            <pc:sldMk cId="1821985377" sldId="2134803575"/>
            <ac:spMk id="367" creationId="{0B39EE68-219B-3E0C-BA3D-D717AF28328C}"/>
          </ac:spMkLst>
        </pc:spChg>
        <pc:spChg chg="mod">
          <ac:chgData name="Kebba Jeng" userId="fe4cc296-ba7d-48a2-8799-89b58d218255" providerId="ADAL" clId="{253D94E7-442D-460C-9F4C-18558C0A0590}" dt="2022-05-22T16:49:38.015" v="950"/>
          <ac:spMkLst>
            <pc:docMk/>
            <pc:sldMk cId="1821985377" sldId="2134803575"/>
            <ac:spMk id="368" creationId="{6AE0064E-63D3-2B8D-7C14-4117181445B1}"/>
          </ac:spMkLst>
        </pc:spChg>
        <pc:spChg chg="mod">
          <ac:chgData name="Kebba Jeng" userId="fe4cc296-ba7d-48a2-8799-89b58d218255" providerId="ADAL" clId="{253D94E7-442D-460C-9F4C-18558C0A0590}" dt="2022-05-22T16:49:38.015" v="950"/>
          <ac:spMkLst>
            <pc:docMk/>
            <pc:sldMk cId="1821985377" sldId="2134803575"/>
            <ac:spMk id="369" creationId="{976E2EA3-C298-878A-B7F2-98831714F28A}"/>
          </ac:spMkLst>
        </pc:spChg>
        <pc:spChg chg="mod">
          <ac:chgData name="Kebba Jeng" userId="fe4cc296-ba7d-48a2-8799-89b58d218255" providerId="ADAL" clId="{253D94E7-442D-460C-9F4C-18558C0A0590}" dt="2022-05-22T16:49:38.015" v="950"/>
          <ac:spMkLst>
            <pc:docMk/>
            <pc:sldMk cId="1821985377" sldId="2134803575"/>
            <ac:spMk id="370" creationId="{7F7846BF-F1C4-5519-3327-029373A1592C}"/>
          </ac:spMkLst>
        </pc:spChg>
        <pc:spChg chg="mod">
          <ac:chgData name="Kebba Jeng" userId="fe4cc296-ba7d-48a2-8799-89b58d218255" providerId="ADAL" clId="{253D94E7-442D-460C-9F4C-18558C0A0590}" dt="2022-05-22T16:49:38.015" v="950"/>
          <ac:spMkLst>
            <pc:docMk/>
            <pc:sldMk cId="1821985377" sldId="2134803575"/>
            <ac:spMk id="371" creationId="{B1306285-0FC2-1AF5-F3DA-7F165B691628}"/>
          </ac:spMkLst>
        </pc:spChg>
        <pc:spChg chg="mod">
          <ac:chgData name="Kebba Jeng" userId="fe4cc296-ba7d-48a2-8799-89b58d218255" providerId="ADAL" clId="{253D94E7-442D-460C-9F4C-18558C0A0590}" dt="2022-05-22T16:49:38.015" v="950"/>
          <ac:spMkLst>
            <pc:docMk/>
            <pc:sldMk cId="1821985377" sldId="2134803575"/>
            <ac:spMk id="372" creationId="{6C67C80D-9CD8-7A8E-342E-57D8462B7220}"/>
          </ac:spMkLst>
        </pc:spChg>
        <pc:spChg chg="mod">
          <ac:chgData name="Kebba Jeng" userId="fe4cc296-ba7d-48a2-8799-89b58d218255" providerId="ADAL" clId="{253D94E7-442D-460C-9F4C-18558C0A0590}" dt="2022-05-22T16:49:38.015" v="950"/>
          <ac:spMkLst>
            <pc:docMk/>
            <pc:sldMk cId="1821985377" sldId="2134803575"/>
            <ac:spMk id="373" creationId="{46367BA5-74E6-90F5-B484-55864EF29AD1}"/>
          </ac:spMkLst>
        </pc:spChg>
        <pc:spChg chg="mod">
          <ac:chgData name="Kebba Jeng" userId="fe4cc296-ba7d-48a2-8799-89b58d218255" providerId="ADAL" clId="{253D94E7-442D-460C-9F4C-18558C0A0590}" dt="2022-05-22T16:49:38.015" v="950"/>
          <ac:spMkLst>
            <pc:docMk/>
            <pc:sldMk cId="1821985377" sldId="2134803575"/>
            <ac:spMk id="374" creationId="{6F019495-C7BE-2BB6-30B4-DEF58AE13D47}"/>
          </ac:spMkLst>
        </pc:spChg>
        <pc:spChg chg="mod">
          <ac:chgData name="Kebba Jeng" userId="fe4cc296-ba7d-48a2-8799-89b58d218255" providerId="ADAL" clId="{253D94E7-442D-460C-9F4C-18558C0A0590}" dt="2022-05-22T16:49:38.015" v="950"/>
          <ac:spMkLst>
            <pc:docMk/>
            <pc:sldMk cId="1821985377" sldId="2134803575"/>
            <ac:spMk id="375" creationId="{22EF2ED9-8508-166D-27DD-F02CE05A6744}"/>
          </ac:spMkLst>
        </pc:spChg>
        <pc:spChg chg="mod">
          <ac:chgData name="Kebba Jeng" userId="fe4cc296-ba7d-48a2-8799-89b58d218255" providerId="ADAL" clId="{253D94E7-442D-460C-9F4C-18558C0A0590}" dt="2022-05-22T16:49:38.015" v="950"/>
          <ac:spMkLst>
            <pc:docMk/>
            <pc:sldMk cId="1821985377" sldId="2134803575"/>
            <ac:spMk id="376" creationId="{260AF8EA-F784-7A4A-50DF-7D2080EAE40F}"/>
          </ac:spMkLst>
        </pc:spChg>
        <pc:spChg chg="mod">
          <ac:chgData name="Kebba Jeng" userId="fe4cc296-ba7d-48a2-8799-89b58d218255" providerId="ADAL" clId="{253D94E7-442D-460C-9F4C-18558C0A0590}" dt="2022-05-22T16:49:38.015" v="950"/>
          <ac:spMkLst>
            <pc:docMk/>
            <pc:sldMk cId="1821985377" sldId="2134803575"/>
            <ac:spMk id="377" creationId="{2D379F8C-49BD-234A-453C-7D6242A1DF73}"/>
          </ac:spMkLst>
        </pc:spChg>
        <pc:spChg chg="mod">
          <ac:chgData name="Kebba Jeng" userId="fe4cc296-ba7d-48a2-8799-89b58d218255" providerId="ADAL" clId="{253D94E7-442D-460C-9F4C-18558C0A0590}" dt="2022-05-22T16:49:38.015" v="950"/>
          <ac:spMkLst>
            <pc:docMk/>
            <pc:sldMk cId="1821985377" sldId="2134803575"/>
            <ac:spMk id="378" creationId="{BC57DE50-3192-BADE-5E34-30849C935B75}"/>
          </ac:spMkLst>
        </pc:spChg>
        <pc:spChg chg="mod">
          <ac:chgData name="Kebba Jeng" userId="fe4cc296-ba7d-48a2-8799-89b58d218255" providerId="ADAL" clId="{253D94E7-442D-460C-9F4C-18558C0A0590}" dt="2022-05-22T16:49:38.015" v="950"/>
          <ac:spMkLst>
            <pc:docMk/>
            <pc:sldMk cId="1821985377" sldId="2134803575"/>
            <ac:spMk id="379" creationId="{629FCD10-F7C6-EF91-D2D9-23B2034ABD4B}"/>
          </ac:spMkLst>
        </pc:spChg>
        <pc:spChg chg="mod">
          <ac:chgData name="Kebba Jeng" userId="fe4cc296-ba7d-48a2-8799-89b58d218255" providerId="ADAL" clId="{253D94E7-442D-460C-9F4C-18558C0A0590}" dt="2022-05-22T16:49:38.015" v="950"/>
          <ac:spMkLst>
            <pc:docMk/>
            <pc:sldMk cId="1821985377" sldId="2134803575"/>
            <ac:spMk id="380" creationId="{9BA57001-BABE-F915-7A11-CEC700D08409}"/>
          </ac:spMkLst>
        </pc:spChg>
        <pc:spChg chg="mod">
          <ac:chgData name="Kebba Jeng" userId="fe4cc296-ba7d-48a2-8799-89b58d218255" providerId="ADAL" clId="{253D94E7-442D-460C-9F4C-18558C0A0590}" dt="2022-05-22T16:49:38.015" v="950"/>
          <ac:spMkLst>
            <pc:docMk/>
            <pc:sldMk cId="1821985377" sldId="2134803575"/>
            <ac:spMk id="381" creationId="{EB2C271D-ECAA-AA4C-D7A0-EBD149198F2D}"/>
          </ac:spMkLst>
        </pc:spChg>
        <pc:spChg chg="mod">
          <ac:chgData name="Kebba Jeng" userId="fe4cc296-ba7d-48a2-8799-89b58d218255" providerId="ADAL" clId="{253D94E7-442D-460C-9F4C-18558C0A0590}" dt="2022-05-22T16:49:38.015" v="950"/>
          <ac:spMkLst>
            <pc:docMk/>
            <pc:sldMk cId="1821985377" sldId="2134803575"/>
            <ac:spMk id="382" creationId="{5610EDA7-B55B-69E5-7773-6B4974A1F1FC}"/>
          </ac:spMkLst>
        </pc:spChg>
        <pc:spChg chg="mod">
          <ac:chgData name="Kebba Jeng" userId="fe4cc296-ba7d-48a2-8799-89b58d218255" providerId="ADAL" clId="{253D94E7-442D-460C-9F4C-18558C0A0590}" dt="2022-05-22T16:49:38.015" v="950"/>
          <ac:spMkLst>
            <pc:docMk/>
            <pc:sldMk cId="1821985377" sldId="2134803575"/>
            <ac:spMk id="383" creationId="{C45EC0C1-A3EF-93EE-093B-A14CA048C973}"/>
          </ac:spMkLst>
        </pc:spChg>
        <pc:spChg chg="mod">
          <ac:chgData name="Kebba Jeng" userId="fe4cc296-ba7d-48a2-8799-89b58d218255" providerId="ADAL" clId="{253D94E7-442D-460C-9F4C-18558C0A0590}" dt="2022-05-22T16:49:38.015" v="950"/>
          <ac:spMkLst>
            <pc:docMk/>
            <pc:sldMk cId="1821985377" sldId="2134803575"/>
            <ac:spMk id="384" creationId="{0A377DB5-B715-E190-0433-3A440176C679}"/>
          </ac:spMkLst>
        </pc:spChg>
        <pc:spChg chg="mod">
          <ac:chgData name="Kebba Jeng" userId="fe4cc296-ba7d-48a2-8799-89b58d218255" providerId="ADAL" clId="{253D94E7-442D-460C-9F4C-18558C0A0590}" dt="2022-05-22T16:49:38.015" v="950"/>
          <ac:spMkLst>
            <pc:docMk/>
            <pc:sldMk cId="1821985377" sldId="2134803575"/>
            <ac:spMk id="385" creationId="{441E5653-3AC5-E095-9384-B6B5B3FDC945}"/>
          </ac:spMkLst>
        </pc:spChg>
        <pc:spChg chg="mod">
          <ac:chgData name="Kebba Jeng" userId="fe4cc296-ba7d-48a2-8799-89b58d218255" providerId="ADAL" clId="{253D94E7-442D-460C-9F4C-18558C0A0590}" dt="2022-05-22T16:49:38.015" v="950"/>
          <ac:spMkLst>
            <pc:docMk/>
            <pc:sldMk cId="1821985377" sldId="2134803575"/>
            <ac:spMk id="386" creationId="{C0B773B3-C9E9-8334-D76D-3DDE0F8CAE89}"/>
          </ac:spMkLst>
        </pc:spChg>
        <pc:spChg chg="mod">
          <ac:chgData name="Kebba Jeng" userId="fe4cc296-ba7d-48a2-8799-89b58d218255" providerId="ADAL" clId="{253D94E7-442D-460C-9F4C-18558C0A0590}" dt="2022-05-22T16:49:38.015" v="950"/>
          <ac:spMkLst>
            <pc:docMk/>
            <pc:sldMk cId="1821985377" sldId="2134803575"/>
            <ac:spMk id="387" creationId="{A3F1F705-F741-C162-5183-CF8B85752694}"/>
          </ac:spMkLst>
        </pc:spChg>
        <pc:spChg chg="mod">
          <ac:chgData name="Kebba Jeng" userId="fe4cc296-ba7d-48a2-8799-89b58d218255" providerId="ADAL" clId="{253D94E7-442D-460C-9F4C-18558C0A0590}" dt="2022-05-22T16:49:38.015" v="950"/>
          <ac:spMkLst>
            <pc:docMk/>
            <pc:sldMk cId="1821985377" sldId="2134803575"/>
            <ac:spMk id="388" creationId="{E9126448-2D73-B2F4-0301-5F400D020349}"/>
          </ac:spMkLst>
        </pc:spChg>
        <pc:spChg chg="mod">
          <ac:chgData name="Kebba Jeng" userId="fe4cc296-ba7d-48a2-8799-89b58d218255" providerId="ADAL" clId="{253D94E7-442D-460C-9F4C-18558C0A0590}" dt="2022-05-22T16:49:38.015" v="950"/>
          <ac:spMkLst>
            <pc:docMk/>
            <pc:sldMk cId="1821985377" sldId="2134803575"/>
            <ac:spMk id="389" creationId="{CEBF470B-D3BF-7FC4-9635-DEBC223EBE66}"/>
          </ac:spMkLst>
        </pc:spChg>
        <pc:spChg chg="mod">
          <ac:chgData name="Kebba Jeng" userId="fe4cc296-ba7d-48a2-8799-89b58d218255" providerId="ADAL" clId="{253D94E7-442D-460C-9F4C-18558C0A0590}" dt="2022-05-22T16:49:38.015" v="950"/>
          <ac:spMkLst>
            <pc:docMk/>
            <pc:sldMk cId="1821985377" sldId="2134803575"/>
            <ac:spMk id="390" creationId="{A61C60AA-8E87-04E0-CE96-C35737681AF6}"/>
          </ac:spMkLst>
        </pc:spChg>
        <pc:spChg chg="mod">
          <ac:chgData name="Kebba Jeng" userId="fe4cc296-ba7d-48a2-8799-89b58d218255" providerId="ADAL" clId="{253D94E7-442D-460C-9F4C-18558C0A0590}" dt="2022-05-22T16:49:38.015" v="950"/>
          <ac:spMkLst>
            <pc:docMk/>
            <pc:sldMk cId="1821985377" sldId="2134803575"/>
            <ac:spMk id="391" creationId="{3AB921B0-1BF4-BE3A-699C-15C0DBCD52C4}"/>
          </ac:spMkLst>
        </pc:spChg>
        <pc:spChg chg="mod">
          <ac:chgData name="Kebba Jeng" userId="fe4cc296-ba7d-48a2-8799-89b58d218255" providerId="ADAL" clId="{253D94E7-442D-460C-9F4C-18558C0A0590}" dt="2022-05-22T16:49:38.015" v="950"/>
          <ac:spMkLst>
            <pc:docMk/>
            <pc:sldMk cId="1821985377" sldId="2134803575"/>
            <ac:spMk id="392" creationId="{FF0CFC81-3DF9-E8E5-F640-FB83AF237907}"/>
          </ac:spMkLst>
        </pc:spChg>
        <pc:spChg chg="mod">
          <ac:chgData name="Kebba Jeng" userId="fe4cc296-ba7d-48a2-8799-89b58d218255" providerId="ADAL" clId="{253D94E7-442D-460C-9F4C-18558C0A0590}" dt="2022-05-22T16:49:38.015" v="950"/>
          <ac:spMkLst>
            <pc:docMk/>
            <pc:sldMk cId="1821985377" sldId="2134803575"/>
            <ac:spMk id="393" creationId="{7C846472-CEFB-84BE-E715-3BC905EBD890}"/>
          </ac:spMkLst>
        </pc:spChg>
        <pc:spChg chg="mod">
          <ac:chgData name="Kebba Jeng" userId="fe4cc296-ba7d-48a2-8799-89b58d218255" providerId="ADAL" clId="{253D94E7-442D-460C-9F4C-18558C0A0590}" dt="2022-05-22T16:49:38.015" v="950"/>
          <ac:spMkLst>
            <pc:docMk/>
            <pc:sldMk cId="1821985377" sldId="2134803575"/>
            <ac:spMk id="394" creationId="{3A62C8E9-6538-DD8C-BCC4-5D3A988142CE}"/>
          </ac:spMkLst>
        </pc:spChg>
        <pc:spChg chg="mod">
          <ac:chgData name="Kebba Jeng" userId="fe4cc296-ba7d-48a2-8799-89b58d218255" providerId="ADAL" clId="{253D94E7-442D-460C-9F4C-18558C0A0590}" dt="2022-05-22T16:49:38.015" v="950"/>
          <ac:spMkLst>
            <pc:docMk/>
            <pc:sldMk cId="1821985377" sldId="2134803575"/>
            <ac:spMk id="395" creationId="{06F8E85B-46BC-89A8-D86B-97AFB4BE88F3}"/>
          </ac:spMkLst>
        </pc:spChg>
        <pc:spChg chg="mod">
          <ac:chgData name="Kebba Jeng" userId="fe4cc296-ba7d-48a2-8799-89b58d218255" providerId="ADAL" clId="{253D94E7-442D-460C-9F4C-18558C0A0590}" dt="2022-05-22T16:49:38.015" v="950"/>
          <ac:spMkLst>
            <pc:docMk/>
            <pc:sldMk cId="1821985377" sldId="2134803575"/>
            <ac:spMk id="396" creationId="{D6A9324B-ECF0-578B-55DF-69D82B15D56E}"/>
          </ac:spMkLst>
        </pc:spChg>
        <pc:spChg chg="mod">
          <ac:chgData name="Kebba Jeng" userId="fe4cc296-ba7d-48a2-8799-89b58d218255" providerId="ADAL" clId="{253D94E7-442D-460C-9F4C-18558C0A0590}" dt="2022-05-22T16:49:38.015" v="950"/>
          <ac:spMkLst>
            <pc:docMk/>
            <pc:sldMk cId="1821985377" sldId="2134803575"/>
            <ac:spMk id="397" creationId="{BF3EEC7B-E8F8-97EF-1C88-DCCBA815EE4D}"/>
          </ac:spMkLst>
        </pc:spChg>
        <pc:spChg chg="mod">
          <ac:chgData name="Kebba Jeng" userId="fe4cc296-ba7d-48a2-8799-89b58d218255" providerId="ADAL" clId="{253D94E7-442D-460C-9F4C-18558C0A0590}" dt="2022-05-22T16:49:38.015" v="950"/>
          <ac:spMkLst>
            <pc:docMk/>
            <pc:sldMk cId="1821985377" sldId="2134803575"/>
            <ac:spMk id="398" creationId="{9227EE00-E420-F948-B62E-03F58DB735B8}"/>
          </ac:spMkLst>
        </pc:spChg>
        <pc:spChg chg="mod">
          <ac:chgData name="Kebba Jeng" userId="fe4cc296-ba7d-48a2-8799-89b58d218255" providerId="ADAL" clId="{253D94E7-442D-460C-9F4C-18558C0A0590}" dt="2022-05-22T16:49:38.015" v="950"/>
          <ac:spMkLst>
            <pc:docMk/>
            <pc:sldMk cId="1821985377" sldId="2134803575"/>
            <ac:spMk id="399" creationId="{B68A8413-F9D2-57AC-C6DF-137DFEA9C915}"/>
          </ac:spMkLst>
        </pc:spChg>
        <pc:spChg chg="mod">
          <ac:chgData name="Kebba Jeng" userId="fe4cc296-ba7d-48a2-8799-89b58d218255" providerId="ADAL" clId="{253D94E7-442D-460C-9F4C-18558C0A0590}" dt="2022-05-22T16:49:38.015" v="950"/>
          <ac:spMkLst>
            <pc:docMk/>
            <pc:sldMk cId="1821985377" sldId="2134803575"/>
            <ac:spMk id="400" creationId="{6E4B67CD-60F0-7A1E-0CCB-2FFCE14F76F8}"/>
          </ac:spMkLst>
        </pc:spChg>
        <pc:spChg chg="mod">
          <ac:chgData name="Kebba Jeng" userId="fe4cc296-ba7d-48a2-8799-89b58d218255" providerId="ADAL" clId="{253D94E7-442D-460C-9F4C-18558C0A0590}" dt="2022-05-22T16:49:38.015" v="950"/>
          <ac:spMkLst>
            <pc:docMk/>
            <pc:sldMk cId="1821985377" sldId="2134803575"/>
            <ac:spMk id="401" creationId="{A38A2D0E-16C2-BCAD-DE89-BA530E0FB14F}"/>
          </ac:spMkLst>
        </pc:spChg>
        <pc:spChg chg="mod">
          <ac:chgData name="Kebba Jeng" userId="fe4cc296-ba7d-48a2-8799-89b58d218255" providerId="ADAL" clId="{253D94E7-442D-460C-9F4C-18558C0A0590}" dt="2022-05-22T16:49:38.015" v="950"/>
          <ac:spMkLst>
            <pc:docMk/>
            <pc:sldMk cId="1821985377" sldId="2134803575"/>
            <ac:spMk id="402" creationId="{E29F03A5-C8AC-0157-3C32-B940C02D03EC}"/>
          </ac:spMkLst>
        </pc:spChg>
        <pc:spChg chg="mod">
          <ac:chgData name="Kebba Jeng" userId="fe4cc296-ba7d-48a2-8799-89b58d218255" providerId="ADAL" clId="{253D94E7-442D-460C-9F4C-18558C0A0590}" dt="2022-05-22T16:49:38.015" v="950"/>
          <ac:spMkLst>
            <pc:docMk/>
            <pc:sldMk cId="1821985377" sldId="2134803575"/>
            <ac:spMk id="403" creationId="{5F3C4E55-EEF7-21A3-CB2E-7FD4DA401BAC}"/>
          </ac:spMkLst>
        </pc:spChg>
        <pc:grpChg chg="add del mod">
          <ac:chgData name="Kebba Jeng" userId="fe4cc296-ba7d-48a2-8799-89b58d218255" providerId="ADAL" clId="{253D94E7-442D-460C-9F4C-18558C0A0590}" dt="2022-05-22T16:49:35.307" v="946"/>
          <ac:grpSpMkLst>
            <pc:docMk/>
            <pc:sldMk cId="1821985377" sldId="2134803575"/>
            <ac:grpSpMk id="202" creationId="{46D73CC3-4B50-6447-5C17-B96A1E7AB400}"/>
          </ac:grpSpMkLst>
        </pc:grpChg>
        <pc:grpChg chg="mod">
          <ac:chgData name="Kebba Jeng" userId="fe4cc296-ba7d-48a2-8799-89b58d218255" providerId="ADAL" clId="{253D94E7-442D-460C-9F4C-18558C0A0590}" dt="2022-05-22T16:49:32.969" v="945"/>
          <ac:grpSpMkLst>
            <pc:docMk/>
            <pc:sldMk cId="1821985377" sldId="2134803575"/>
            <ac:grpSpMk id="203" creationId="{4B356BBA-2EDC-FAE1-4C58-70C96EF6CE8A}"/>
          </ac:grpSpMkLst>
        </pc:grpChg>
        <pc:grpChg chg="add mod">
          <ac:chgData name="Kebba Jeng" userId="fe4cc296-ba7d-48a2-8799-89b58d218255" providerId="ADAL" clId="{253D94E7-442D-460C-9F4C-18558C0A0590}" dt="2022-05-22T16:49:37.073" v="949"/>
          <ac:grpSpMkLst>
            <pc:docMk/>
            <pc:sldMk cId="1821985377" sldId="2134803575"/>
            <ac:grpSpMk id="270" creationId="{4EB4E1C1-7331-74B1-7F46-83B6AE493C84}"/>
          </ac:grpSpMkLst>
        </pc:grpChg>
        <pc:grpChg chg="mod">
          <ac:chgData name="Kebba Jeng" userId="fe4cc296-ba7d-48a2-8799-89b58d218255" providerId="ADAL" clId="{253D94E7-442D-460C-9F4C-18558C0A0590}" dt="2022-05-22T16:49:37.073" v="949"/>
          <ac:grpSpMkLst>
            <pc:docMk/>
            <pc:sldMk cId="1821985377" sldId="2134803575"/>
            <ac:grpSpMk id="271" creationId="{E60221FB-0020-51AE-1C05-DF6C0031EB2C}"/>
          </ac:grpSpMkLst>
        </pc:grpChg>
        <pc:grpChg chg="add del mod">
          <ac:chgData name="Kebba Jeng" userId="fe4cc296-ba7d-48a2-8799-89b58d218255" providerId="ADAL" clId="{253D94E7-442D-460C-9F4C-18558C0A0590}" dt="2022-05-22T16:49:40.444" v="951"/>
          <ac:grpSpMkLst>
            <pc:docMk/>
            <pc:sldMk cId="1821985377" sldId="2134803575"/>
            <ac:grpSpMk id="337" creationId="{9C73B20A-A16A-3328-4055-8351959CC8D8}"/>
          </ac:grpSpMkLst>
        </pc:grpChg>
        <pc:grpChg chg="mod">
          <ac:chgData name="Kebba Jeng" userId="fe4cc296-ba7d-48a2-8799-89b58d218255" providerId="ADAL" clId="{253D94E7-442D-460C-9F4C-18558C0A0590}" dt="2022-05-22T16:49:38.015" v="950"/>
          <ac:grpSpMkLst>
            <pc:docMk/>
            <pc:sldMk cId="1821985377" sldId="2134803575"/>
            <ac:grpSpMk id="338" creationId="{306FC1B2-AE77-71D7-0D24-F8CF3BC1A7C2}"/>
          </ac:grpSpMkLst>
        </pc:grpChg>
        <pc:picChg chg="add del">
          <ac:chgData name="Kebba Jeng" userId="fe4cc296-ba7d-48a2-8799-89b58d218255" providerId="ADAL" clId="{253D94E7-442D-460C-9F4C-18558C0A0590}" dt="2022-05-22T16:49:36.213" v="948"/>
          <ac:picMkLst>
            <pc:docMk/>
            <pc:sldMk cId="1821985377" sldId="2134803575"/>
            <ac:picMk id="2" creationId="{60AE83E0-8F32-1F50-75BE-5578505142EE}"/>
          </ac:picMkLst>
        </pc:picChg>
        <pc:picChg chg="add del">
          <ac:chgData name="Kebba Jeng" userId="fe4cc296-ba7d-48a2-8799-89b58d218255" providerId="ADAL" clId="{253D94E7-442D-460C-9F4C-18558C0A0590}" dt="2022-05-22T16:49:41.318" v="953" actId="21"/>
          <ac:picMkLst>
            <pc:docMk/>
            <pc:sldMk cId="1821985377" sldId="2134803575"/>
            <ac:picMk id="3" creationId="{EB8CD582-0122-837B-0275-753CF31A3535}"/>
          </ac:picMkLst>
        </pc:picChg>
      </pc:sldChg>
      <pc:sldChg chg="addSp delSp modSp add mod">
        <pc:chgData name="Kebba Jeng" userId="fe4cc296-ba7d-48a2-8799-89b58d218255" providerId="ADAL" clId="{253D94E7-442D-460C-9F4C-18558C0A0590}" dt="2022-05-22T16:01:50.344" v="351" actId="14100"/>
        <pc:sldMkLst>
          <pc:docMk/>
          <pc:sldMk cId="2327988399" sldId="2134803577"/>
        </pc:sldMkLst>
        <pc:spChg chg="add mod">
          <ac:chgData name="Kebba Jeng" userId="fe4cc296-ba7d-48a2-8799-89b58d218255" providerId="ADAL" clId="{253D94E7-442D-460C-9F4C-18558C0A0590}" dt="2022-05-22T15:58:48.405" v="239" actId="2085"/>
          <ac:spMkLst>
            <pc:docMk/>
            <pc:sldMk cId="2327988399" sldId="2134803577"/>
            <ac:spMk id="2" creationId="{C86CE873-91E4-A3C6-43AB-15025081728A}"/>
          </ac:spMkLst>
        </pc:spChg>
        <pc:spChg chg="mod">
          <ac:chgData name="Kebba Jeng" userId="fe4cc296-ba7d-48a2-8799-89b58d218255" providerId="ADAL" clId="{253D94E7-442D-460C-9F4C-18558C0A0590}" dt="2022-05-22T15:59:46.675" v="314" actId="14100"/>
          <ac:spMkLst>
            <pc:docMk/>
            <pc:sldMk cId="2327988399" sldId="2134803577"/>
            <ac:spMk id="18" creationId="{78814215-0367-481C-9C55-4D1E578BA9A6}"/>
          </ac:spMkLst>
        </pc:spChg>
        <pc:spChg chg="add mod">
          <ac:chgData name="Kebba Jeng" userId="fe4cc296-ba7d-48a2-8799-89b58d218255" providerId="ADAL" clId="{253D94E7-442D-460C-9F4C-18558C0A0590}" dt="2022-05-22T15:56:13.776" v="191" actId="571"/>
          <ac:spMkLst>
            <pc:docMk/>
            <pc:sldMk cId="2327988399" sldId="2134803577"/>
            <ac:spMk id="20" creationId="{49A7169F-B6B4-9544-62AC-340281364C8C}"/>
          </ac:spMkLst>
        </pc:spChg>
        <pc:spChg chg="add mod">
          <ac:chgData name="Kebba Jeng" userId="fe4cc296-ba7d-48a2-8799-89b58d218255" providerId="ADAL" clId="{253D94E7-442D-460C-9F4C-18558C0A0590}" dt="2022-05-22T15:56:17.947" v="193" actId="1076"/>
          <ac:spMkLst>
            <pc:docMk/>
            <pc:sldMk cId="2327988399" sldId="2134803577"/>
            <ac:spMk id="21" creationId="{3ACECF72-F806-CE6A-1CB5-02851D83FECC}"/>
          </ac:spMkLst>
        </pc:spChg>
        <pc:spChg chg="add del mod">
          <ac:chgData name="Kebba Jeng" userId="fe4cc296-ba7d-48a2-8799-89b58d218255" providerId="ADAL" clId="{253D94E7-442D-460C-9F4C-18558C0A0590}" dt="2022-05-22T15:57:05.739" v="197" actId="478"/>
          <ac:spMkLst>
            <pc:docMk/>
            <pc:sldMk cId="2327988399" sldId="2134803577"/>
            <ac:spMk id="22" creationId="{808542E3-A5AD-3689-CBA4-AABBC1841275}"/>
          </ac:spMkLst>
        </pc:spChg>
        <pc:spChg chg="add mod">
          <ac:chgData name="Kebba Jeng" userId="fe4cc296-ba7d-48a2-8799-89b58d218255" providerId="ADAL" clId="{253D94E7-442D-460C-9F4C-18558C0A0590}" dt="2022-05-22T15:59:41.191" v="313" actId="20577"/>
          <ac:spMkLst>
            <pc:docMk/>
            <pc:sldMk cId="2327988399" sldId="2134803577"/>
            <ac:spMk id="23" creationId="{2F615D42-C7C2-1064-DA12-3644E7612952}"/>
          </ac:spMkLst>
        </pc:spChg>
        <pc:spChg chg="add mod">
          <ac:chgData name="Kebba Jeng" userId="fe4cc296-ba7d-48a2-8799-89b58d218255" providerId="ADAL" clId="{253D94E7-442D-460C-9F4C-18558C0A0590}" dt="2022-05-22T16:00:03.740" v="335" actId="20577"/>
          <ac:spMkLst>
            <pc:docMk/>
            <pc:sldMk cId="2327988399" sldId="2134803577"/>
            <ac:spMk id="24" creationId="{A5B77608-CC78-23D9-8EE7-5D9444B0FE8F}"/>
          </ac:spMkLst>
        </pc:spChg>
        <pc:spChg chg="mod">
          <ac:chgData name="Kebba Jeng" userId="fe4cc296-ba7d-48a2-8799-89b58d218255" providerId="ADAL" clId="{253D94E7-442D-460C-9F4C-18558C0A0590}" dt="2022-05-22T15:59:52.745" v="317" actId="1076"/>
          <ac:spMkLst>
            <pc:docMk/>
            <pc:sldMk cId="2327988399" sldId="2134803577"/>
            <ac:spMk id="1703" creationId="{00000000-0000-0000-0000-000000000000}"/>
          </ac:spMkLst>
        </pc:spChg>
        <pc:spChg chg="mod">
          <ac:chgData name="Kebba Jeng" userId="fe4cc296-ba7d-48a2-8799-89b58d218255" providerId="ADAL" clId="{253D94E7-442D-460C-9F4C-18558C0A0590}" dt="2022-05-22T15:57:12.965" v="199" actId="20577"/>
          <ac:spMkLst>
            <pc:docMk/>
            <pc:sldMk cId="2327988399" sldId="2134803577"/>
            <ac:spMk id="1705" creationId="{00000000-0000-0000-0000-000000000000}"/>
          </ac:spMkLst>
        </pc:spChg>
        <pc:spChg chg="mod">
          <ac:chgData name="Kebba Jeng" userId="fe4cc296-ba7d-48a2-8799-89b58d218255" providerId="ADAL" clId="{253D94E7-442D-460C-9F4C-18558C0A0590}" dt="2022-05-22T15:57:56.460" v="236" actId="20577"/>
          <ac:spMkLst>
            <pc:docMk/>
            <pc:sldMk cId="2327988399" sldId="2134803577"/>
            <ac:spMk id="1708" creationId="{00000000-0000-0000-0000-000000000000}"/>
          </ac:spMkLst>
        </pc:spChg>
        <pc:spChg chg="mod">
          <ac:chgData name="Kebba Jeng" userId="fe4cc296-ba7d-48a2-8799-89b58d218255" providerId="ADAL" clId="{253D94E7-442D-460C-9F4C-18558C0A0590}" dt="2022-05-22T15:56:28.809" v="195" actId="14100"/>
          <ac:spMkLst>
            <pc:docMk/>
            <pc:sldMk cId="2327988399" sldId="2134803577"/>
            <ac:spMk id="1711" creationId="{00000000-0000-0000-0000-000000000000}"/>
          </ac:spMkLst>
        </pc:spChg>
        <pc:spChg chg="mod">
          <ac:chgData name="Kebba Jeng" userId="fe4cc296-ba7d-48a2-8799-89b58d218255" providerId="ADAL" clId="{253D94E7-442D-460C-9F4C-18558C0A0590}" dt="2022-05-22T16:00:46.954" v="342" actId="14100"/>
          <ac:spMkLst>
            <pc:docMk/>
            <pc:sldMk cId="2327988399" sldId="2134803577"/>
            <ac:spMk id="1712" creationId="{00000000-0000-0000-0000-000000000000}"/>
          </ac:spMkLst>
        </pc:spChg>
        <pc:spChg chg="mod">
          <ac:chgData name="Kebba Jeng" userId="fe4cc296-ba7d-48a2-8799-89b58d218255" providerId="ADAL" clId="{253D94E7-442D-460C-9F4C-18558C0A0590}" dt="2022-05-22T16:00:31.465" v="340" actId="14100"/>
          <ac:spMkLst>
            <pc:docMk/>
            <pc:sldMk cId="2327988399" sldId="2134803577"/>
            <ac:spMk id="1715" creationId="{00000000-0000-0000-0000-000000000000}"/>
          </ac:spMkLst>
        </pc:spChg>
        <pc:spChg chg="mod">
          <ac:chgData name="Kebba Jeng" userId="fe4cc296-ba7d-48a2-8799-89b58d218255" providerId="ADAL" clId="{253D94E7-442D-460C-9F4C-18558C0A0590}" dt="2022-05-22T16:01:50.344" v="351" actId="14100"/>
          <ac:spMkLst>
            <pc:docMk/>
            <pc:sldMk cId="2327988399" sldId="2134803577"/>
            <ac:spMk id="1716" creationId="{00000000-0000-0000-0000-000000000000}"/>
          </ac:spMkLst>
        </pc:spChg>
        <pc:cxnChg chg="add mod">
          <ac:chgData name="Kebba Jeng" userId="fe4cc296-ba7d-48a2-8799-89b58d218255" providerId="ADAL" clId="{253D94E7-442D-460C-9F4C-18558C0A0590}" dt="2022-05-22T16:01:17.719" v="347" actId="1582"/>
          <ac:cxnSpMkLst>
            <pc:docMk/>
            <pc:sldMk cId="2327988399" sldId="2134803577"/>
            <ac:cxnSpMk id="4" creationId="{F5EEC351-B179-3861-0EED-AF210C1F1874}"/>
          </ac:cxnSpMkLst>
        </pc:cxnChg>
      </pc:sldChg>
      <pc:sldChg chg="addSp delSp modSp add mod">
        <pc:chgData name="Kebba Jeng" userId="fe4cc296-ba7d-48a2-8799-89b58d218255" providerId="ADAL" clId="{253D94E7-442D-460C-9F4C-18558C0A0590}" dt="2022-05-22T16:09:09.604" v="440" actId="207"/>
        <pc:sldMkLst>
          <pc:docMk/>
          <pc:sldMk cId="2210084470" sldId="2134803578"/>
        </pc:sldMkLst>
        <pc:spChg chg="del mod">
          <ac:chgData name="Kebba Jeng" userId="fe4cc296-ba7d-48a2-8799-89b58d218255" providerId="ADAL" clId="{253D94E7-442D-460C-9F4C-18558C0A0590}" dt="2022-05-22T16:02:11.145" v="355" actId="478"/>
          <ac:spMkLst>
            <pc:docMk/>
            <pc:sldMk cId="2210084470" sldId="2134803578"/>
            <ac:spMk id="2" creationId="{C86CE873-91E4-A3C6-43AB-15025081728A}"/>
          </ac:spMkLst>
        </pc:spChg>
        <pc:spChg chg="mod">
          <ac:chgData name="Kebba Jeng" userId="fe4cc296-ba7d-48a2-8799-89b58d218255" providerId="ADAL" clId="{253D94E7-442D-460C-9F4C-18558C0A0590}" dt="2022-05-22T16:05:58.723" v="412" actId="1076"/>
          <ac:spMkLst>
            <pc:docMk/>
            <pc:sldMk cId="2210084470" sldId="2134803578"/>
            <ac:spMk id="18" creationId="{78814215-0367-481C-9C55-4D1E578BA9A6}"/>
          </ac:spMkLst>
        </pc:spChg>
        <pc:spChg chg="mod">
          <ac:chgData name="Kebba Jeng" userId="fe4cc296-ba7d-48a2-8799-89b58d218255" providerId="ADAL" clId="{253D94E7-442D-460C-9F4C-18558C0A0590}" dt="2022-05-22T16:08:27.959" v="432" actId="207"/>
          <ac:spMkLst>
            <pc:docMk/>
            <pc:sldMk cId="2210084470" sldId="2134803578"/>
            <ac:spMk id="20" creationId="{49A7169F-B6B4-9544-62AC-340281364C8C}"/>
          </ac:spMkLst>
        </pc:spChg>
        <pc:spChg chg="mod">
          <ac:chgData name="Kebba Jeng" userId="fe4cc296-ba7d-48a2-8799-89b58d218255" providerId="ADAL" clId="{253D94E7-442D-460C-9F4C-18558C0A0590}" dt="2022-05-22T16:08:27.959" v="432" actId="207"/>
          <ac:spMkLst>
            <pc:docMk/>
            <pc:sldMk cId="2210084470" sldId="2134803578"/>
            <ac:spMk id="21" creationId="{3ACECF72-F806-CE6A-1CB5-02851D83FECC}"/>
          </ac:spMkLst>
        </pc:spChg>
        <pc:spChg chg="del">
          <ac:chgData name="Kebba Jeng" userId="fe4cc296-ba7d-48a2-8799-89b58d218255" providerId="ADAL" clId="{253D94E7-442D-460C-9F4C-18558C0A0590}" dt="2022-05-22T16:02:09.141" v="353" actId="478"/>
          <ac:spMkLst>
            <pc:docMk/>
            <pc:sldMk cId="2210084470" sldId="2134803578"/>
            <ac:spMk id="23" creationId="{2F615D42-C7C2-1064-DA12-3644E7612952}"/>
          </ac:spMkLst>
        </pc:spChg>
        <pc:spChg chg="mod">
          <ac:chgData name="Kebba Jeng" userId="fe4cc296-ba7d-48a2-8799-89b58d218255" providerId="ADAL" clId="{253D94E7-442D-460C-9F4C-18558C0A0590}" dt="2022-05-22T16:09:09.604" v="440" actId="207"/>
          <ac:spMkLst>
            <pc:docMk/>
            <pc:sldMk cId="2210084470" sldId="2134803578"/>
            <ac:spMk id="24" creationId="{A5B77608-CC78-23D9-8EE7-5D9444B0FE8F}"/>
          </ac:spMkLst>
        </pc:spChg>
        <pc:spChg chg="add mod">
          <ac:chgData name="Kebba Jeng" userId="fe4cc296-ba7d-48a2-8799-89b58d218255" providerId="ADAL" clId="{253D94E7-442D-460C-9F4C-18558C0A0590}" dt="2022-05-22T16:08:37.846" v="433" actId="207"/>
          <ac:spMkLst>
            <pc:docMk/>
            <pc:sldMk cId="2210084470" sldId="2134803578"/>
            <ac:spMk id="25" creationId="{60461610-E5C8-A67A-EAE5-E462A82C0185}"/>
          </ac:spMkLst>
        </pc:spChg>
        <pc:spChg chg="mod">
          <ac:chgData name="Kebba Jeng" userId="fe4cc296-ba7d-48a2-8799-89b58d218255" providerId="ADAL" clId="{253D94E7-442D-460C-9F4C-18558C0A0590}" dt="2022-05-22T16:09:02.598" v="438" actId="207"/>
          <ac:spMkLst>
            <pc:docMk/>
            <pc:sldMk cId="2210084470" sldId="2134803578"/>
            <ac:spMk id="1703" creationId="{00000000-0000-0000-0000-000000000000}"/>
          </ac:spMkLst>
        </pc:spChg>
        <pc:spChg chg="mod">
          <ac:chgData name="Kebba Jeng" userId="fe4cc296-ba7d-48a2-8799-89b58d218255" providerId="ADAL" clId="{253D94E7-442D-460C-9F4C-18558C0A0590}" dt="2022-05-22T16:08:27.959" v="432" actId="207"/>
          <ac:spMkLst>
            <pc:docMk/>
            <pc:sldMk cId="2210084470" sldId="2134803578"/>
            <ac:spMk id="1704" creationId="{00000000-0000-0000-0000-000000000000}"/>
          </ac:spMkLst>
        </pc:spChg>
        <pc:spChg chg="mod">
          <ac:chgData name="Kebba Jeng" userId="fe4cc296-ba7d-48a2-8799-89b58d218255" providerId="ADAL" clId="{253D94E7-442D-460C-9F4C-18558C0A0590}" dt="2022-05-22T16:08:52.373" v="436" actId="207"/>
          <ac:spMkLst>
            <pc:docMk/>
            <pc:sldMk cId="2210084470" sldId="2134803578"/>
            <ac:spMk id="1705" creationId="{00000000-0000-0000-0000-000000000000}"/>
          </ac:spMkLst>
        </pc:spChg>
        <pc:spChg chg="mod">
          <ac:chgData name="Kebba Jeng" userId="fe4cc296-ba7d-48a2-8799-89b58d218255" providerId="ADAL" clId="{253D94E7-442D-460C-9F4C-18558C0A0590}" dt="2022-05-22T16:08:42.264" v="434" actId="207"/>
          <ac:spMkLst>
            <pc:docMk/>
            <pc:sldMk cId="2210084470" sldId="2134803578"/>
            <ac:spMk id="1706" creationId="{00000000-0000-0000-0000-000000000000}"/>
          </ac:spMkLst>
        </pc:spChg>
        <pc:spChg chg="mod">
          <ac:chgData name="Kebba Jeng" userId="fe4cc296-ba7d-48a2-8799-89b58d218255" providerId="ADAL" clId="{253D94E7-442D-460C-9F4C-18558C0A0590}" dt="2022-05-22T16:08:52.373" v="436" actId="207"/>
          <ac:spMkLst>
            <pc:docMk/>
            <pc:sldMk cId="2210084470" sldId="2134803578"/>
            <ac:spMk id="1707" creationId="{00000000-0000-0000-0000-000000000000}"/>
          </ac:spMkLst>
        </pc:spChg>
        <pc:spChg chg="mod">
          <ac:chgData name="Kebba Jeng" userId="fe4cc296-ba7d-48a2-8799-89b58d218255" providerId="ADAL" clId="{253D94E7-442D-460C-9F4C-18558C0A0590}" dt="2022-05-22T16:08:52.373" v="436" actId="207"/>
          <ac:spMkLst>
            <pc:docMk/>
            <pc:sldMk cId="2210084470" sldId="2134803578"/>
            <ac:spMk id="1708" creationId="{00000000-0000-0000-0000-000000000000}"/>
          </ac:spMkLst>
        </pc:spChg>
        <pc:spChg chg="mod">
          <ac:chgData name="Kebba Jeng" userId="fe4cc296-ba7d-48a2-8799-89b58d218255" providerId="ADAL" clId="{253D94E7-442D-460C-9F4C-18558C0A0590}" dt="2022-05-22T16:08:23.050" v="431" actId="207"/>
          <ac:spMkLst>
            <pc:docMk/>
            <pc:sldMk cId="2210084470" sldId="2134803578"/>
            <ac:spMk id="1709" creationId="{00000000-0000-0000-0000-000000000000}"/>
          </ac:spMkLst>
        </pc:spChg>
        <pc:spChg chg="mod">
          <ac:chgData name="Kebba Jeng" userId="fe4cc296-ba7d-48a2-8799-89b58d218255" providerId="ADAL" clId="{253D94E7-442D-460C-9F4C-18558C0A0590}" dt="2022-05-22T16:08:48.179" v="435" actId="207"/>
          <ac:spMkLst>
            <pc:docMk/>
            <pc:sldMk cId="2210084470" sldId="2134803578"/>
            <ac:spMk id="1710" creationId="{00000000-0000-0000-0000-000000000000}"/>
          </ac:spMkLst>
        </pc:spChg>
        <pc:spChg chg="del">
          <ac:chgData name="Kebba Jeng" userId="fe4cc296-ba7d-48a2-8799-89b58d218255" providerId="ADAL" clId="{253D94E7-442D-460C-9F4C-18558C0A0590}" dt="2022-05-22T16:02:14.242" v="356" actId="478"/>
          <ac:spMkLst>
            <pc:docMk/>
            <pc:sldMk cId="2210084470" sldId="2134803578"/>
            <ac:spMk id="1711" creationId="{00000000-0000-0000-0000-000000000000}"/>
          </ac:spMkLst>
        </pc:spChg>
        <pc:spChg chg="del">
          <ac:chgData name="Kebba Jeng" userId="fe4cc296-ba7d-48a2-8799-89b58d218255" providerId="ADAL" clId="{253D94E7-442D-460C-9F4C-18558C0A0590}" dt="2022-05-22T16:06:32.287" v="415" actId="478"/>
          <ac:spMkLst>
            <pc:docMk/>
            <pc:sldMk cId="2210084470" sldId="2134803578"/>
            <ac:spMk id="1712" creationId="{00000000-0000-0000-0000-000000000000}"/>
          </ac:spMkLst>
        </pc:spChg>
        <pc:spChg chg="del">
          <ac:chgData name="Kebba Jeng" userId="fe4cc296-ba7d-48a2-8799-89b58d218255" providerId="ADAL" clId="{253D94E7-442D-460C-9F4C-18558C0A0590}" dt="2022-05-22T16:03:41.680" v="391" actId="478"/>
          <ac:spMkLst>
            <pc:docMk/>
            <pc:sldMk cId="2210084470" sldId="2134803578"/>
            <ac:spMk id="1713" creationId="{00000000-0000-0000-0000-000000000000}"/>
          </ac:spMkLst>
        </pc:spChg>
        <pc:spChg chg="del">
          <ac:chgData name="Kebba Jeng" userId="fe4cc296-ba7d-48a2-8799-89b58d218255" providerId="ADAL" clId="{253D94E7-442D-460C-9F4C-18558C0A0590}" dt="2022-05-22T16:03:44.023" v="392" actId="478"/>
          <ac:spMkLst>
            <pc:docMk/>
            <pc:sldMk cId="2210084470" sldId="2134803578"/>
            <ac:spMk id="1714" creationId="{00000000-0000-0000-0000-000000000000}"/>
          </ac:spMkLst>
        </pc:spChg>
        <pc:spChg chg="del">
          <ac:chgData name="Kebba Jeng" userId="fe4cc296-ba7d-48a2-8799-89b58d218255" providerId="ADAL" clId="{253D94E7-442D-460C-9F4C-18558C0A0590}" dt="2022-05-22T16:06:32.287" v="415" actId="478"/>
          <ac:spMkLst>
            <pc:docMk/>
            <pc:sldMk cId="2210084470" sldId="2134803578"/>
            <ac:spMk id="1715" creationId="{00000000-0000-0000-0000-000000000000}"/>
          </ac:spMkLst>
        </pc:spChg>
        <pc:spChg chg="del">
          <ac:chgData name="Kebba Jeng" userId="fe4cc296-ba7d-48a2-8799-89b58d218255" providerId="ADAL" clId="{253D94E7-442D-460C-9F4C-18558C0A0590}" dt="2022-05-22T16:03:46.801" v="393" actId="478"/>
          <ac:spMkLst>
            <pc:docMk/>
            <pc:sldMk cId="2210084470" sldId="2134803578"/>
            <ac:spMk id="1716" creationId="{00000000-0000-0000-0000-000000000000}"/>
          </ac:spMkLst>
        </pc:spChg>
        <pc:spChg chg="del mod">
          <ac:chgData name="Kebba Jeng" userId="fe4cc296-ba7d-48a2-8799-89b58d218255" providerId="ADAL" clId="{253D94E7-442D-460C-9F4C-18558C0A0590}" dt="2022-05-22T16:04:40.703" v="402" actId="478"/>
          <ac:spMkLst>
            <pc:docMk/>
            <pc:sldMk cId="2210084470" sldId="2134803578"/>
            <ac:spMk id="1717" creationId="{00000000-0000-0000-0000-000000000000}"/>
          </ac:spMkLst>
        </pc:spChg>
        <pc:cxnChg chg="del mod">
          <ac:chgData name="Kebba Jeng" userId="fe4cc296-ba7d-48a2-8799-89b58d218255" providerId="ADAL" clId="{253D94E7-442D-460C-9F4C-18558C0A0590}" dt="2022-05-22T16:04:18.594" v="398" actId="478"/>
          <ac:cxnSpMkLst>
            <pc:docMk/>
            <pc:sldMk cId="2210084470" sldId="2134803578"/>
            <ac:cxnSpMk id="4" creationId="{F5EEC351-B179-3861-0EED-AF210C1F1874}"/>
          </ac:cxnSpMkLst>
        </pc:cxnChg>
        <pc:cxnChg chg="add mod">
          <ac:chgData name="Kebba Jeng" userId="fe4cc296-ba7d-48a2-8799-89b58d218255" providerId="ADAL" clId="{253D94E7-442D-460C-9F4C-18558C0A0590}" dt="2022-05-22T16:06:43.862" v="417" actId="1076"/>
          <ac:cxnSpMkLst>
            <pc:docMk/>
            <pc:sldMk cId="2210084470" sldId="2134803578"/>
            <ac:cxnSpMk id="6" creationId="{72E63F2E-FF27-29A0-15C7-EF799625B252}"/>
          </ac:cxnSpMkLst>
        </pc:cxnChg>
        <pc:cxnChg chg="add del mod">
          <ac:chgData name="Kebba Jeng" userId="fe4cc296-ba7d-48a2-8799-89b58d218255" providerId="ADAL" clId="{253D94E7-442D-460C-9F4C-18558C0A0590}" dt="2022-05-22T16:07:41.505" v="428" actId="478"/>
          <ac:cxnSpMkLst>
            <pc:docMk/>
            <pc:sldMk cId="2210084470" sldId="2134803578"/>
            <ac:cxnSpMk id="12" creationId="{50E361A2-2FE9-0A68-CBDC-54795E900337}"/>
          </ac:cxnSpMkLst>
        </pc:cxnChg>
        <pc:cxnChg chg="add">
          <ac:chgData name="Kebba Jeng" userId="fe4cc296-ba7d-48a2-8799-89b58d218255" providerId="ADAL" clId="{253D94E7-442D-460C-9F4C-18558C0A0590}" dt="2022-05-22T16:07:05.988" v="422" actId="11529"/>
          <ac:cxnSpMkLst>
            <pc:docMk/>
            <pc:sldMk cId="2210084470" sldId="2134803578"/>
            <ac:cxnSpMk id="14" creationId="{265FC2E7-D1C3-F623-589C-6BFEE64F1DF8}"/>
          </ac:cxnSpMkLst>
        </pc:cxnChg>
        <pc:cxnChg chg="add del mod">
          <ac:chgData name="Kebba Jeng" userId="fe4cc296-ba7d-48a2-8799-89b58d218255" providerId="ADAL" clId="{253D94E7-442D-460C-9F4C-18558C0A0590}" dt="2022-05-22T16:07:38.674" v="427" actId="478"/>
          <ac:cxnSpMkLst>
            <pc:docMk/>
            <pc:sldMk cId="2210084470" sldId="2134803578"/>
            <ac:cxnSpMk id="39" creationId="{6464D68F-6EF3-C335-2299-EAEA18FDFBF3}"/>
          </ac:cxnSpMkLst>
        </pc:cxnChg>
      </pc:sldChg>
      <pc:sldChg chg="addSp delSp modSp add mod">
        <pc:chgData name="Kebba Jeng" userId="fe4cc296-ba7d-48a2-8799-89b58d218255" providerId="ADAL" clId="{253D94E7-442D-460C-9F4C-18558C0A0590}" dt="2022-05-29T11:05:18.760" v="2337" actId="20577"/>
        <pc:sldMkLst>
          <pc:docMk/>
          <pc:sldMk cId="3069102908" sldId="2134803579"/>
        </pc:sldMkLst>
        <pc:spChg chg="del mod">
          <ac:chgData name="Kebba Jeng" userId="fe4cc296-ba7d-48a2-8799-89b58d218255" providerId="ADAL" clId="{253D94E7-442D-460C-9F4C-18558C0A0590}" dt="2022-05-22T16:30:15.858" v="794" actId="478"/>
          <ac:spMkLst>
            <pc:docMk/>
            <pc:sldMk cId="3069102908" sldId="2134803579"/>
            <ac:spMk id="18" creationId="{78814215-0367-481C-9C55-4D1E578BA9A6}"/>
          </ac:spMkLst>
        </pc:spChg>
        <pc:spChg chg="del mod">
          <ac:chgData name="Kebba Jeng" userId="fe4cc296-ba7d-48a2-8799-89b58d218255" providerId="ADAL" clId="{253D94E7-442D-460C-9F4C-18558C0A0590}" dt="2022-05-22T16:12:27.591" v="470" actId="478"/>
          <ac:spMkLst>
            <pc:docMk/>
            <pc:sldMk cId="3069102908" sldId="2134803579"/>
            <ac:spMk id="20" creationId="{49A7169F-B6B4-9544-62AC-340281364C8C}"/>
          </ac:spMkLst>
        </pc:spChg>
        <pc:spChg chg="del mod">
          <ac:chgData name="Kebba Jeng" userId="fe4cc296-ba7d-48a2-8799-89b58d218255" providerId="ADAL" clId="{253D94E7-442D-460C-9F4C-18558C0A0590}" dt="2022-05-22T16:12:27.591" v="470" actId="478"/>
          <ac:spMkLst>
            <pc:docMk/>
            <pc:sldMk cId="3069102908" sldId="2134803579"/>
            <ac:spMk id="21" creationId="{3ACECF72-F806-CE6A-1CB5-02851D83FECC}"/>
          </ac:spMkLst>
        </pc:spChg>
        <pc:spChg chg="mod">
          <ac:chgData name="Kebba Jeng" userId="fe4cc296-ba7d-48a2-8799-89b58d218255" providerId="ADAL" clId="{253D94E7-442D-460C-9F4C-18558C0A0590}" dt="2022-05-23T11:22:01.967" v="2328" actId="1076"/>
          <ac:spMkLst>
            <pc:docMk/>
            <pc:sldMk cId="3069102908" sldId="2134803579"/>
            <ac:spMk id="24" creationId="{A5B77608-CC78-23D9-8EE7-5D9444B0FE8F}"/>
          </ac:spMkLst>
        </pc:spChg>
        <pc:spChg chg="mod">
          <ac:chgData name="Kebba Jeng" userId="fe4cc296-ba7d-48a2-8799-89b58d218255" providerId="ADAL" clId="{253D94E7-442D-460C-9F4C-18558C0A0590}" dt="2022-05-23T11:21:43.791" v="2326" actId="1076"/>
          <ac:spMkLst>
            <pc:docMk/>
            <pc:sldMk cId="3069102908" sldId="2134803579"/>
            <ac:spMk id="25" creationId="{60461610-E5C8-A67A-EAE5-E462A82C0185}"/>
          </ac:spMkLst>
        </pc:spChg>
        <pc:spChg chg="add mod">
          <ac:chgData name="Kebba Jeng" userId="fe4cc296-ba7d-48a2-8799-89b58d218255" providerId="ADAL" clId="{253D94E7-442D-460C-9F4C-18558C0A0590}" dt="2022-05-22T16:26:47.676" v="737" actId="1076"/>
          <ac:spMkLst>
            <pc:docMk/>
            <pc:sldMk cId="3069102908" sldId="2134803579"/>
            <ac:spMk id="39" creationId="{052E31E9-ABA5-C642-76EC-84403DCBFB10}"/>
          </ac:spMkLst>
        </pc:spChg>
        <pc:spChg chg="add mod">
          <ac:chgData name="Kebba Jeng" userId="fe4cc296-ba7d-48a2-8799-89b58d218255" providerId="ADAL" clId="{253D94E7-442D-460C-9F4C-18558C0A0590}" dt="2022-05-22T16:26:47.676" v="737" actId="1076"/>
          <ac:spMkLst>
            <pc:docMk/>
            <pc:sldMk cId="3069102908" sldId="2134803579"/>
            <ac:spMk id="42" creationId="{0706C61A-BFEC-6296-41A5-C5AD369FBDF9}"/>
          </ac:spMkLst>
        </pc:spChg>
        <pc:spChg chg="add mod">
          <ac:chgData name="Kebba Jeng" userId="fe4cc296-ba7d-48a2-8799-89b58d218255" providerId="ADAL" clId="{253D94E7-442D-460C-9F4C-18558C0A0590}" dt="2022-05-23T11:17:40.129" v="2309" actId="1076"/>
          <ac:spMkLst>
            <pc:docMk/>
            <pc:sldMk cId="3069102908" sldId="2134803579"/>
            <ac:spMk id="50" creationId="{96042235-BCF0-0F7F-29A5-554B1F2B86B2}"/>
          </ac:spMkLst>
        </pc:spChg>
        <pc:spChg chg="add del mod">
          <ac:chgData name="Kebba Jeng" userId="fe4cc296-ba7d-48a2-8799-89b58d218255" providerId="ADAL" clId="{253D94E7-442D-460C-9F4C-18558C0A0590}" dt="2022-05-22T16:14:26.303" v="493" actId="478"/>
          <ac:spMkLst>
            <pc:docMk/>
            <pc:sldMk cId="3069102908" sldId="2134803579"/>
            <ac:spMk id="52" creationId="{4D4A4801-B23C-2EBB-1583-CA02024EDDD1}"/>
          </ac:spMkLst>
        </pc:spChg>
        <pc:spChg chg="add mod">
          <ac:chgData name="Kebba Jeng" userId="fe4cc296-ba7d-48a2-8799-89b58d218255" providerId="ADAL" clId="{253D94E7-442D-460C-9F4C-18558C0A0590}" dt="2022-05-22T16:26:47.676" v="737" actId="1076"/>
          <ac:spMkLst>
            <pc:docMk/>
            <pc:sldMk cId="3069102908" sldId="2134803579"/>
            <ac:spMk id="53" creationId="{DB900979-1713-1CAD-445F-C2BF89AE9045}"/>
          </ac:spMkLst>
        </pc:spChg>
        <pc:spChg chg="add mod topLvl">
          <ac:chgData name="Kebba Jeng" userId="fe4cc296-ba7d-48a2-8799-89b58d218255" providerId="ADAL" clId="{253D94E7-442D-460C-9F4C-18558C0A0590}" dt="2022-05-22T16:26:29.527" v="735" actId="165"/>
          <ac:spMkLst>
            <pc:docMk/>
            <pc:sldMk cId="3069102908" sldId="2134803579"/>
            <ac:spMk id="73" creationId="{CB86E50C-BE28-81E1-4006-F22A585BB459}"/>
          </ac:spMkLst>
        </pc:spChg>
        <pc:spChg chg="add del mod">
          <ac:chgData name="Kebba Jeng" userId="fe4cc296-ba7d-48a2-8799-89b58d218255" providerId="ADAL" clId="{253D94E7-442D-460C-9F4C-18558C0A0590}" dt="2022-05-22T16:26:15.104" v="732" actId="478"/>
          <ac:spMkLst>
            <pc:docMk/>
            <pc:sldMk cId="3069102908" sldId="2134803579"/>
            <ac:spMk id="74" creationId="{F1E6CE4A-1DEA-9BF9-0032-E3E95DE55DD5}"/>
          </ac:spMkLst>
        </pc:spChg>
        <pc:spChg chg="add mod topLvl">
          <ac:chgData name="Kebba Jeng" userId="fe4cc296-ba7d-48a2-8799-89b58d218255" providerId="ADAL" clId="{253D94E7-442D-460C-9F4C-18558C0A0590}" dt="2022-05-22T16:26:29.527" v="735" actId="165"/>
          <ac:spMkLst>
            <pc:docMk/>
            <pc:sldMk cId="3069102908" sldId="2134803579"/>
            <ac:spMk id="76" creationId="{F69138A5-4927-2752-2C8A-CA718625C75C}"/>
          </ac:spMkLst>
        </pc:spChg>
        <pc:spChg chg="add mod topLvl">
          <ac:chgData name="Kebba Jeng" userId="fe4cc296-ba7d-48a2-8799-89b58d218255" providerId="ADAL" clId="{253D94E7-442D-460C-9F4C-18558C0A0590}" dt="2022-05-22T16:26:29.527" v="735" actId="165"/>
          <ac:spMkLst>
            <pc:docMk/>
            <pc:sldMk cId="3069102908" sldId="2134803579"/>
            <ac:spMk id="77" creationId="{6ED3F055-443A-E230-1D1A-2D18D5BA71EE}"/>
          </ac:spMkLst>
        </pc:spChg>
        <pc:spChg chg="add mod topLvl">
          <ac:chgData name="Kebba Jeng" userId="fe4cc296-ba7d-48a2-8799-89b58d218255" providerId="ADAL" clId="{253D94E7-442D-460C-9F4C-18558C0A0590}" dt="2022-05-22T16:26:29.527" v="735" actId="165"/>
          <ac:spMkLst>
            <pc:docMk/>
            <pc:sldMk cId="3069102908" sldId="2134803579"/>
            <ac:spMk id="78" creationId="{D69DE338-2544-12D4-849E-EF2D91E74F6B}"/>
          </ac:spMkLst>
        </pc:spChg>
        <pc:spChg chg="add mod topLvl">
          <ac:chgData name="Kebba Jeng" userId="fe4cc296-ba7d-48a2-8799-89b58d218255" providerId="ADAL" clId="{253D94E7-442D-460C-9F4C-18558C0A0590}" dt="2022-05-22T16:28:38.762" v="787" actId="114"/>
          <ac:spMkLst>
            <pc:docMk/>
            <pc:sldMk cId="3069102908" sldId="2134803579"/>
            <ac:spMk id="79" creationId="{467B8C07-8721-6D08-6781-6E034BCE99B4}"/>
          </ac:spMkLst>
        </pc:spChg>
        <pc:spChg chg="add mod topLvl">
          <ac:chgData name="Kebba Jeng" userId="fe4cc296-ba7d-48a2-8799-89b58d218255" providerId="ADAL" clId="{253D94E7-442D-460C-9F4C-18558C0A0590}" dt="2022-05-22T16:26:29.527" v="735" actId="165"/>
          <ac:spMkLst>
            <pc:docMk/>
            <pc:sldMk cId="3069102908" sldId="2134803579"/>
            <ac:spMk id="80" creationId="{61F5C874-A4F5-74F9-4806-4E7692880E71}"/>
          </ac:spMkLst>
        </pc:spChg>
        <pc:spChg chg="add mod topLvl">
          <ac:chgData name="Kebba Jeng" userId="fe4cc296-ba7d-48a2-8799-89b58d218255" providerId="ADAL" clId="{253D94E7-442D-460C-9F4C-18558C0A0590}" dt="2022-05-22T16:26:29.527" v="735" actId="165"/>
          <ac:spMkLst>
            <pc:docMk/>
            <pc:sldMk cId="3069102908" sldId="2134803579"/>
            <ac:spMk id="81" creationId="{B0FF096F-7BC6-524D-C089-F6549E4006EC}"/>
          </ac:spMkLst>
        </pc:spChg>
        <pc:spChg chg="add mod">
          <ac:chgData name="Kebba Jeng" userId="fe4cc296-ba7d-48a2-8799-89b58d218255" providerId="ADAL" clId="{253D94E7-442D-460C-9F4C-18558C0A0590}" dt="2022-05-22T16:30:48.308" v="840" actId="1076"/>
          <ac:spMkLst>
            <pc:docMk/>
            <pc:sldMk cId="3069102908" sldId="2134803579"/>
            <ac:spMk id="83" creationId="{D407FA0E-1647-BFD9-7845-44AF2FA41C1C}"/>
          </ac:spMkLst>
        </pc:spChg>
        <pc:spChg chg="add mod">
          <ac:chgData name="Kebba Jeng" userId="fe4cc296-ba7d-48a2-8799-89b58d218255" providerId="ADAL" clId="{253D94E7-442D-460C-9F4C-18558C0A0590}" dt="2022-05-29T11:05:18.760" v="2337" actId="20577"/>
          <ac:spMkLst>
            <pc:docMk/>
            <pc:sldMk cId="3069102908" sldId="2134803579"/>
            <ac:spMk id="84" creationId="{F880E24C-5597-00C7-3693-6625534B3575}"/>
          </ac:spMkLst>
        </pc:spChg>
        <pc:spChg chg="add mod">
          <ac:chgData name="Kebba Jeng" userId="fe4cc296-ba7d-48a2-8799-89b58d218255" providerId="ADAL" clId="{253D94E7-442D-460C-9F4C-18558C0A0590}" dt="2022-05-23T11:23:36.938" v="2336" actId="1076"/>
          <ac:spMkLst>
            <pc:docMk/>
            <pc:sldMk cId="3069102908" sldId="2134803579"/>
            <ac:spMk id="87" creationId="{6DEBDE6F-02BE-1366-2AEC-96D6267FA4C6}"/>
          </ac:spMkLst>
        </pc:spChg>
        <pc:spChg chg="add mod topLvl">
          <ac:chgData name="Kebba Jeng" userId="fe4cc296-ba7d-48a2-8799-89b58d218255" providerId="ADAL" clId="{253D94E7-442D-460C-9F4C-18558C0A0590}" dt="2022-05-22T16:28:31.259" v="785" actId="114"/>
          <ac:spMkLst>
            <pc:docMk/>
            <pc:sldMk cId="3069102908" sldId="2134803579"/>
            <ac:spMk id="1665" creationId="{03C8F327-E2D6-06B5-E608-A204B3178202}"/>
          </ac:spMkLst>
        </pc:spChg>
        <pc:spChg chg="mod">
          <ac:chgData name="Kebba Jeng" userId="fe4cc296-ba7d-48a2-8799-89b58d218255" providerId="ADAL" clId="{253D94E7-442D-460C-9F4C-18558C0A0590}" dt="2022-05-23T11:22:01.967" v="2328" actId="1076"/>
          <ac:spMkLst>
            <pc:docMk/>
            <pc:sldMk cId="3069102908" sldId="2134803579"/>
            <ac:spMk id="1703" creationId="{00000000-0000-0000-0000-000000000000}"/>
          </ac:spMkLst>
        </pc:spChg>
        <pc:spChg chg="mod">
          <ac:chgData name="Kebba Jeng" userId="fe4cc296-ba7d-48a2-8799-89b58d218255" providerId="ADAL" clId="{253D94E7-442D-460C-9F4C-18558C0A0590}" dt="2022-05-22T16:26:47.676" v="737" actId="1076"/>
          <ac:spMkLst>
            <pc:docMk/>
            <pc:sldMk cId="3069102908" sldId="2134803579"/>
            <ac:spMk id="1704" creationId="{00000000-0000-0000-0000-000000000000}"/>
          </ac:spMkLst>
        </pc:spChg>
        <pc:spChg chg="del mod">
          <ac:chgData name="Kebba Jeng" userId="fe4cc296-ba7d-48a2-8799-89b58d218255" providerId="ADAL" clId="{253D94E7-442D-460C-9F4C-18558C0A0590}" dt="2022-05-23T11:17:33.062" v="2306" actId="21"/>
          <ac:spMkLst>
            <pc:docMk/>
            <pc:sldMk cId="3069102908" sldId="2134803579"/>
            <ac:spMk id="1705" creationId="{00000000-0000-0000-0000-000000000000}"/>
          </ac:spMkLst>
        </pc:spChg>
        <pc:spChg chg="mod">
          <ac:chgData name="Kebba Jeng" userId="fe4cc296-ba7d-48a2-8799-89b58d218255" providerId="ADAL" clId="{253D94E7-442D-460C-9F4C-18558C0A0590}" dt="2022-05-23T11:21:27.962" v="2322" actId="14100"/>
          <ac:spMkLst>
            <pc:docMk/>
            <pc:sldMk cId="3069102908" sldId="2134803579"/>
            <ac:spMk id="1706" creationId="{00000000-0000-0000-0000-000000000000}"/>
          </ac:spMkLst>
        </pc:spChg>
        <pc:spChg chg="del mod">
          <ac:chgData name="Kebba Jeng" userId="fe4cc296-ba7d-48a2-8799-89b58d218255" providerId="ADAL" clId="{253D94E7-442D-460C-9F4C-18558C0A0590}" dt="2022-05-22T16:13:48.164" v="487" actId="478"/>
          <ac:spMkLst>
            <pc:docMk/>
            <pc:sldMk cId="3069102908" sldId="2134803579"/>
            <ac:spMk id="1707" creationId="{00000000-0000-0000-0000-000000000000}"/>
          </ac:spMkLst>
        </pc:spChg>
        <pc:spChg chg="del mod">
          <ac:chgData name="Kebba Jeng" userId="fe4cc296-ba7d-48a2-8799-89b58d218255" providerId="ADAL" clId="{253D94E7-442D-460C-9F4C-18558C0A0590}" dt="2022-05-22T16:14:56.389" v="500" actId="478"/>
          <ac:spMkLst>
            <pc:docMk/>
            <pc:sldMk cId="3069102908" sldId="2134803579"/>
            <ac:spMk id="1708" creationId="{00000000-0000-0000-0000-000000000000}"/>
          </ac:spMkLst>
        </pc:spChg>
        <pc:spChg chg="mod">
          <ac:chgData name="Kebba Jeng" userId="fe4cc296-ba7d-48a2-8799-89b58d218255" providerId="ADAL" clId="{253D94E7-442D-460C-9F4C-18558C0A0590}" dt="2022-05-22T16:26:47.676" v="737" actId="1076"/>
          <ac:spMkLst>
            <pc:docMk/>
            <pc:sldMk cId="3069102908" sldId="2134803579"/>
            <ac:spMk id="1709" creationId="{00000000-0000-0000-0000-000000000000}"/>
          </ac:spMkLst>
        </pc:spChg>
        <pc:spChg chg="mod">
          <ac:chgData name="Kebba Jeng" userId="fe4cc296-ba7d-48a2-8799-89b58d218255" providerId="ADAL" clId="{253D94E7-442D-460C-9F4C-18558C0A0590}" dt="2022-05-22T16:26:47.676" v="737" actId="1076"/>
          <ac:spMkLst>
            <pc:docMk/>
            <pc:sldMk cId="3069102908" sldId="2134803579"/>
            <ac:spMk id="1710" creationId="{00000000-0000-0000-0000-000000000000}"/>
          </ac:spMkLst>
        </pc:spChg>
        <pc:grpChg chg="add del mod">
          <ac:chgData name="Kebba Jeng" userId="fe4cc296-ba7d-48a2-8799-89b58d218255" providerId="ADAL" clId="{253D94E7-442D-460C-9F4C-18558C0A0590}" dt="2022-05-22T16:30:48.308" v="840" actId="1076"/>
          <ac:grpSpMkLst>
            <pc:docMk/>
            <pc:sldMk cId="3069102908" sldId="2134803579"/>
            <ac:grpSpMk id="1666" creationId="{D8C6DB3D-ADCF-9149-2B8B-34438EFE3A3B}"/>
          </ac:grpSpMkLst>
        </pc:grpChg>
        <pc:cxnChg chg="add mod">
          <ac:chgData name="Kebba Jeng" userId="fe4cc296-ba7d-48a2-8799-89b58d218255" providerId="ADAL" clId="{253D94E7-442D-460C-9F4C-18558C0A0590}" dt="2022-05-22T16:26:47.676" v="737" actId="1076"/>
          <ac:cxnSpMkLst>
            <pc:docMk/>
            <pc:sldMk cId="3069102908" sldId="2134803579"/>
            <ac:cxnSpMk id="3" creationId="{DAA37092-0352-4A3C-A14B-0F10E9BB0BB0}"/>
          </ac:cxnSpMkLst>
        </pc:cxnChg>
        <pc:cxnChg chg="add mod">
          <ac:chgData name="Kebba Jeng" userId="fe4cc296-ba7d-48a2-8799-89b58d218255" providerId="ADAL" clId="{253D94E7-442D-460C-9F4C-18558C0A0590}" dt="2022-05-22T16:26:47.676" v="737" actId="1076"/>
          <ac:cxnSpMkLst>
            <pc:docMk/>
            <pc:sldMk cId="3069102908" sldId="2134803579"/>
            <ac:cxnSpMk id="5" creationId="{24270099-0590-9F75-E5A5-9D1C2E14396A}"/>
          </ac:cxnSpMkLst>
        </pc:cxnChg>
        <pc:cxnChg chg="mod">
          <ac:chgData name="Kebba Jeng" userId="fe4cc296-ba7d-48a2-8799-89b58d218255" providerId="ADAL" clId="{253D94E7-442D-460C-9F4C-18558C0A0590}" dt="2022-05-23T11:22:01.967" v="2328" actId="1076"/>
          <ac:cxnSpMkLst>
            <pc:docMk/>
            <pc:sldMk cId="3069102908" sldId="2134803579"/>
            <ac:cxnSpMk id="6" creationId="{72E63F2E-FF27-29A0-15C7-EF799625B252}"/>
          </ac:cxnSpMkLst>
        </pc:cxnChg>
        <pc:cxnChg chg="add mod">
          <ac:chgData name="Kebba Jeng" userId="fe4cc296-ba7d-48a2-8799-89b58d218255" providerId="ADAL" clId="{253D94E7-442D-460C-9F4C-18558C0A0590}" dt="2022-05-22T16:26:47.676" v="737" actId="1076"/>
          <ac:cxnSpMkLst>
            <pc:docMk/>
            <pc:sldMk cId="3069102908" sldId="2134803579"/>
            <ac:cxnSpMk id="8" creationId="{1A6E09CA-6DB8-9B3C-EB97-11AF6D914D3C}"/>
          </ac:cxnSpMkLst>
        </pc:cxnChg>
        <pc:cxnChg chg="add mod">
          <ac:chgData name="Kebba Jeng" userId="fe4cc296-ba7d-48a2-8799-89b58d218255" providerId="ADAL" clId="{253D94E7-442D-460C-9F4C-18558C0A0590}" dt="2022-05-23T11:17:40.129" v="2309" actId="1076"/>
          <ac:cxnSpMkLst>
            <pc:docMk/>
            <pc:sldMk cId="3069102908" sldId="2134803579"/>
            <ac:cxnSpMk id="10" creationId="{C501C88D-257A-8C46-7B7C-5BAD41F6C908}"/>
          </ac:cxnSpMkLst>
        </pc:cxnChg>
        <pc:cxnChg chg="add mod">
          <ac:chgData name="Kebba Jeng" userId="fe4cc296-ba7d-48a2-8799-89b58d218255" providerId="ADAL" clId="{253D94E7-442D-460C-9F4C-18558C0A0590}" dt="2022-05-22T16:26:47.676" v="737" actId="1076"/>
          <ac:cxnSpMkLst>
            <pc:docMk/>
            <pc:sldMk cId="3069102908" sldId="2134803579"/>
            <ac:cxnSpMk id="12" creationId="{DB524CC8-79B0-7802-5951-4AE4E248A453}"/>
          </ac:cxnSpMkLst>
        </pc:cxnChg>
        <pc:cxnChg chg="mod">
          <ac:chgData name="Kebba Jeng" userId="fe4cc296-ba7d-48a2-8799-89b58d218255" providerId="ADAL" clId="{253D94E7-442D-460C-9F4C-18558C0A0590}" dt="2022-05-23T11:22:01.967" v="2328" actId="1076"/>
          <ac:cxnSpMkLst>
            <pc:docMk/>
            <pc:sldMk cId="3069102908" sldId="2134803579"/>
            <ac:cxnSpMk id="14" creationId="{265FC2E7-D1C3-F623-589C-6BFEE64F1DF8}"/>
          </ac:cxnSpMkLst>
        </pc:cxnChg>
        <pc:cxnChg chg="add del mod">
          <ac:chgData name="Kebba Jeng" userId="fe4cc296-ba7d-48a2-8799-89b58d218255" providerId="ADAL" clId="{253D94E7-442D-460C-9F4C-18558C0A0590}" dt="2022-05-23T11:17:34.580" v="2307" actId="478"/>
          <ac:cxnSpMkLst>
            <pc:docMk/>
            <pc:sldMk cId="3069102908" sldId="2134803579"/>
            <ac:cxnSpMk id="15" creationId="{896FB5A4-5640-B6D6-4EAB-6AAEC0741B81}"/>
          </ac:cxnSpMkLst>
        </pc:cxnChg>
        <pc:cxnChg chg="add mod">
          <ac:chgData name="Kebba Jeng" userId="fe4cc296-ba7d-48a2-8799-89b58d218255" providerId="ADAL" clId="{253D94E7-442D-460C-9F4C-18558C0A0590}" dt="2022-05-23T11:21:43.791" v="2326" actId="1076"/>
          <ac:cxnSpMkLst>
            <pc:docMk/>
            <pc:sldMk cId="3069102908" sldId="2134803579"/>
            <ac:cxnSpMk id="47" creationId="{319A1DD6-ECD8-49EE-065C-30DF46248EAC}"/>
          </ac:cxnSpMkLst>
        </pc:cxnChg>
        <pc:cxnChg chg="add del mod">
          <ac:chgData name="Kebba Jeng" userId="fe4cc296-ba7d-48a2-8799-89b58d218255" providerId="ADAL" clId="{253D94E7-442D-460C-9F4C-18558C0A0590}" dt="2022-05-23T11:22:08.753" v="2330" actId="478"/>
          <ac:cxnSpMkLst>
            <pc:docMk/>
            <pc:sldMk cId="3069102908" sldId="2134803579"/>
            <ac:cxnSpMk id="58" creationId="{9348D672-F855-59DD-B9E3-34F040A513D3}"/>
          </ac:cxnSpMkLst>
        </pc:cxnChg>
        <pc:cxnChg chg="add mod">
          <ac:chgData name="Kebba Jeng" userId="fe4cc296-ba7d-48a2-8799-89b58d218255" providerId="ADAL" clId="{253D94E7-442D-460C-9F4C-18558C0A0590}" dt="2022-05-23T11:22:01.967" v="2328" actId="1076"/>
          <ac:cxnSpMkLst>
            <pc:docMk/>
            <pc:sldMk cId="3069102908" sldId="2134803579"/>
            <ac:cxnSpMk id="60" creationId="{7139EB1C-EB95-45AC-E7C7-E6F121419133}"/>
          </ac:cxnSpMkLst>
        </pc:cxnChg>
        <pc:cxnChg chg="add mod">
          <ac:chgData name="Kebba Jeng" userId="fe4cc296-ba7d-48a2-8799-89b58d218255" providerId="ADAL" clId="{253D94E7-442D-460C-9F4C-18558C0A0590}" dt="2022-05-23T11:23:36.938" v="2336" actId="1076"/>
          <ac:cxnSpMkLst>
            <pc:docMk/>
            <pc:sldMk cId="3069102908" sldId="2134803579"/>
            <ac:cxnSpMk id="1671" creationId="{7CF7676E-913A-9EAD-6E36-E84F788FF8AB}"/>
          </ac:cxnSpMkLst>
        </pc:cxnChg>
        <pc:cxnChg chg="add mod">
          <ac:chgData name="Kebba Jeng" userId="fe4cc296-ba7d-48a2-8799-89b58d218255" providerId="ADAL" clId="{253D94E7-442D-460C-9F4C-18558C0A0590}" dt="2022-05-23T11:23:25.837" v="2335" actId="1582"/>
          <ac:cxnSpMkLst>
            <pc:docMk/>
            <pc:sldMk cId="3069102908" sldId="2134803579"/>
            <ac:cxnSpMk id="1690" creationId="{95AB5376-D958-CF9C-C890-241AB6990480}"/>
          </ac:cxnSpMkLst>
        </pc:cxnChg>
      </pc:sldChg>
      <pc:sldChg chg="addSp delSp modSp add mod">
        <pc:chgData name="Kebba Jeng" userId="fe4cc296-ba7d-48a2-8799-89b58d218255" providerId="ADAL" clId="{253D94E7-442D-460C-9F4C-18558C0A0590}" dt="2022-05-22T16:44:49.749" v="880" actId="1076"/>
        <pc:sldMkLst>
          <pc:docMk/>
          <pc:sldMk cId="1360824604" sldId="2134803580"/>
        </pc:sldMkLst>
        <pc:spChg chg="del">
          <ac:chgData name="Kebba Jeng" userId="fe4cc296-ba7d-48a2-8799-89b58d218255" providerId="ADAL" clId="{253D94E7-442D-460C-9F4C-18558C0A0590}" dt="2022-05-22T16:40:59.637" v="844" actId="478"/>
          <ac:spMkLst>
            <pc:docMk/>
            <pc:sldMk cId="1360824604" sldId="2134803580"/>
            <ac:spMk id="24" creationId="{A5B77608-CC78-23D9-8EE7-5D9444B0FE8F}"/>
          </ac:spMkLst>
        </pc:spChg>
        <pc:spChg chg="del">
          <ac:chgData name="Kebba Jeng" userId="fe4cc296-ba7d-48a2-8799-89b58d218255" providerId="ADAL" clId="{253D94E7-442D-460C-9F4C-18558C0A0590}" dt="2022-05-22T16:40:54.432" v="842" actId="478"/>
          <ac:spMkLst>
            <pc:docMk/>
            <pc:sldMk cId="1360824604" sldId="2134803580"/>
            <ac:spMk id="25" creationId="{60461610-E5C8-A67A-EAE5-E462A82C0185}"/>
          </ac:spMkLst>
        </pc:spChg>
        <pc:spChg chg="del">
          <ac:chgData name="Kebba Jeng" userId="fe4cc296-ba7d-48a2-8799-89b58d218255" providerId="ADAL" clId="{253D94E7-442D-460C-9F4C-18558C0A0590}" dt="2022-05-22T16:40:54.432" v="842" actId="478"/>
          <ac:spMkLst>
            <pc:docMk/>
            <pc:sldMk cId="1360824604" sldId="2134803580"/>
            <ac:spMk id="39" creationId="{052E31E9-ABA5-C642-76EC-84403DCBFB10}"/>
          </ac:spMkLst>
        </pc:spChg>
        <pc:spChg chg="del">
          <ac:chgData name="Kebba Jeng" userId="fe4cc296-ba7d-48a2-8799-89b58d218255" providerId="ADAL" clId="{253D94E7-442D-460C-9F4C-18558C0A0590}" dt="2022-05-22T16:40:54.432" v="842" actId="478"/>
          <ac:spMkLst>
            <pc:docMk/>
            <pc:sldMk cId="1360824604" sldId="2134803580"/>
            <ac:spMk id="42" creationId="{0706C61A-BFEC-6296-41A5-C5AD369FBDF9}"/>
          </ac:spMkLst>
        </pc:spChg>
        <pc:spChg chg="del">
          <ac:chgData name="Kebba Jeng" userId="fe4cc296-ba7d-48a2-8799-89b58d218255" providerId="ADAL" clId="{253D94E7-442D-460C-9F4C-18558C0A0590}" dt="2022-05-22T16:40:54.432" v="842" actId="478"/>
          <ac:spMkLst>
            <pc:docMk/>
            <pc:sldMk cId="1360824604" sldId="2134803580"/>
            <ac:spMk id="50" creationId="{96042235-BCF0-0F7F-29A5-554B1F2B86B2}"/>
          </ac:spMkLst>
        </pc:spChg>
        <pc:spChg chg="del">
          <ac:chgData name="Kebba Jeng" userId="fe4cc296-ba7d-48a2-8799-89b58d218255" providerId="ADAL" clId="{253D94E7-442D-460C-9F4C-18558C0A0590}" dt="2022-05-22T16:40:54.432" v="842" actId="478"/>
          <ac:spMkLst>
            <pc:docMk/>
            <pc:sldMk cId="1360824604" sldId="2134803580"/>
            <ac:spMk id="53" creationId="{DB900979-1713-1CAD-445F-C2BF89AE9045}"/>
          </ac:spMkLst>
        </pc:spChg>
        <pc:spChg chg="del">
          <ac:chgData name="Kebba Jeng" userId="fe4cc296-ba7d-48a2-8799-89b58d218255" providerId="ADAL" clId="{253D94E7-442D-460C-9F4C-18558C0A0590}" dt="2022-05-22T16:40:59.637" v="844" actId="478"/>
          <ac:spMkLst>
            <pc:docMk/>
            <pc:sldMk cId="1360824604" sldId="2134803580"/>
            <ac:spMk id="1703" creationId="{00000000-0000-0000-0000-000000000000}"/>
          </ac:spMkLst>
        </pc:spChg>
        <pc:spChg chg="del">
          <ac:chgData name="Kebba Jeng" userId="fe4cc296-ba7d-48a2-8799-89b58d218255" providerId="ADAL" clId="{253D94E7-442D-460C-9F4C-18558C0A0590}" dt="2022-05-22T16:40:54.432" v="842" actId="478"/>
          <ac:spMkLst>
            <pc:docMk/>
            <pc:sldMk cId="1360824604" sldId="2134803580"/>
            <ac:spMk id="1704" creationId="{00000000-0000-0000-0000-000000000000}"/>
          </ac:spMkLst>
        </pc:spChg>
        <pc:spChg chg="del">
          <ac:chgData name="Kebba Jeng" userId="fe4cc296-ba7d-48a2-8799-89b58d218255" providerId="ADAL" clId="{253D94E7-442D-460C-9F4C-18558C0A0590}" dt="2022-05-22T16:40:54.432" v="842" actId="478"/>
          <ac:spMkLst>
            <pc:docMk/>
            <pc:sldMk cId="1360824604" sldId="2134803580"/>
            <ac:spMk id="1705" creationId="{00000000-0000-0000-0000-000000000000}"/>
          </ac:spMkLst>
        </pc:spChg>
        <pc:spChg chg="del">
          <ac:chgData name="Kebba Jeng" userId="fe4cc296-ba7d-48a2-8799-89b58d218255" providerId="ADAL" clId="{253D94E7-442D-460C-9F4C-18558C0A0590}" dt="2022-05-22T16:40:54.432" v="842" actId="478"/>
          <ac:spMkLst>
            <pc:docMk/>
            <pc:sldMk cId="1360824604" sldId="2134803580"/>
            <ac:spMk id="1706" creationId="{00000000-0000-0000-0000-000000000000}"/>
          </ac:spMkLst>
        </pc:spChg>
        <pc:spChg chg="del">
          <ac:chgData name="Kebba Jeng" userId="fe4cc296-ba7d-48a2-8799-89b58d218255" providerId="ADAL" clId="{253D94E7-442D-460C-9F4C-18558C0A0590}" dt="2022-05-22T16:40:54.432" v="842" actId="478"/>
          <ac:spMkLst>
            <pc:docMk/>
            <pc:sldMk cId="1360824604" sldId="2134803580"/>
            <ac:spMk id="1709" creationId="{00000000-0000-0000-0000-000000000000}"/>
          </ac:spMkLst>
        </pc:spChg>
        <pc:spChg chg="del">
          <ac:chgData name="Kebba Jeng" userId="fe4cc296-ba7d-48a2-8799-89b58d218255" providerId="ADAL" clId="{253D94E7-442D-460C-9F4C-18558C0A0590}" dt="2022-05-22T16:40:54.432" v="842" actId="478"/>
          <ac:spMkLst>
            <pc:docMk/>
            <pc:sldMk cId="1360824604" sldId="2134803580"/>
            <ac:spMk id="1710" creationId="{00000000-0000-0000-0000-000000000000}"/>
          </ac:spMkLst>
        </pc:spChg>
        <pc:picChg chg="add mod">
          <ac:chgData name="Kebba Jeng" userId="fe4cc296-ba7d-48a2-8799-89b58d218255" providerId="ADAL" clId="{253D94E7-442D-460C-9F4C-18558C0A0590}" dt="2022-05-22T16:44:49.749" v="880" actId="1076"/>
          <ac:picMkLst>
            <pc:docMk/>
            <pc:sldMk cId="1360824604" sldId="2134803580"/>
            <ac:picMk id="37" creationId="{6F3FB7BB-2551-847A-D805-C14015500CB7}"/>
          </ac:picMkLst>
        </pc:picChg>
        <pc:cxnChg chg="del mod">
          <ac:chgData name="Kebba Jeng" userId="fe4cc296-ba7d-48a2-8799-89b58d218255" providerId="ADAL" clId="{253D94E7-442D-460C-9F4C-18558C0A0590}" dt="2022-05-22T16:40:54.432" v="842" actId="478"/>
          <ac:cxnSpMkLst>
            <pc:docMk/>
            <pc:sldMk cId="1360824604" sldId="2134803580"/>
            <ac:cxnSpMk id="3" creationId="{DAA37092-0352-4A3C-A14B-0F10E9BB0BB0}"/>
          </ac:cxnSpMkLst>
        </pc:cxnChg>
        <pc:cxnChg chg="del mod">
          <ac:chgData name="Kebba Jeng" userId="fe4cc296-ba7d-48a2-8799-89b58d218255" providerId="ADAL" clId="{253D94E7-442D-460C-9F4C-18558C0A0590}" dt="2022-05-22T16:40:54.432" v="842" actId="478"/>
          <ac:cxnSpMkLst>
            <pc:docMk/>
            <pc:sldMk cId="1360824604" sldId="2134803580"/>
            <ac:cxnSpMk id="5" creationId="{24270099-0590-9F75-E5A5-9D1C2E14396A}"/>
          </ac:cxnSpMkLst>
        </pc:cxnChg>
        <pc:cxnChg chg="del mod">
          <ac:chgData name="Kebba Jeng" userId="fe4cc296-ba7d-48a2-8799-89b58d218255" providerId="ADAL" clId="{253D94E7-442D-460C-9F4C-18558C0A0590}" dt="2022-05-22T16:40:54.432" v="842" actId="478"/>
          <ac:cxnSpMkLst>
            <pc:docMk/>
            <pc:sldMk cId="1360824604" sldId="2134803580"/>
            <ac:cxnSpMk id="6" creationId="{72E63F2E-FF27-29A0-15C7-EF799625B252}"/>
          </ac:cxnSpMkLst>
        </pc:cxnChg>
        <pc:cxnChg chg="del mod">
          <ac:chgData name="Kebba Jeng" userId="fe4cc296-ba7d-48a2-8799-89b58d218255" providerId="ADAL" clId="{253D94E7-442D-460C-9F4C-18558C0A0590}" dt="2022-05-22T16:40:54.432" v="842" actId="478"/>
          <ac:cxnSpMkLst>
            <pc:docMk/>
            <pc:sldMk cId="1360824604" sldId="2134803580"/>
            <ac:cxnSpMk id="8" creationId="{1A6E09CA-6DB8-9B3C-EB97-11AF6D914D3C}"/>
          </ac:cxnSpMkLst>
        </pc:cxnChg>
        <pc:cxnChg chg="del mod">
          <ac:chgData name="Kebba Jeng" userId="fe4cc296-ba7d-48a2-8799-89b58d218255" providerId="ADAL" clId="{253D94E7-442D-460C-9F4C-18558C0A0590}" dt="2022-05-22T16:40:54.432" v="842" actId="478"/>
          <ac:cxnSpMkLst>
            <pc:docMk/>
            <pc:sldMk cId="1360824604" sldId="2134803580"/>
            <ac:cxnSpMk id="10" creationId="{C501C88D-257A-8C46-7B7C-5BAD41F6C908}"/>
          </ac:cxnSpMkLst>
        </pc:cxnChg>
        <pc:cxnChg chg="del mod">
          <ac:chgData name="Kebba Jeng" userId="fe4cc296-ba7d-48a2-8799-89b58d218255" providerId="ADAL" clId="{253D94E7-442D-460C-9F4C-18558C0A0590}" dt="2022-05-22T16:40:54.432" v="842" actId="478"/>
          <ac:cxnSpMkLst>
            <pc:docMk/>
            <pc:sldMk cId="1360824604" sldId="2134803580"/>
            <ac:cxnSpMk id="12" creationId="{DB524CC8-79B0-7802-5951-4AE4E248A453}"/>
          </ac:cxnSpMkLst>
        </pc:cxnChg>
        <pc:cxnChg chg="del mod">
          <ac:chgData name="Kebba Jeng" userId="fe4cc296-ba7d-48a2-8799-89b58d218255" providerId="ADAL" clId="{253D94E7-442D-460C-9F4C-18558C0A0590}" dt="2022-05-22T16:40:56.570" v="843" actId="478"/>
          <ac:cxnSpMkLst>
            <pc:docMk/>
            <pc:sldMk cId="1360824604" sldId="2134803580"/>
            <ac:cxnSpMk id="14" creationId="{265FC2E7-D1C3-F623-589C-6BFEE64F1DF8}"/>
          </ac:cxnSpMkLst>
        </pc:cxnChg>
        <pc:cxnChg chg="del mod">
          <ac:chgData name="Kebba Jeng" userId="fe4cc296-ba7d-48a2-8799-89b58d218255" providerId="ADAL" clId="{253D94E7-442D-460C-9F4C-18558C0A0590}" dt="2022-05-22T16:40:54.432" v="842" actId="478"/>
          <ac:cxnSpMkLst>
            <pc:docMk/>
            <pc:sldMk cId="1360824604" sldId="2134803580"/>
            <ac:cxnSpMk id="15" creationId="{896FB5A4-5640-B6D6-4EAB-6AAEC0741B81}"/>
          </ac:cxnSpMkLst>
        </pc:cxnChg>
        <pc:cxnChg chg="del mod">
          <ac:chgData name="Kebba Jeng" userId="fe4cc296-ba7d-48a2-8799-89b58d218255" providerId="ADAL" clId="{253D94E7-442D-460C-9F4C-18558C0A0590}" dt="2022-05-22T16:40:54.432" v="842" actId="478"/>
          <ac:cxnSpMkLst>
            <pc:docMk/>
            <pc:sldMk cId="1360824604" sldId="2134803580"/>
            <ac:cxnSpMk id="47" creationId="{319A1DD6-ECD8-49EE-065C-30DF46248EAC}"/>
          </ac:cxnSpMkLst>
        </pc:cxnChg>
        <pc:cxnChg chg="del">
          <ac:chgData name="Kebba Jeng" userId="fe4cc296-ba7d-48a2-8799-89b58d218255" providerId="ADAL" clId="{253D94E7-442D-460C-9F4C-18558C0A0590}" dt="2022-05-22T16:40:54.432" v="842" actId="478"/>
          <ac:cxnSpMkLst>
            <pc:docMk/>
            <pc:sldMk cId="1360824604" sldId="2134803580"/>
            <ac:cxnSpMk id="58" creationId="{9348D672-F855-59DD-B9E3-34F040A513D3}"/>
          </ac:cxnSpMkLst>
        </pc:cxnChg>
        <pc:cxnChg chg="del mod">
          <ac:chgData name="Kebba Jeng" userId="fe4cc296-ba7d-48a2-8799-89b58d218255" providerId="ADAL" clId="{253D94E7-442D-460C-9F4C-18558C0A0590}" dt="2022-05-22T16:40:54.432" v="842" actId="478"/>
          <ac:cxnSpMkLst>
            <pc:docMk/>
            <pc:sldMk cId="1360824604" sldId="2134803580"/>
            <ac:cxnSpMk id="60" creationId="{7139EB1C-EB95-45AC-E7C7-E6F121419133}"/>
          </ac:cxnSpMkLst>
        </pc:cxnChg>
      </pc:sldChg>
      <pc:sldChg chg="addSp delSp modSp add mod ord">
        <pc:chgData name="Kebba Jeng" userId="fe4cc296-ba7d-48a2-8799-89b58d218255" providerId="ADAL" clId="{253D94E7-442D-460C-9F4C-18558C0A0590}" dt="2022-05-22T16:51:08.979" v="969" actId="571"/>
        <pc:sldMkLst>
          <pc:docMk/>
          <pc:sldMk cId="1754528059" sldId="2134803581"/>
        </pc:sldMkLst>
        <pc:spChg chg="mod topLvl">
          <ac:chgData name="Kebba Jeng" userId="fe4cc296-ba7d-48a2-8799-89b58d218255" providerId="ADAL" clId="{253D94E7-442D-460C-9F4C-18558C0A0590}" dt="2022-05-22T16:50:10.761" v="956" actId="1076"/>
          <ac:spMkLst>
            <pc:docMk/>
            <pc:sldMk cId="1754528059" sldId="2134803581"/>
            <ac:spMk id="10" creationId="{6EF9F996-B0E4-4CC8-BCB5-8CBDFF77E898}"/>
          </ac:spMkLst>
        </pc:spChg>
        <pc:spChg chg="mod topLvl">
          <ac:chgData name="Kebba Jeng" userId="fe4cc296-ba7d-48a2-8799-89b58d218255" providerId="ADAL" clId="{253D94E7-442D-460C-9F4C-18558C0A0590}" dt="2022-05-22T16:50:10.761" v="956" actId="1076"/>
          <ac:spMkLst>
            <pc:docMk/>
            <pc:sldMk cId="1754528059" sldId="2134803581"/>
            <ac:spMk id="11" creationId="{C651408D-4C61-4F51-A7FD-D866AB775722}"/>
          </ac:spMkLst>
        </pc:spChg>
        <pc:spChg chg="add mod">
          <ac:chgData name="Kebba Jeng" userId="fe4cc296-ba7d-48a2-8799-89b58d218255" providerId="ADAL" clId="{253D94E7-442D-460C-9F4C-18558C0A0590}" dt="2022-05-22T16:50:26.845" v="960" actId="571"/>
          <ac:spMkLst>
            <pc:docMk/>
            <pc:sldMk cId="1754528059" sldId="2134803581"/>
            <ac:spMk id="43" creationId="{916C7F7D-11E3-E8C4-77B2-1F94AAF35F20}"/>
          </ac:spMkLst>
        </pc:spChg>
        <pc:spChg chg="add mod">
          <ac:chgData name="Kebba Jeng" userId="fe4cc296-ba7d-48a2-8799-89b58d218255" providerId="ADAL" clId="{253D94E7-442D-460C-9F4C-18558C0A0590}" dt="2022-05-22T16:50:26.845" v="960" actId="571"/>
          <ac:spMkLst>
            <pc:docMk/>
            <pc:sldMk cId="1754528059" sldId="2134803581"/>
            <ac:spMk id="44" creationId="{B9D829D3-3B40-61D4-1E28-63B45EB2B56F}"/>
          </ac:spMkLst>
        </pc:spChg>
        <pc:spChg chg="add mod">
          <ac:chgData name="Kebba Jeng" userId="fe4cc296-ba7d-48a2-8799-89b58d218255" providerId="ADAL" clId="{253D94E7-442D-460C-9F4C-18558C0A0590}" dt="2022-05-22T16:50:26.845" v="960" actId="571"/>
          <ac:spMkLst>
            <pc:docMk/>
            <pc:sldMk cId="1754528059" sldId="2134803581"/>
            <ac:spMk id="45" creationId="{6DF2406D-1598-56C6-E1F7-57A97BACB1C5}"/>
          </ac:spMkLst>
        </pc:spChg>
        <pc:spChg chg="add mod">
          <ac:chgData name="Kebba Jeng" userId="fe4cc296-ba7d-48a2-8799-89b58d218255" providerId="ADAL" clId="{253D94E7-442D-460C-9F4C-18558C0A0590}" dt="2022-05-22T16:50:26.845" v="960" actId="571"/>
          <ac:spMkLst>
            <pc:docMk/>
            <pc:sldMk cId="1754528059" sldId="2134803581"/>
            <ac:spMk id="46" creationId="{612B9B92-2EA4-7EE4-1493-59861F2D92A8}"/>
          </ac:spMkLst>
        </pc:spChg>
        <pc:spChg chg="mod">
          <ac:chgData name="Kebba Jeng" userId="fe4cc296-ba7d-48a2-8799-89b58d218255" providerId="ADAL" clId="{253D94E7-442D-460C-9F4C-18558C0A0590}" dt="2022-05-22T16:50:26.845" v="960" actId="571"/>
          <ac:spMkLst>
            <pc:docMk/>
            <pc:sldMk cId="1754528059" sldId="2134803581"/>
            <ac:spMk id="52" creationId="{A8009EBE-C29C-61C0-191D-807EDC3A8012}"/>
          </ac:spMkLst>
        </pc:spChg>
        <pc:spChg chg="mod">
          <ac:chgData name="Kebba Jeng" userId="fe4cc296-ba7d-48a2-8799-89b58d218255" providerId="ADAL" clId="{253D94E7-442D-460C-9F4C-18558C0A0590}" dt="2022-05-22T16:50:26.845" v="960" actId="571"/>
          <ac:spMkLst>
            <pc:docMk/>
            <pc:sldMk cId="1754528059" sldId="2134803581"/>
            <ac:spMk id="53" creationId="{1A0D292F-29CD-B00F-4EE0-0078EADE0EFE}"/>
          </ac:spMkLst>
        </pc:spChg>
        <pc:spChg chg="add mod">
          <ac:chgData name="Kebba Jeng" userId="fe4cc296-ba7d-48a2-8799-89b58d218255" providerId="ADAL" clId="{253D94E7-442D-460C-9F4C-18558C0A0590}" dt="2022-05-22T16:50:26.845" v="960" actId="571"/>
          <ac:spMkLst>
            <pc:docMk/>
            <pc:sldMk cId="1754528059" sldId="2134803581"/>
            <ac:spMk id="54" creationId="{26BCC45D-332F-0F2F-C7B8-ED470F350E32}"/>
          </ac:spMkLst>
        </pc:spChg>
        <pc:spChg chg="add mod">
          <ac:chgData name="Kebba Jeng" userId="fe4cc296-ba7d-48a2-8799-89b58d218255" providerId="ADAL" clId="{253D94E7-442D-460C-9F4C-18558C0A0590}" dt="2022-05-22T16:50:46.466" v="965" actId="571"/>
          <ac:spMkLst>
            <pc:docMk/>
            <pc:sldMk cId="1754528059" sldId="2134803581"/>
            <ac:spMk id="58" creationId="{A27A1C84-2333-D952-F057-9CAEA2992598}"/>
          </ac:spMkLst>
        </pc:spChg>
        <pc:spChg chg="add mod">
          <ac:chgData name="Kebba Jeng" userId="fe4cc296-ba7d-48a2-8799-89b58d218255" providerId="ADAL" clId="{253D94E7-442D-460C-9F4C-18558C0A0590}" dt="2022-05-22T16:50:54.319" v="967" actId="571"/>
          <ac:spMkLst>
            <pc:docMk/>
            <pc:sldMk cId="1754528059" sldId="2134803581"/>
            <ac:spMk id="59" creationId="{FBD8613F-EBAD-42C1-3704-B5E5F15B01D1}"/>
          </ac:spMkLst>
        </pc:spChg>
        <pc:spChg chg="add mod">
          <ac:chgData name="Kebba Jeng" userId="fe4cc296-ba7d-48a2-8799-89b58d218255" providerId="ADAL" clId="{253D94E7-442D-460C-9F4C-18558C0A0590}" dt="2022-05-22T16:50:54.319" v="967" actId="571"/>
          <ac:spMkLst>
            <pc:docMk/>
            <pc:sldMk cId="1754528059" sldId="2134803581"/>
            <ac:spMk id="60" creationId="{A9A01001-DCB6-F0CE-94E2-551B7EF69995}"/>
          </ac:spMkLst>
        </pc:spChg>
        <pc:spChg chg="add mod">
          <ac:chgData name="Kebba Jeng" userId="fe4cc296-ba7d-48a2-8799-89b58d218255" providerId="ADAL" clId="{253D94E7-442D-460C-9F4C-18558C0A0590}" dt="2022-05-22T16:50:54.319" v="967" actId="571"/>
          <ac:spMkLst>
            <pc:docMk/>
            <pc:sldMk cId="1754528059" sldId="2134803581"/>
            <ac:spMk id="61" creationId="{175C3DFD-FB1B-1279-34E6-F747AE98FC8C}"/>
          </ac:spMkLst>
        </pc:spChg>
        <pc:spChg chg="mod">
          <ac:chgData name="Kebba Jeng" userId="fe4cc296-ba7d-48a2-8799-89b58d218255" providerId="ADAL" clId="{253D94E7-442D-460C-9F4C-18558C0A0590}" dt="2022-05-22T16:50:54.319" v="967" actId="571"/>
          <ac:spMkLst>
            <pc:docMk/>
            <pc:sldMk cId="1754528059" sldId="2134803581"/>
            <ac:spMk id="67" creationId="{8C7A44E6-A040-CA3D-9705-B5B276389EF3}"/>
          </ac:spMkLst>
        </pc:spChg>
        <pc:spChg chg="mod">
          <ac:chgData name="Kebba Jeng" userId="fe4cc296-ba7d-48a2-8799-89b58d218255" providerId="ADAL" clId="{253D94E7-442D-460C-9F4C-18558C0A0590}" dt="2022-05-22T16:50:54.319" v="967" actId="571"/>
          <ac:spMkLst>
            <pc:docMk/>
            <pc:sldMk cId="1754528059" sldId="2134803581"/>
            <ac:spMk id="68" creationId="{735B2F09-CD8C-B947-9E5F-4828885AC4CE}"/>
          </ac:spMkLst>
        </pc:spChg>
        <pc:spChg chg="add mod">
          <ac:chgData name="Kebba Jeng" userId="fe4cc296-ba7d-48a2-8799-89b58d218255" providerId="ADAL" clId="{253D94E7-442D-460C-9F4C-18558C0A0590}" dt="2022-05-22T16:50:54.319" v="967" actId="571"/>
          <ac:spMkLst>
            <pc:docMk/>
            <pc:sldMk cId="1754528059" sldId="2134803581"/>
            <ac:spMk id="69" creationId="{E9ADF1FC-43E9-E2C6-DABB-654C033B134D}"/>
          </ac:spMkLst>
        </pc:spChg>
        <pc:spChg chg="add mod">
          <ac:chgData name="Kebba Jeng" userId="fe4cc296-ba7d-48a2-8799-89b58d218255" providerId="ADAL" clId="{253D94E7-442D-460C-9F4C-18558C0A0590}" dt="2022-05-22T16:50:58.847" v="968" actId="571"/>
          <ac:spMkLst>
            <pc:docMk/>
            <pc:sldMk cId="1754528059" sldId="2134803581"/>
            <ac:spMk id="73" creationId="{ADF7A3B7-2FA0-E532-F6A9-CDD6BB45B44B}"/>
          </ac:spMkLst>
        </pc:spChg>
        <pc:spChg chg="add mod">
          <ac:chgData name="Kebba Jeng" userId="fe4cc296-ba7d-48a2-8799-89b58d218255" providerId="ADAL" clId="{253D94E7-442D-460C-9F4C-18558C0A0590}" dt="2022-05-22T16:50:58.847" v="968" actId="571"/>
          <ac:spMkLst>
            <pc:docMk/>
            <pc:sldMk cId="1754528059" sldId="2134803581"/>
            <ac:spMk id="74" creationId="{B8E57D5B-7C68-5633-9AFC-44F0B008592A}"/>
          </ac:spMkLst>
        </pc:spChg>
        <pc:spChg chg="add mod">
          <ac:chgData name="Kebba Jeng" userId="fe4cc296-ba7d-48a2-8799-89b58d218255" providerId="ADAL" clId="{253D94E7-442D-460C-9F4C-18558C0A0590}" dt="2022-05-22T16:50:58.847" v="968" actId="571"/>
          <ac:spMkLst>
            <pc:docMk/>
            <pc:sldMk cId="1754528059" sldId="2134803581"/>
            <ac:spMk id="75" creationId="{0ABD77B7-B48B-78A7-D3BB-BF7EFE540752}"/>
          </ac:spMkLst>
        </pc:spChg>
        <pc:spChg chg="add mod">
          <ac:chgData name="Kebba Jeng" userId="fe4cc296-ba7d-48a2-8799-89b58d218255" providerId="ADAL" clId="{253D94E7-442D-460C-9F4C-18558C0A0590}" dt="2022-05-22T16:50:58.847" v="968" actId="571"/>
          <ac:spMkLst>
            <pc:docMk/>
            <pc:sldMk cId="1754528059" sldId="2134803581"/>
            <ac:spMk id="76" creationId="{6719CA14-657C-B17E-3344-4319B49A3DF7}"/>
          </ac:spMkLst>
        </pc:spChg>
        <pc:spChg chg="mod">
          <ac:chgData name="Kebba Jeng" userId="fe4cc296-ba7d-48a2-8799-89b58d218255" providerId="ADAL" clId="{253D94E7-442D-460C-9F4C-18558C0A0590}" dt="2022-05-22T16:50:58.847" v="968" actId="571"/>
          <ac:spMkLst>
            <pc:docMk/>
            <pc:sldMk cId="1754528059" sldId="2134803581"/>
            <ac:spMk id="82" creationId="{C71C2D05-07C1-7BCE-6B81-504448E65546}"/>
          </ac:spMkLst>
        </pc:spChg>
        <pc:spChg chg="mod">
          <ac:chgData name="Kebba Jeng" userId="fe4cc296-ba7d-48a2-8799-89b58d218255" providerId="ADAL" clId="{253D94E7-442D-460C-9F4C-18558C0A0590}" dt="2022-05-22T16:50:58.847" v="968" actId="571"/>
          <ac:spMkLst>
            <pc:docMk/>
            <pc:sldMk cId="1754528059" sldId="2134803581"/>
            <ac:spMk id="83" creationId="{B321F1EB-BC6F-75A4-5131-9E5812C692CF}"/>
          </ac:spMkLst>
        </pc:spChg>
        <pc:spChg chg="add mod">
          <ac:chgData name="Kebba Jeng" userId="fe4cc296-ba7d-48a2-8799-89b58d218255" providerId="ADAL" clId="{253D94E7-442D-460C-9F4C-18558C0A0590}" dt="2022-05-22T16:50:58.847" v="968" actId="571"/>
          <ac:spMkLst>
            <pc:docMk/>
            <pc:sldMk cId="1754528059" sldId="2134803581"/>
            <ac:spMk id="84" creationId="{5B21DA3E-BDD6-C92E-76EF-FFAE43666004}"/>
          </ac:spMkLst>
        </pc:spChg>
        <pc:spChg chg="add mod">
          <ac:chgData name="Kebba Jeng" userId="fe4cc296-ba7d-48a2-8799-89b58d218255" providerId="ADAL" clId="{253D94E7-442D-460C-9F4C-18558C0A0590}" dt="2022-05-22T16:51:08.979" v="969" actId="571"/>
          <ac:spMkLst>
            <pc:docMk/>
            <pc:sldMk cId="1754528059" sldId="2134803581"/>
            <ac:spMk id="88" creationId="{67CA4F71-B5B4-8052-F617-6F426EC82BCC}"/>
          </ac:spMkLst>
        </pc:spChg>
        <pc:spChg chg="add mod">
          <ac:chgData name="Kebba Jeng" userId="fe4cc296-ba7d-48a2-8799-89b58d218255" providerId="ADAL" clId="{253D94E7-442D-460C-9F4C-18558C0A0590}" dt="2022-05-22T16:51:08.979" v="969" actId="571"/>
          <ac:spMkLst>
            <pc:docMk/>
            <pc:sldMk cId="1754528059" sldId="2134803581"/>
            <ac:spMk id="89" creationId="{00D2E9FC-F61E-1A35-1347-01E25F419164}"/>
          </ac:spMkLst>
        </pc:spChg>
        <pc:spChg chg="add mod">
          <ac:chgData name="Kebba Jeng" userId="fe4cc296-ba7d-48a2-8799-89b58d218255" providerId="ADAL" clId="{253D94E7-442D-460C-9F4C-18558C0A0590}" dt="2022-05-22T16:51:08.979" v="969" actId="571"/>
          <ac:spMkLst>
            <pc:docMk/>
            <pc:sldMk cId="1754528059" sldId="2134803581"/>
            <ac:spMk id="90" creationId="{0B1BAB65-7F46-BB08-2F56-571F075AA2BD}"/>
          </ac:spMkLst>
        </pc:spChg>
        <pc:spChg chg="add mod">
          <ac:chgData name="Kebba Jeng" userId="fe4cc296-ba7d-48a2-8799-89b58d218255" providerId="ADAL" clId="{253D94E7-442D-460C-9F4C-18558C0A0590}" dt="2022-05-22T16:51:08.979" v="969" actId="571"/>
          <ac:spMkLst>
            <pc:docMk/>
            <pc:sldMk cId="1754528059" sldId="2134803581"/>
            <ac:spMk id="91" creationId="{254694F4-C5EB-1F5B-0DB3-CEDDF55ADA84}"/>
          </ac:spMkLst>
        </pc:spChg>
        <pc:spChg chg="mod">
          <ac:chgData name="Kebba Jeng" userId="fe4cc296-ba7d-48a2-8799-89b58d218255" providerId="ADAL" clId="{253D94E7-442D-460C-9F4C-18558C0A0590}" dt="2022-05-22T16:51:08.979" v="969" actId="571"/>
          <ac:spMkLst>
            <pc:docMk/>
            <pc:sldMk cId="1754528059" sldId="2134803581"/>
            <ac:spMk id="97" creationId="{755E6B15-474E-E8C6-6A0E-7A71CBA2AABA}"/>
          </ac:spMkLst>
        </pc:spChg>
        <pc:spChg chg="mod">
          <ac:chgData name="Kebba Jeng" userId="fe4cc296-ba7d-48a2-8799-89b58d218255" providerId="ADAL" clId="{253D94E7-442D-460C-9F4C-18558C0A0590}" dt="2022-05-22T16:51:08.979" v="969" actId="571"/>
          <ac:spMkLst>
            <pc:docMk/>
            <pc:sldMk cId="1754528059" sldId="2134803581"/>
            <ac:spMk id="98" creationId="{4E8B5862-644E-B891-7BFF-6EB8D057C4FC}"/>
          </ac:spMkLst>
        </pc:spChg>
        <pc:spChg chg="add mod">
          <ac:chgData name="Kebba Jeng" userId="fe4cc296-ba7d-48a2-8799-89b58d218255" providerId="ADAL" clId="{253D94E7-442D-460C-9F4C-18558C0A0590}" dt="2022-05-22T16:51:08.979" v="969" actId="571"/>
          <ac:spMkLst>
            <pc:docMk/>
            <pc:sldMk cId="1754528059" sldId="2134803581"/>
            <ac:spMk id="99" creationId="{97C6C728-188F-CA8C-E078-4DCBBDC30BCB}"/>
          </ac:spMkLst>
        </pc:spChg>
        <pc:spChg chg="mod topLvl">
          <ac:chgData name="Kebba Jeng" userId="fe4cc296-ba7d-48a2-8799-89b58d218255" providerId="ADAL" clId="{253D94E7-442D-460C-9F4C-18558C0A0590}" dt="2022-05-22T16:50:10.761" v="956" actId="1076"/>
          <ac:spMkLst>
            <pc:docMk/>
            <pc:sldMk cId="1754528059" sldId="2134803581"/>
            <ac:spMk id="414" creationId="{6E70624B-820D-45A7-9DB8-2166056F1374}"/>
          </ac:spMkLst>
        </pc:spChg>
        <pc:spChg chg="mod topLvl">
          <ac:chgData name="Kebba Jeng" userId="fe4cc296-ba7d-48a2-8799-89b58d218255" providerId="ADAL" clId="{253D94E7-442D-460C-9F4C-18558C0A0590}" dt="2022-05-22T16:50:10.761" v="956" actId="1076"/>
          <ac:spMkLst>
            <pc:docMk/>
            <pc:sldMk cId="1754528059" sldId="2134803581"/>
            <ac:spMk id="415" creationId="{66391A57-C7E4-4726-917D-6BEE196AD60C}"/>
          </ac:spMkLst>
        </pc:spChg>
        <pc:spChg chg="mod topLvl">
          <ac:chgData name="Kebba Jeng" userId="fe4cc296-ba7d-48a2-8799-89b58d218255" providerId="ADAL" clId="{253D94E7-442D-460C-9F4C-18558C0A0590}" dt="2022-05-22T16:48:37.840" v="933" actId="165"/>
          <ac:spMkLst>
            <pc:docMk/>
            <pc:sldMk cId="1754528059" sldId="2134803581"/>
            <ac:spMk id="416" creationId="{332C25AE-26CC-4BEA-BB1D-470A85712EF1}"/>
          </ac:spMkLst>
        </pc:spChg>
        <pc:spChg chg="mod topLvl">
          <ac:chgData name="Kebba Jeng" userId="fe4cc296-ba7d-48a2-8799-89b58d218255" providerId="ADAL" clId="{253D94E7-442D-460C-9F4C-18558C0A0590}" dt="2022-05-22T16:48:37.840" v="933" actId="165"/>
          <ac:spMkLst>
            <pc:docMk/>
            <pc:sldMk cId="1754528059" sldId="2134803581"/>
            <ac:spMk id="417" creationId="{69EB01B7-7DC1-49E7-8F88-B72ED4FC5E4C}"/>
          </ac:spMkLst>
        </pc:spChg>
        <pc:spChg chg="del">
          <ac:chgData name="Kebba Jeng" userId="fe4cc296-ba7d-48a2-8799-89b58d218255" providerId="ADAL" clId="{253D94E7-442D-460C-9F4C-18558C0A0590}" dt="2022-05-22T16:42:06.865" v="855" actId="478"/>
          <ac:spMkLst>
            <pc:docMk/>
            <pc:sldMk cId="1754528059" sldId="2134803581"/>
            <ac:spMk id="425" creationId="{AF49E900-EDB8-4429-BF99-BA782B1C5926}"/>
          </ac:spMkLst>
        </pc:spChg>
        <pc:spChg chg="del">
          <ac:chgData name="Kebba Jeng" userId="fe4cc296-ba7d-48a2-8799-89b58d218255" providerId="ADAL" clId="{253D94E7-442D-460C-9F4C-18558C0A0590}" dt="2022-05-22T16:42:06.865" v="855" actId="478"/>
          <ac:spMkLst>
            <pc:docMk/>
            <pc:sldMk cId="1754528059" sldId="2134803581"/>
            <ac:spMk id="426" creationId="{92BFEC0C-39C6-4723-8440-488CBDA0237F}"/>
          </ac:spMkLst>
        </pc:spChg>
        <pc:spChg chg="del">
          <ac:chgData name="Kebba Jeng" userId="fe4cc296-ba7d-48a2-8799-89b58d218255" providerId="ADAL" clId="{253D94E7-442D-460C-9F4C-18558C0A0590}" dt="2022-05-22T16:42:06.865" v="855" actId="478"/>
          <ac:spMkLst>
            <pc:docMk/>
            <pc:sldMk cId="1754528059" sldId="2134803581"/>
            <ac:spMk id="427" creationId="{2B4F1D0F-3092-4B7D-BD6A-F347198A0726}"/>
          </ac:spMkLst>
        </pc:spChg>
        <pc:spChg chg="del">
          <ac:chgData name="Kebba Jeng" userId="fe4cc296-ba7d-48a2-8799-89b58d218255" providerId="ADAL" clId="{253D94E7-442D-460C-9F4C-18558C0A0590}" dt="2022-05-22T16:42:06.865" v="855" actId="478"/>
          <ac:spMkLst>
            <pc:docMk/>
            <pc:sldMk cId="1754528059" sldId="2134803581"/>
            <ac:spMk id="428" creationId="{9AF77E6E-A66D-4BB3-AE42-2E11657B35D8}"/>
          </ac:spMkLst>
        </pc:spChg>
        <pc:spChg chg="del">
          <ac:chgData name="Kebba Jeng" userId="fe4cc296-ba7d-48a2-8799-89b58d218255" providerId="ADAL" clId="{253D94E7-442D-460C-9F4C-18558C0A0590}" dt="2022-05-22T16:42:06.865" v="855" actId="478"/>
          <ac:spMkLst>
            <pc:docMk/>
            <pc:sldMk cId="1754528059" sldId="2134803581"/>
            <ac:spMk id="429" creationId="{325C49B1-3C3D-413F-818E-C035513CB738}"/>
          </ac:spMkLst>
        </pc:spChg>
        <pc:spChg chg="mod topLvl">
          <ac:chgData name="Kebba Jeng" userId="fe4cc296-ba7d-48a2-8799-89b58d218255" providerId="ADAL" clId="{253D94E7-442D-460C-9F4C-18558C0A0590}" dt="2022-05-22T16:50:10.761" v="956" actId="1076"/>
          <ac:spMkLst>
            <pc:docMk/>
            <pc:sldMk cId="1754528059" sldId="2134803581"/>
            <ac:spMk id="1882" creationId="{CB682833-4826-48B1-A7A8-6F9F41CEF769}"/>
          </ac:spMkLst>
        </pc:spChg>
        <pc:grpChg chg="add mod topLvl">
          <ac:chgData name="Kebba Jeng" userId="fe4cc296-ba7d-48a2-8799-89b58d218255" providerId="ADAL" clId="{253D94E7-442D-460C-9F4C-18558C0A0590}" dt="2022-05-22T16:48:37.840" v="933" actId="165"/>
          <ac:grpSpMkLst>
            <pc:docMk/>
            <pc:sldMk cId="1754528059" sldId="2134803581"/>
            <ac:grpSpMk id="12" creationId="{F3D80BE7-867D-ECAC-A695-147DE7389305}"/>
          </ac:grpSpMkLst>
        </pc:grpChg>
        <pc:grpChg chg="add del mod">
          <ac:chgData name="Kebba Jeng" userId="fe4cc296-ba7d-48a2-8799-89b58d218255" providerId="ADAL" clId="{253D94E7-442D-460C-9F4C-18558C0A0590}" dt="2022-05-22T16:47:33.864" v="912" actId="165"/>
          <ac:grpSpMkLst>
            <pc:docMk/>
            <pc:sldMk cId="1754528059" sldId="2134803581"/>
            <ac:grpSpMk id="13" creationId="{D084B938-2722-A895-0A24-FED4A98C8C7F}"/>
          </ac:grpSpMkLst>
        </pc:grpChg>
        <pc:grpChg chg="add mod">
          <ac:chgData name="Kebba Jeng" userId="fe4cc296-ba7d-48a2-8799-89b58d218255" providerId="ADAL" clId="{253D94E7-442D-460C-9F4C-18558C0A0590}" dt="2022-05-22T16:48:37.840" v="933" actId="165"/>
          <ac:grpSpMkLst>
            <pc:docMk/>
            <pc:sldMk cId="1754528059" sldId="2134803581"/>
            <ac:grpSpMk id="14" creationId="{004DDBE9-F609-9AE9-07A8-D8B96A5BCD7B}"/>
          </ac:grpSpMkLst>
        </pc:grpChg>
        <pc:grpChg chg="add mod topLvl">
          <ac:chgData name="Kebba Jeng" userId="fe4cc296-ba7d-48a2-8799-89b58d218255" providerId="ADAL" clId="{253D94E7-442D-460C-9F4C-18558C0A0590}" dt="2022-05-22T16:50:10.761" v="956" actId="1076"/>
          <ac:grpSpMkLst>
            <pc:docMk/>
            <pc:sldMk cId="1754528059" sldId="2134803581"/>
            <ac:grpSpMk id="15" creationId="{30AE0F30-8DAA-8D0E-6763-900B13609EB3}"/>
          </ac:grpSpMkLst>
        </pc:grpChg>
        <pc:grpChg chg="add del mod">
          <ac:chgData name="Kebba Jeng" userId="fe4cc296-ba7d-48a2-8799-89b58d218255" providerId="ADAL" clId="{253D94E7-442D-460C-9F4C-18558C0A0590}" dt="2022-05-22T16:48:37.840" v="933" actId="165"/>
          <ac:grpSpMkLst>
            <pc:docMk/>
            <pc:sldMk cId="1754528059" sldId="2134803581"/>
            <ac:grpSpMk id="16" creationId="{55E484A9-63BF-2E42-677A-4A72FB52C721}"/>
          </ac:grpSpMkLst>
        </pc:grpChg>
        <pc:grpChg chg="add mod">
          <ac:chgData name="Kebba Jeng" userId="fe4cc296-ba7d-48a2-8799-89b58d218255" providerId="ADAL" clId="{253D94E7-442D-460C-9F4C-18558C0A0590}" dt="2022-05-22T16:50:26.845" v="960" actId="571"/>
          <ac:grpSpMkLst>
            <pc:docMk/>
            <pc:sldMk cId="1754528059" sldId="2134803581"/>
            <ac:grpSpMk id="47" creationId="{86AF7F0F-EDA7-D373-75ED-56822AA7CBAD}"/>
          </ac:grpSpMkLst>
        </pc:grpChg>
        <pc:grpChg chg="mod">
          <ac:chgData name="Kebba Jeng" userId="fe4cc296-ba7d-48a2-8799-89b58d218255" providerId="ADAL" clId="{253D94E7-442D-460C-9F4C-18558C0A0590}" dt="2022-05-22T16:50:26.845" v="960" actId="571"/>
          <ac:grpSpMkLst>
            <pc:docMk/>
            <pc:sldMk cId="1754528059" sldId="2134803581"/>
            <ac:grpSpMk id="48" creationId="{6E927A4B-6A7F-EBB9-4B2D-EDECE1FDD249}"/>
          </ac:grpSpMkLst>
        </pc:grpChg>
        <pc:grpChg chg="mod">
          <ac:chgData name="Kebba Jeng" userId="fe4cc296-ba7d-48a2-8799-89b58d218255" providerId="ADAL" clId="{253D94E7-442D-460C-9F4C-18558C0A0590}" dt="2022-05-22T16:50:26.845" v="960" actId="571"/>
          <ac:grpSpMkLst>
            <pc:docMk/>
            <pc:sldMk cId="1754528059" sldId="2134803581"/>
            <ac:grpSpMk id="49" creationId="{3D5505B1-9B7C-67BD-2B15-1717681C5E0D}"/>
          </ac:grpSpMkLst>
        </pc:grpChg>
        <pc:grpChg chg="add mod">
          <ac:chgData name="Kebba Jeng" userId="fe4cc296-ba7d-48a2-8799-89b58d218255" providerId="ADAL" clId="{253D94E7-442D-460C-9F4C-18558C0A0590}" dt="2022-05-22T16:50:54.319" v="967" actId="571"/>
          <ac:grpSpMkLst>
            <pc:docMk/>
            <pc:sldMk cId="1754528059" sldId="2134803581"/>
            <ac:grpSpMk id="62" creationId="{3D55BCDC-50AF-1993-AE03-2F6E479ACFB6}"/>
          </ac:grpSpMkLst>
        </pc:grpChg>
        <pc:grpChg chg="mod">
          <ac:chgData name="Kebba Jeng" userId="fe4cc296-ba7d-48a2-8799-89b58d218255" providerId="ADAL" clId="{253D94E7-442D-460C-9F4C-18558C0A0590}" dt="2022-05-22T16:50:54.319" v="967" actId="571"/>
          <ac:grpSpMkLst>
            <pc:docMk/>
            <pc:sldMk cId="1754528059" sldId="2134803581"/>
            <ac:grpSpMk id="63" creationId="{57F2EA16-764C-E277-BBD9-74605176EAB3}"/>
          </ac:grpSpMkLst>
        </pc:grpChg>
        <pc:grpChg chg="mod">
          <ac:chgData name="Kebba Jeng" userId="fe4cc296-ba7d-48a2-8799-89b58d218255" providerId="ADAL" clId="{253D94E7-442D-460C-9F4C-18558C0A0590}" dt="2022-05-22T16:50:54.319" v="967" actId="571"/>
          <ac:grpSpMkLst>
            <pc:docMk/>
            <pc:sldMk cId="1754528059" sldId="2134803581"/>
            <ac:grpSpMk id="64" creationId="{387C132B-11B5-223A-4E3D-4EDAD2E72090}"/>
          </ac:grpSpMkLst>
        </pc:grpChg>
        <pc:grpChg chg="add mod">
          <ac:chgData name="Kebba Jeng" userId="fe4cc296-ba7d-48a2-8799-89b58d218255" providerId="ADAL" clId="{253D94E7-442D-460C-9F4C-18558C0A0590}" dt="2022-05-22T16:50:58.847" v="968" actId="571"/>
          <ac:grpSpMkLst>
            <pc:docMk/>
            <pc:sldMk cId="1754528059" sldId="2134803581"/>
            <ac:grpSpMk id="77" creationId="{BF6A59A4-34E2-B07A-7419-4DDAC849417B}"/>
          </ac:grpSpMkLst>
        </pc:grpChg>
        <pc:grpChg chg="mod">
          <ac:chgData name="Kebba Jeng" userId="fe4cc296-ba7d-48a2-8799-89b58d218255" providerId="ADAL" clId="{253D94E7-442D-460C-9F4C-18558C0A0590}" dt="2022-05-22T16:50:58.847" v="968" actId="571"/>
          <ac:grpSpMkLst>
            <pc:docMk/>
            <pc:sldMk cId="1754528059" sldId="2134803581"/>
            <ac:grpSpMk id="78" creationId="{3A75E07A-A3B4-0509-B1F8-7D5F0DE29835}"/>
          </ac:grpSpMkLst>
        </pc:grpChg>
        <pc:grpChg chg="mod">
          <ac:chgData name="Kebba Jeng" userId="fe4cc296-ba7d-48a2-8799-89b58d218255" providerId="ADAL" clId="{253D94E7-442D-460C-9F4C-18558C0A0590}" dt="2022-05-22T16:50:58.847" v="968" actId="571"/>
          <ac:grpSpMkLst>
            <pc:docMk/>
            <pc:sldMk cId="1754528059" sldId="2134803581"/>
            <ac:grpSpMk id="79" creationId="{AFB1B2EE-0349-91DD-EF8A-D94D69168EAC}"/>
          </ac:grpSpMkLst>
        </pc:grpChg>
        <pc:grpChg chg="add mod">
          <ac:chgData name="Kebba Jeng" userId="fe4cc296-ba7d-48a2-8799-89b58d218255" providerId="ADAL" clId="{253D94E7-442D-460C-9F4C-18558C0A0590}" dt="2022-05-22T16:51:08.979" v="969" actId="571"/>
          <ac:grpSpMkLst>
            <pc:docMk/>
            <pc:sldMk cId="1754528059" sldId="2134803581"/>
            <ac:grpSpMk id="92" creationId="{76EE25ED-AD63-5A18-449F-A9A8721A6254}"/>
          </ac:grpSpMkLst>
        </pc:grpChg>
        <pc:grpChg chg="mod">
          <ac:chgData name="Kebba Jeng" userId="fe4cc296-ba7d-48a2-8799-89b58d218255" providerId="ADAL" clId="{253D94E7-442D-460C-9F4C-18558C0A0590}" dt="2022-05-22T16:51:08.979" v="969" actId="571"/>
          <ac:grpSpMkLst>
            <pc:docMk/>
            <pc:sldMk cId="1754528059" sldId="2134803581"/>
            <ac:grpSpMk id="93" creationId="{A9A5BF2E-A6B9-C5B0-9478-2657F8125786}"/>
          </ac:grpSpMkLst>
        </pc:grpChg>
        <pc:grpChg chg="mod">
          <ac:chgData name="Kebba Jeng" userId="fe4cc296-ba7d-48a2-8799-89b58d218255" providerId="ADAL" clId="{253D94E7-442D-460C-9F4C-18558C0A0590}" dt="2022-05-22T16:51:08.979" v="969" actId="571"/>
          <ac:grpSpMkLst>
            <pc:docMk/>
            <pc:sldMk cId="1754528059" sldId="2134803581"/>
            <ac:grpSpMk id="94" creationId="{39F341A7-CA98-59B5-C1CD-11B95422A27D}"/>
          </ac:grpSpMkLst>
        </pc:grpChg>
        <pc:picChg chg="del">
          <ac:chgData name="Kebba Jeng" userId="fe4cc296-ba7d-48a2-8799-89b58d218255" providerId="ADAL" clId="{253D94E7-442D-460C-9F4C-18558C0A0590}" dt="2022-05-22T16:41:40.275" v="850" actId="478"/>
          <ac:picMkLst>
            <pc:docMk/>
            <pc:sldMk cId="1754528059" sldId="2134803581"/>
            <ac:picMk id="4" creationId="{C0211300-76FB-4807-A3FD-23E802636BD3}"/>
          </ac:picMkLst>
        </pc:picChg>
        <pc:picChg chg="add del mod">
          <ac:chgData name="Kebba Jeng" userId="fe4cc296-ba7d-48a2-8799-89b58d218255" providerId="ADAL" clId="{253D94E7-442D-460C-9F4C-18558C0A0590}" dt="2022-05-22T16:45:33.143" v="894" actId="478"/>
          <ac:picMkLst>
            <pc:docMk/>
            <pc:sldMk cId="1754528059" sldId="2134803581"/>
            <ac:picMk id="27" creationId="{DF14B651-4741-93CA-278E-D818DC1806BF}"/>
          </ac:picMkLst>
        </pc:picChg>
        <pc:picChg chg="add mod modCrop">
          <ac:chgData name="Kebba Jeng" userId="fe4cc296-ba7d-48a2-8799-89b58d218255" providerId="ADAL" clId="{253D94E7-442D-460C-9F4C-18558C0A0590}" dt="2022-05-22T16:50:40.126" v="963" actId="1076"/>
          <ac:picMkLst>
            <pc:docMk/>
            <pc:sldMk cId="1754528059" sldId="2134803581"/>
            <ac:picMk id="36" creationId="{5180B81E-BAFE-8E6B-6929-D7BCD7B75612}"/>
          </ac:picMkLst>
        </pc:picChg>
        <pc:picChg chg="add mod modCrop">
          <ac:chgData name="Kebba Jeng" userId="fe4cc296-ba7d-48a2-8799-89b58d218255" providerId="ADAL" clId="{253D94E7-442D-460C-9F4C-18558C0A0590}" dt="2022-05-22T16:50:36.642" v="962" actId="1076"/>
          <ac:picMkLst>
            <pc:docMk/>
            <pc:sldMk cId="1754528059" sldId="2134803581"/>
            <ac:picMk id="37" creationId="{B52A0456-8812-6E4B-2433-0155C78785F1}"/>
          </ac:picMkLst>
        </pc:picChg>
        <pc:picChg chg="add mod modCrop">
          <ac:chgData name="Kebba Jeng" userId="fe4cc296-ba7d-48a2-8799-89b58d218255" providerId="ADAL" clId="{253D94E7-442D-460C-9F4C-18558C0A0590}" dt="2022-05-22T16:50:10.761" v="956" actId="1076"/>
          <ac:picMkLst>
            <pc:docMk/>
            <pc:sldMk cId="1754528059" sldId="2134803581"/>
            <ac:picMk id="38" creationId="{56221977-C61F-7B03-6C8A-F849B98256AF}"/>
          </ac:picMkLst>
        </pc:picChg>
        <pc:picChg chg="add mod">
          <ac:chgData name="Kebba Jeng" userId="fe4cc296-ba7d-48a2-8799-89b58d218255" providerId="ADAL" clId="{253D94E7-442D-460C-9F4C-18558C0A0590}" dt="2022-05-22T16:50:19.202" v="959" actId="14100"/>
          <ac:picMkLst>
            <pc:docMk/>
            <pc:sldMk cId="1754528059" sldId="2134803581"/>
            <ac:picMk id="42" creationId="{7AD7CC39-C907-0507-6ED2-DC4D5EF4DBC6}"/>
          </ac:picMkLst>
        </pc:picChg>
        <pc:picChg chg="mod">
          <ac:chgData name="Kebba Jeng" userId="fe4cc296-ba7d-48a2-8799-89b58d218255" providerId="ADAL" clId="{253D94E7-442D-460C-9F4C-18558C0A0590}" dt="2022-05-22T16:50:26.845" v="960" actId="571"/>
          <ac:picMkLst>
            <pc:docMk/>
            <pc:sldMk cId="1754528059" sldId="2134803581"/>
            <ac:picMk id="50" creationId="{3DC2FFA2-BC84-7055-9493-21D3AA2DF411}"/>
          </ac:picMkLst>
        </pc:picChg>
        <pc:picChg chg="mod">
          <ac:chgData name="Kebba Jeng" userId="fe4cc296-ba7d-48a2-8799-89b58d218255" providerId="ADAL" clId="{253D94E7-442D-460C-9F4C-18558C0A0590}" dt="2022-05-22T16:50:26.845" v="960" actId="571"/>
          <ac:picMkLst>
            <pc:docMk/>
            <pc:sldMk cId="1754528059" sldId="2134803581"/>
            <ac:picMk id="51" creationId="{AEF89187-6127-2482-953A-E75CA54E8BEA}"/>
          </ac:picMkLst>
        </pc:picChg>
        <pc:picChg chg="mod">
          <ac:chgData name="Kebba Jeng" userId="fe4cc296-ba7d-48a2-8799-89b58d218255" providerId="ADAL" clId="{253D94E7-442D-460C-9F4C-18558C0A0590}" dt="2022-05-22T16:50:54.319" v="967" actId="571"/>
          <ac:picMkLst>
            <pc:docMk/>
            <pc:sldMk cId="1754528059" sldId="2134803581"/>
            <ac:picMk id="65" creationId="{06F6417B-0ED8-1726-C60E-406F1C2BDB3C}"/>
          </ac:picMkLst>
        </pc:picChg>
        <pc:picChg chg="mod">
          <ac:chgData name="Kebba Jeng" userId="fe4cc296-ba7d-48a2-8799-89b58d218255" providerId="ADAL" clId="{253D94E7-442D-460C-9F4C-18558C0A0590}" dt="2022-05-22T16:50:54.319" v="967" actId="571"/>
          <ac:picMkLst>
            <pc:docMk/>
            <pc:sldMk cId="1754528059" sldId="2134803581"/>
            <ac:picMk id="66" creationId="{710ACBEE-3636-D241-2161-82D8B406B084}"/>
          </ac:picMkLst>
        </pc:picChg>
        <pc:picChg chg="mod">
          <ac:chgData name="Kebba Jeng" userId="fe4cc296-ba7d-48a2-8799-89b58d218255" providerId="ADAL" clId="{253D94E7-442D-460C-9F4C-18558C0A0590}" dt="2022-05-22T16:50:58.847" v="968" actId="571"/>
          <ac:picMkLst>
            <pc:docMk/>
            <pc:sldMk cId="1754528059" sldId="2134803581"/>
            <ac:picMk id="80" creationId="{8D5B4E07-8FEC-19A8-D580-5BFD75035427}"/>
          </ac:picMkLst>
        </pc:picChg>
        <pc:picChg chg="mod">
          <ac:chgData name="Kebba Jeng" userId="fe4cc296-ba7d-48a2-8799-89b58d218255" providerId="ADAL" clId="{253D94E7-442D-460C-9F4C-18558C0A0590}" dt="2022-05-22T16:50:58.847" v="968" actId="571"/>
          <ac:picMkLst>
            <pc:docMk/>
            <pc:sldMk cId="1754528059" sldId="2134803581"/>
            <ac:picMk id="81" creationId="{3DE24861-BDE5-E16E-38A4-6E7F639B97C6}"/>
          </ac:picMkLst>
        </pc:picChg>
        <pc:picChg chg="mod">
          <ac:chgData name="Kebba Jeng" userId="fe4cc296-ba7d-48a2-8799-89b58d218255" providerId="ADAL" clId="{253D94E7-442D-460C-9F4C-18558C0A0590}" dt="2022-05-22T16:51:08.979" v="969" actId="571"/>
          <ac:picMkLst>
            <pc:docMk/>
            <pc:sldMk cId="1754528059" sldId="2134803581"/>
            <ac:picMk id="95" creationId="{C05EFCE9-9E99-FDBF-D7FE-B73C23E7370E}"/>
          </ac:picMkLst>
        </pc:picChg>
        <pc:picChg chg="mod">
          <ac:chgData name="Kebba Jeng" userId="fe4cc296-ba7d-48a2-8799-89b58d218255" providerId="ADAL" clId="{253D94E7-442D-460C-9F4C-18558C0A0590}" dt="2022-05-22T16:51:08.979" v="969" actId="571"/>
          <ac:picMkLst>
            <pc:docMk/>
            <pc:sldMk cId="1754528059" sldId="2134803581"/>
            <ac:picMk id="96" creationId="{2310359C-935F-3A3C-F762-B41D8DE4D015}"/>
          </ac:picMkLst>
        </pc:picChg>
        <pc:picChg chg="mod">
          <ac:chgData name="Kebba Jeng" userId="fe4cc296-ba7d-48a2-8799-89b58d218255" providerId="ADAL" clId="{253D94E7-442D-460C-9F4C-18558C0A0590}" dt="2022-05-22T16:48:37.840" v="933" actId="165"/>
          <ac:picMkLst>
            <pc:docMk/>
            <pc:sldMk cId="1754528059" sldId="2134803581"/>
            <ac:picMk id="418" creationId="{8DF8607A-F34F-47CE-9F9F-AA7872A7AA07}"/>
          </ac:picMkLst>
        </pc:picChg>
        <pc:picChg chg="mod">
          <ac:chgData name="Kebba Jeng" userId="fe4cc296-ba7d-48a2-8799-89b58d218255" providerId="ADAL" clId="{253D94E7-442D-460C-9F4C-18558C0A0590}" dt="2022-05-22T16:48:37.840" v="933" actId="165"/>
          <ac:picMkLst>
            <pc:docMk/>
            <pc:sldMk cId="1754528059" sldId="2134803581"/>
            <ac:picMk id="419" creationId="{250AF66A-E695-46AA-B50F-CE65E2A363CB}"/>
          </ac:picMkLst>
        </pc:picChg>
        <pc:cxnChg chg="add mod topLvl">
          <ac:chgData name="Kebba Jeng" userId="fe4cc296-ba7d-48a2-8799-89b58d218255" providerId="ADAL" clId="{253D94E7-442D-460C-9F4C-18558C0A0590}" dt="2022-05-22T16:50:10.761" v="956" actId="1076"/>
          <ac:cxnSpMkLst>
            <pc:docMk/>
            <pc:sldMk cId="1754528059" sldId="2134803581"/>
            <ac:cxnSpMk id="5" creationId="{5F102939-5D57-0FC6-44AD-742E08D724D1}"/>
          </ac:cxnSpMkLst>
        </pc:cxnChg>
        <pc:cxnChg chg="add mod topLvl">
          <ac:chgData name="Kebba Jeng" userId="fe4cc296-ba7d-48a2-8799-89b58d218255" providerId="ADAL" clId="{253D94E7-442D-460C-9F4C-18558C0A0590}" dt="2022-05-22T16:50:10.761" v="956" actId="1076"/>
          <ac:cxnSpMkLst>
            <pc:docMk/>
            <pc:sldMk cId="1754528059" sldId="2134803581"/>
            <ac:cxnSpMk id="7" creationId="{0B6E9552-4BC6-D980-BE8A-DB96CB5C0E90}"/>
          </ac:cxnSpMkLst>
        </pc:cxnChg>
        <pc:cxnChg chg="add mod topLvl">
          <ac:chgData name="Kebba Jeng" userId="fe4cc296-ba7d-48a2-8799-89b58d218255" providerId="ADAL" clId="{253D94E7-442D-460C-9F4C-18558C0A0590}" dt="2022-05-22T16:50:10.761" v="956" actId="1076"/>
          <ac:cxnSpMkLst>
            <pc:docMk/>
            <pc:sldMk cId="1754528059" sldId="2134803581"/>
            <ac:cxnSpMk id="9" creationId="{9903E2AD-E3CF-57C8-1029-9B689348A555}"/>
          </ac:cxnSpMkLst>
        </pc:cxnChg>
        <pc:cxnChg chg="del mod">
          <ac:chgData name="Kebba Jeng" userId="fe4cc296-ba7d-48a2-8799-89b58d218255" providerId="ADAL" clId="{253D94E7-442D-460C-9F4C-18558C0A0590}" dt="2022-05-22T16:42:21.723" v="856" actId="478"/>
          <ac:cxnSpMkLst>
            <pc:docMk/>
            <pc:sldMk cId="1754528059" sldId="2134803581"/>
            <ac:cxnSpMk id="18" creationId="{FC174DDC-6842-48BB-B636-5566CD5B1F27}"/>
          </ac:cxnSpMkLst>
        </pc:cxnChg>
        <pc:cxnChg chg="del mod">
          <ac:chgData name="Kebba Jeng" userId="fe4cc296-ba7d-48a2-8799-89b58d218255" providerId="ADAL" clId="{253D94E7-442D-460C-9F4C-18558C0A0590}" dt="2022-05-22T16:42:24.522" v="857" actId="478"/>
          <ac:cxnSpMkLst>
            <pc:docMk/>
            <pc:sldMk cId="1754528059" sldId="2134803581"/>
            <ac:cxnSpMk id="20" creationId="{64462B4A-DCCB-41AF-A3A2-914316C14755}"/>
          </ac:cxnSpMkLst>
        </pc:cxnChg>
        <pc:cxnChg chg="add mod">
          <ac:chgData name="Kebba Jeng" userId="fe4cc296-ba7d-48a2-8799-89b58d218255" providerId="ADAL" clId="{253D94E7-442D-460C-9F4C-18558C0A0590}" dt="2022-05-22T16:50:26.845" v="960" actId="571"/>
          <ac:cxnSpMkLst>
            <pc:docMk/>
            <pc:sldMk cId="1754528059" sldId="2134803581"/>
            <ac:cxnSpMk id="55" creationId="{A0226E73-6F80-5E22-423B-A3191DA35055}"/>
          </ac:cxnSpMkLst>
        </pc:cxnChg>
        <pc:cxnChg chg="add mod">
          <ac:chgData name="Kebba Jeng" userId="fe4cc296-ba7d-48a2-8799-89b58d218255" providerId="ADAL" clId="{253D94E7-442D-460C-9F4C-18558C0A0590}" dt="2022-05-22T16:50:26.845" v="960" actId="571"/>
          <ac:cxnSpMkLst>
            <pc:docMk/>
            <pc:sldMk cId="1754528059" sldId="2134803581"/>
            <ac:cxnSpMk id="56" creationId="{FA231AFA-CF3C-A963-25EF-C696E535AC38}"/>
          </ac:cxnSpMkLst>
        </pc:cxnChg>
        <pc:cxnChg chg="add mod">
          <ac:chgData name="Kebba Jeng" userId="fe4cc296-ba7d-48a2-8799-89b58d218255" providerId="ADAL" clId="{253D94E7-442D-460C-9F4C-18558C0A0590}" dt="2022-05-22T16:50:26.845" v="960" actId="571"/>
          <ac:cxnSpMkLst>
            <pc:docMk/>
            <pc:sldMk cId="1754528059" sldId="2134803581"/>
            <ac:cxnSpMk id="57" creationId="{34803D7C-5CFF-2043-5A68-D06C8788F880}"/>
          </ac:cxnSpMkLst>
        </pc:cxnChg>
        <pc:cxnChg chg="add mod">
          <ac:chgData name="Kebba Jeng" userId="fe4cc296-ba7d-48a2-8799-89b58d218255" providerId="ADAL" clId="{253D94E7-442D-460C-9F4C-18558C0A0590}" dt="2022-05-22T16:50:54.319" v="967" actId="571"/>
          <ac:cxnSpMkLst>
            <pc:docMk/>
            <pc:sldMk cId="1754528059" sldId="2134803581"/>
            <ac:cxnSpMk id="70" creationId="{59B6EB83-D52C-D87F-89DA-2F2F32810066}"/>
          </ac:cxnSpMkLst>
        </pc:cxnChg>
        <pc:cxnChg chg="add mod">
          <ac:chgData name="Kebba Jeng" userId="fe4cc296-ba7d-48a2-8799-89b58d218255" providerId="ADAL" clId="{253D94E7-442D-460C-9F4C-18558C0A0590}" dt="2022-05-22T16:50:54.319" v="967" actId="571"/>
          <ac:cxnSpMkLst>
            <pc:docMk/>
            <pc:sldMk cId="1754528059" sldId="2134803581"/>
            <ac:cxnSpMk id="71" creationId="{407864DB-617D-2DE0-95BC-CF52C9CD1002}"/>
          </ac:cxnSpMkLst>
        </pc:cxnChg>
        <pc:cxnChg chg="add mod">
          <ac:chgData name="Kebba Jeng" userId="fe4cc296-ba7d-48a2-8799-89b58d218255" providerId="ADAL" clId="{253D94E7-442D-460C-9F4C-18558C0A0590}" dt="2022-05-22T16:50:54.319" v="967" actId="571"/>
          <ac:cxnSpMkLst>
            <pc:docMk/>
            <pc:sldMk cId="1754528059" sldId="2134803581"/>
            <ac:cxnSpMk id="72" creationId="{EF2C02FA-C285-A25A-29FA-AD18C76F0A3C}"/>
          </ac:cxnSpMkLst>
        </pc:cxnChg>
        <pc:cxnChg chg="add mod">
          <ac:chgData name="Kebba Jeng" userId="fe4cc296-ba7d-48a2-8799-89b58d218255" providerId="ADAL" clId="{253D94E7-442D-460C-9F4C-18558C0A0590}" dt="2022-05-22T16:50:58.847" v="968" actId="571"/>
          <ac:cxnSpMkLst>
            <pc:docMk/>
            <pc:sldMk cId="1754528059" sldId="2134803581"/>
            <ac:cxnSpMk id="85" creationId="{BC57EF7D-F29E-D6E5-97AB-4B9F5FA0941D}"/>
          </ac:cxnSpMkLst>
        </pc:cxnChg>
        <pc:cxnChg chg="add mod">
          <ac:chgData name="Kebba Jeng" userId="fe4cc296-ba7d-48a2-8799-89b58d218255" providerId="ADAL" clId="{253D94E7-442D-460C-9F4C-18558C0A0590}" dt="2022-05-22T16:50:58.847" v="968" actId="571"/>
          <ac:cxnSpMkLst>
            <pc:docMk/>
            <pc:sldMk cId="1754528059" sldId="2134803581"/>
            <ac:cxnSpMk id="86" creationId="{8D8B3BED-B349-41B6-8022-7D8592D5EE4B}"/>
          </ac:cxnSpMkLst>
        </pc:cxnChg>
        <pc:cxnChg chg="add mod">
          <ac:chgData name="Kebba Jeng" userId="fe4cc296-ba7d-48a2-8799-89b58d218255" providerId="ADAL" clId="{253D94E7-442D-460C-9F4C-18558C0A0590}" dt="2022-05-22T16:50:58.847" v="968" actId="571"/>
          <ac:cxnSpMkLst>
            <pc:docMk/>
            <pc:sldMk cId="1754528059" sldId="2134803581"/>
            <ac:cxnSpMk id="87" creationId="{D08F9FF9-1C56-9414-7857-165E64019EC8}"/>
          </ac:cxnSpMkLst>
        </pc:cxnChg>
        <pc:cxnChg chg="add mod">
          <ac:chgData name="Kebba Jeng" userId="fe4cc296-ba7d-48a2-8799-89b58d218255" providerId="ADAL" clId="{253D94E7-442D-460C-9F4C-18558C0A0590}" dt="2022-05-22T16:51:08.979" v="969" actId="571"/>
          <ac:cxnSpMkLst>
            <pc:docMk/>
            <pc:sldMk cId="1754528059" sldId="2134803581"/>
            <ac:cxnSpMk id="100" creationId="{7418FE7C-9CFC-AC67-A65B-45DA233456E8}"/>
          </ac:cxnSpMkLst>
        </pc:cxnChg>
        <pc:cxnChg chg="add mod">
          <ac:chgData name="Kebba Jeng" userId="fe4cc296-ba7d-48a2-8799-89b58d218255" providerId="ADAL" clId="{253D94E7-442D-460C-9F4C-18558C0A0590}" dt="2022-05-22T16:51:08.979" v="969" actId="571"/>
          <ac:cxnSpMkLst>
            <pc:docMk/>
            <pc:sldMk cId="1754528059" sldId="2134803581"/>
            <ac:cxnSpMk id="101" creationId="{D2E28B97-6ED6-61BC-3D9B-E56927C13AD8}"/>
          </ac:cxnSpMkLst>
        </pc:cxnChg>
        <pc:cxnChg chg="add mod">
          <ac:chgData name="Kebba Jeng" userId="fe4cc296-ba7d-48a2-8799-89b58d218255" providerId="ADAL" clId="{253D94E7-442D-460C-9F4C-18558C0A0590}" dt="2022-05-22T16:51:08.979" v="969" actId="571"/>
          <ac:cxnSpMkLst>
            <pc:docMk/>
            <pc:sldMk cId="1754528059" sldId="2134803581"/>
            <ac:cxnSpMk id="102" creationId="{5C251FC8-C852-8862-060F-79554F024AD9}"/>
          </ac:cxnSpMkLst>
        </pc:cxnChg>
        <pc:cxnChg chg="del mod">
          <ac:chgData name="Kebba Jeng" userId="fe4cc296-ba7d-48a2-8799-89b58d218255" providerId="ADAL" clId="{253D94E7-442D-460C-9F4C-18558C0A0590}" dt="2022-05-22T16:42:21.723" v="856" actId="478"/>
          <ac:cxnSpMkLst>
            <pc:docMk/>
            <pc:sldMk cId="1754528059" sldId="2134803581"/>
            <ac:cxnSpMk id="1863" creationId="{2FD63A8F-C9B5-40FC-B61E-4A0DFDB0A2B7}"/>
          </ac:cxnSpMkLst>
        </pc:cxnChg>
        <pc:cxnChg chg="del mod">
          <ac:chgData name="Kebba Jeng" userId="fe4cc296-ba7d-48a2-8799-89b58d218255" providerId="ADAL" clId="{253D94E7-442D-460C-9F4C-18558C0A0590}" dt="2022-05-22T16:42:26.798" v="858" actId="478"/>
          <ac:cxnSpMkLst>
            <pc:docMk/>
            <pc:sldMk cId="1754528059" sldId="2134803581"/>
            <ac:cxnSpMk id="1874" creationId="{3E692FF3-1905-4481-B402-425057D5E6D1}"/>
          </ac:cxnSpMkLst>
        </pc:cxnChg>
        <pc:cxnChg chg="del mod">
          <ac:chgData name="Kebba Jeng" userId="fe4cc296-ba7d-48a2-8799-89b58d218255" providerId="ADAL" clId="{253D94E7-442D-460C-9F4C-18558C0A0590}" dt="2022-05-22T16:42:21.723" v="856" actId="478"/>
          <ac:cxnSpMkLst>
            <pc:docMk/>
            <pc:sldMk cId="1754528059" sldId="2134803581"/>
            <ac:cxnSpMk id="1876" creationId="{1625D8ED-9D3D-4A98-A931-D79B8C0E82AD}"/>
          </ac:cxnSpMkLst>
        </pc:cxnChg>
        <pc:cxnChg chg="del mod">
          <ac:chgData name="Kebba Jeng" userId="fe4cc296-ba7d-48a2-8799-89b58d218255" providerId="ADAL" clId="{253D94E7-442D-460C-9F4C-18558C0A0590}" dt="2022-05-22T16:42:21.723" v="856" actId="478"/>
          <ac:cxnSpMkLst>
            <pc:docMk/>
            <pc:sldMk cId="1754528059" sldId="2134803581"/>
            <ac:cxnSpMk id="1878" creationId="{F0C2F116-8BDA-4B8E-825A-F1054DDD6D4A}"/>
          </ac:cxnSpMkLst>
        </pc:cxnChg>
        <pc:cxnChg chg="del mod">
          <ac:chgData name="Kebba Jeng" userId="fe4cc296-ba7d-48a2-8799-89b58d218255" providerId="ADAL" clId="{253D94E7-442D-460C-9F4C-18558C0A0590}" dt="2022-05-22T16:42:21.723" v="856" actId="478"/>
          <ac:cxnSpMkLst>
            <pc:docMk/>
            <pc:sldMk cId="1754528059" sldId="2134803581"/>
            <ac:cxnSpMk id="1884" creationId="{F281A327-50FD-44B9-B191-2258440DA073}"/>
          </ac:cxnSpMkLst>
        </pc:cxnChg>
      </pc:sldChg>
      <pc:sldChg chg="addSp delSp modSp add mod">
        <pc:chgData name="Kebba Jeng" userId="fe4cc296-ba7d-48a2-8799-89b58d218255" providerId="ADAL" clId="{253D94E7-442D-460C-9F4C-18558C0A0590}" dt="2022-05-22T18:20:23.010" v="2130" actId="14100"/>
        <pc:sldMkLst>
          <pc:docMk/>
          <pc:sldMk cId="3366401288" sldId="2134803582"/>
        </pc:sldMkLst>
        <pc:spChg chg="del">
          <ac:chgData name="Kebba Jeng" userId="fe4cc296-ba7d-48a2-8799-89b58d218255" providerId="ADAL" clId="{253D94E7-442D-460C-9F4C-18558C0A0590}" dt="2022-05-22T16:51:45.868" v="975" actId="478"/>
          <ac:spMkLst>
            <pc:docMk/>
            <pc:sldMk cId="3366401288" sldId="2134803582"/>
            <ac:spMk id="10" creationId="{6EF9F996-B0E4-4CC8-BCB5-8CBDFF77E898}"/>
          </ac:spMkLst>
        </pc:spChg>
        <pc:spChg chg="del">
          <ac:chgData name="Kebba Jeng" userId="fe4cc296-ba7d-48a2-8799-89b58d218255" providerId="ADAL" clId="{253D94E7-442D-460C-9F4C-18558C0A0590}" dt="2022-05-22T16:51:45.868" v="975" actId="478"/>
          <ac:spMkLst>
            <pc:docMk/>
            <pc:sldMk cId="3366401288" sldId="2134803582"/>
            <ac:spMk id="11" creationId="{C651408D-4C61-4F51-A7FD-D866AB775722}"/>
          </ac:spMkLst>
        </pc:spChg>
        <pc:spChg chg="mod">
          <ac:chgData name="Kebba Jeng" userId="fe4cc296-ba7d-48a2-8799-89b58d218255" providerId="ADAL" clId="{253D94E7-442D-460C-9F4C-18558C0A0590}" dt="2022-05-22T16:51:55.941" v="976" actId="1076"/>
          <ac:spMkLst>
            <pc:docMk/>
            <pc:sldMk cId="3366401288" sldId="2134803582"/>
            <ac:spMk id="43" creationId="{916C7F7D-11E3-E8C4-77B2-1F94AAF35F20}"/>
          </ac:spMkLst>
        </pc:spChg>
        <pc:spChg chg="mod">
          <ac:chgData name="Kebba Jeng" userId="fe4cc296-ba7d-48a2-8799-89b58d218255" providerId="ADAL" clId="{253D94E7-442D-460C-9F4C-18558C0A0590}" dt="2022-05-22T17:08:01.430" v="1027" actId="20577"/>
          <ac:spMkLst>
            <pc:docMk/>
            <pc:sldMk cId="3366401288" sldId="2134803582"/>
            <ac:spMk id="44" creationId="{B9D829D3-3B40-61D4-1E28-63B45EB2B56F}"/>
          </ac:spMkLst>
        </pc:spChg>
        <pc:spChg chg="mod">
          <ac:chgData name="Kebba Jeng" userId="fe4cc296-ba7d-48a2-8799-89b58d218255" providerId="ADAL" clId="{253D94E7-442D-460C-9F4C-18558C0A0590}" dt="2022-05-22T17:15:28.614" v="1228" actId="207"/>
          <ac:spMkLst>
            <pc:docMk/>
            <pc:sldMk cId="3366401288" sldId="2134803582"/>
            <ac:spMk id="45" creationId="{6DF2406D-1598-56C6-E1F7-57A97BACB1C5}"/>
          </ac:spMkLst>
        </pc:spChg>
        <pc:spChg chg="mod">
          <ac:chgData name="Kebba Jeng" userId="fe4cc296-ba7d-48a2-8799-89b58d218255" providerId="ADAL" clId="{253D94E7-442D-460C-9F4C-18558C0A0590}" dt="2022-05-22T17:14:29.801" v="1219" actId="20577"/>
          <ac:spMkLst>
            <pc:docMk/>
            <pc:sldMk cId="3366401288" sldId="2134803582"/>
            <ac:spMk id="46" creationId="{612B9B92-2EA4-7EE4-1493-59861F2D92A8}"/>
          </ac:spMkLst>
        </pc:spChg>
        <pc:spChg chg="mod topLvl">
          <ac:chgData name="Kebba Jeng" userId="fe4cc296-ba7d-48a2-8799-89b58d218255" providerId="ADAL" clId="{253D94E7-442D-460C-9F4C-18558C0A0590}" dt="2022-05-22T17:15:22.378" v="1223" actId="478"/>
          <ac:spMkLst>
            <pc:docMk/>
            <pc:sldMk cId="3366401288" sldId="2134803582"/>
            <ac:spMk id="52" creationId="{A8009EBE-C29C-61C0-191D-807EDC3A8012}"/>
          </ac:spMkLst>
        </pc:spChg>
        <pc:spChg chg="add del mod topLvl">
          <ac:chgData name="Kebba Jeng" userId="fe4cc296-ba7d-48a2-8799-89b58d218255" providerId="ADAL" clId="{253D94E7-442D-460C-9F4C-18558C0A0590}" dt="2022-05-22T17:15:22.378" v="1223" actId="478"/>
          <ac:spMkLst>
            <pc:docMk/>
            <pc:sldMk cId="3366401288" sldId="2134803582"/>
            <ac:spMk id="53" creationId="{1A0D292F-29CD-B00F-4EE0-0078EADE0EFE}"/>
          </ac:spMkLst>
        </pc:spChg>
        <pc:spChg chg="mod">
          <ac:chgData name="Kebba Jeng" userId="fe4cc296-ba7d-48a2-8799-89b58d218255" providerId="ADAL" clId="{253D94E7-442D-460C-9F4C-18558C0A0590}" dt="2022-05-22T16:51:55.941" v="976" actId="1076"/>
          <ac:spMkLst>
            <pc:docMk/>
            <pc:sldMk cId="3366401288" sldId="2134803582"/>
            <ac:spMk id="54" creationId="{26BCC45D-332F-0F2F-C7B8-ED470F350E32}"/>
          </ac:spMkLst>
        </pc:spChg>
        <pc:spChg chg="add mod">
          <ac:chgData name="Kebba Jeng" userId="fe4cc296-ba7d-48a2-8799-89b58d218255" providerId="ADAL" clId="{253D94E7-442D-460C-9F4C-18558C0A0590}" dt="2022-05-22T18:13:20.029" v="1767" actId="1076"/>
          <ac:spMkLst>
            <pc:docMk/>
            <pc:sldMk cId="3366401288" sldId="2134803582"/>
            <ac:spMk id="68" creationId="{C59AE025-3E26-D903-A38B-F260857264C4}"/>
          </ac:spMkLst>
        </pc:spChg>
        <pc:spChg chg="del">
          <ac:chgData name="Kebba Jeng" userId="fe4cc296-ba7d-48a2-8799-89b58d218255" providerId="ADAL" clId="{253D94E7-442D-460C-9F4C-18558C0A0590}" dt="2022-05-22T16:51:45.868" v="975" actId="478"/>
          <ac:spMkLst>
            <pc:docMk/>
            <pc:sldMk cId="3366401288" sldId="2134803582"/>
            <ac:spMk id="73" creationId="{ADF7A3B7-2FA0-E532-F6A9-CDD6BB45B44B}"/>
          </ac:spMkLst>
        </pc:spChg>
        <pc:spChg chg="del">
          <ac:chgData name="Kebba Jeng" userId="fe4cc296-ba7d-48a2-8799-89b58d218255" providerId="ADAL" clId="{253D94E7-442D-460C-9F4C-18558C0A0590}" dt="2022-05-22T16:51:45.868" v="975" actId="478"/>
          <ac:spMkLst>
            <pc:docMk/>
            <pc:sldMk cId="3366401288" sldId="2134803582"/>
            <ac:spMk id="74" creationId="{B8E57D5B-7C68-5633-9AFC-44F0B008592A}"/>
          </ac:spMkLst>
        </pc:spChg>
        <pc:spChg chg="del">
          <ac:chgData name="Kebba Jeng" userId="fe4cc296-ba7d-48a2-8799-89b58d218255" providerId="ADAL" clId="{253D94E7-442D-460C-9F4C-18558C0A0590}" dt="2022-05-22T16:51:45.868" v="975" actId="478"/>
          <ac:spMkLst>
            <pc:docMk/>
            <pc:sldMk cId="3366401288" sldId="2134803582"/>
            <ac:spMk id="75" creationId="{0ABD77B7-B48B-78A7-D3BB-BF7EFE540752}"/>
          </ac:spMkLst>
        </pc:spChg>
        <pc:spChg chg="del">
          <ac:chgData name="Kebba Jeng" userId="fe4cc296-ba7d-48a2-8799-89b58d218255" providerId="ADAL" clId="{253D94E7-442D-460C-9F4C-18558C0A0590}" dt="2022-05-22T16:51:45.868" v="975" actId="478"/>
          <ac:spMkLst>
            <pc:docMk/>
            <pc:sldMk cId="3366401288" sldId="2134803582"/>
            <ac:spMk id="76" creationId="{6719CA14-657C-B17E-3344-4319B49A3DF7}"/>
          </ac:spMkLst>
        </pc:spChg>
        <pc:spChg chg="del">
          <ac:chgData name="Kebba Jeng" userId="fe4cc296-ba7d-48a2-8799-89b58d218255" providerId="ADAL" clId="{253D94E7-442D-460C-9F4C-18558C0A0590}" dt="2022-05-22T16:51:45.868" v="975" actId="478"/>
          <ac:spMkLst>
            <pc:docMk/>
            <pc:sldMk cId="3366401288" sldId="2134803582"/>
            <ac:spMk id="84" creationId="{5B21DA3E-BDD6-C92E-76EF-FFAE43666004}"/>
          </ac:spMkLst>
        </pc:spChg>
        <pc:spChg chg="del">
          <ac:chgData name="Kebba Jeng" userId="fe4cc296-ba7d-48a2-8799-89b58d218255" providerId="ADAL" clId="{253D94E7-442D-460C-9F4C-18558C0A0590}" dt="2022-05-22T16:51:45.868" v="975" actId="478"/>
          <ac:spMkLst>
            <pc:docMk/>
            <pc:sldMk cId="3366401288" sldId="2134803582"/>
            <ac:spMk id="88" creationId="{67CA4F71-B5B4-8052-F617-6F426EC82BCC}"/>
          </ac:spMkLst>
        </pc:spChg>
        <pc:spChg chg="del">
          <ac:chgData name="Kebba Jeng" userId="fe4cc296-ba7d-48a2-8799-89b58d218255" providerId="ADAL" clId="{253D94E7-442D-460C-9F4C-18558C0A0590}" dt="2022-05-22T16:51:45.868" v="975" actId="478"/>
          <ac:spMkLst>
            <pc:docMk/>
            <pc:sldMk cId="3366401288" sldId="2134803582"/>
            <ac:spMk id="89" creationId="{00D2E9FC-F61E-1A35-1347-01E25F419164}"/>
          </ac:spMkLst>
        </pc:spChg>
        <pc:spChg chg="del">
          <ac:chgData name="Kebba Jeng" userId="fe4cc296-ba7d-48a2-8799-89b58d218255" providerId="ADAL" clId="{253D94E7-442D-460C-9F4C-18558C0A0590}" dt="2022-05-22T16:51:45.868" v="975" actId="478"/>
          <ac:spMkLst>
            <pc:docMk/>
            <pc:sldMk cId="3366401288" sldId="2134803582"/>
            <ac:spMk id="90" creationId="{0B1BAB65-7F46-BB08-2F56-571F075AA2BD}"/>
          </ac:spMkLst>
        </pc:spChg>
        <pc:spChg chg="del">
          <ac:chgData name="Kebba Jeng" userId="fe4cc296-ba7d-48a2-8799-89b58d218255" providerId="ADAL" clId="{253D94E7-442D-460C-9F4C-18558C0A0590}" dt="2022-05-22T16:51:45.868" v="975" actId="478"/>
          <ac:spMkLst>
            <pc:docMk/>
            <pc:sldMk cId="3366401288" sldId="2134803582"/>
            <ac:spMk id="91" creationId="{254694F4-C5EB-1F5B-0DB3-CEDDF55ADA84}"/>
          </ac:spMkLst>
        </pc:spChg>
        <pc:spChg chg="del">
          <ac:chgData name="Kebba Jeng" userId="fe4cc296-ba7d-48a2-8799-89b58d218255" providerId="ADAL" clId="{253D94E7-442D-460C-9F4C-18558C0A0590}" dt="2022-05-22T16:51:45.868" v="975" actId="478"/>
          <ac:spMkLst>
            <pc:docMk/>
            <pc:sldMk cId="3366401288" sldId="2134803582"/>
            <ac:spMk id="99" creationId="{97C6C728-188F-CA8C-E078-4DCBBDC30BCB}"/>
          </ac:spMkLst>
        </pc:spChg>
        <pc:spChg chg="add mod">
          <ac:chgData name="Kebba Jeng" userId="fe4cc296-ba7d-48a2-8799-89b58d218255" providerId="ADAL" clId="{253D94E7-442D-460C-9F4C-18558C0A0590}" dt="2022-05-22T18:13:23.312" v="1768" actId="1076"/>
          <ac:spMkLst>
            <pc:docMk/>
            <pc:sldMk cId="3366401288" sldId="2134803582"/>
            <ac:spMk id="103" creationId="{FD07050B-D750-EEFE-D543-E9B3F7C0D0F8}"/>
          </ac:spMkLst>
        </pc:spChg>
        <pc:spChg chg="add mod">
          <ac:chgData name="Kebba Jeng" userId="fe4cc296-ba7d-48a2-8799-89b58d218255" providerId="ADAL" clId="{253D94E7-442D-460C-9F4C-18558C0A0590}" dt="2022-05-22T18:13:15.734" v="1766" actId="1076"/>
          <ac:spMkLst>
            <pc:docMk/>
            <pc:sldMk cId="3366401288" sldId="2134803582"/>
            <ac:spMk id="104" creationId="{99C502BD-83D6-E38C-6D32-8AD52CBC4098}"/>
          </ac:spMkLst>
        </pc:spChg>
        <pc:spChg chg="add mod">
          <ac:chgData name="Kebba Jeng" userId="fe4cc296-ba7d-48a2-8799-89b58d218255" providerId="ADAL" clId="{253D94E7-442D-460C-9F4C-18558C0A0590}" dt="2022-05-22T18:12:49.615" v="1761" actId="1076"/>
          <ac:spMkLst>
            <pc:docMk/>
            <pc:sldMk cId="3366401288" sldId="2134803582"/>
            <ac:spMk id="106" creationId="{D7B91B25-31AA-BDB3-FC2F-34D5782CAA36}"/>
          </ac:spMkLst>
        </pc:spChg>
        <pc:spChg chg="add mod">
          <ac:chgData name="Kebba Jeng" userId="fe4cc296-ba7d-48a2-8799-89b58d218255" providerId="ADAL" clId="{253D94E7-442D-460C-9F4C-18558C0A0590}" dt="2022-05-22T18:14:08.186" v="1792" actId="20577"/>
          <ac:spMkLst>
            <pc:docMk/>
            <pc:sldMk cId="3366401288" sldId="2134803582"/>
            <ac:spMk id="107" creationId="{31C03F66-C09D-E036-872C-B586DE69F4BF}"/>
          </ac:spMkLst>
        </pc:spChg>
        <pc:spChg chg="add mod">
          <ac:chgData name="Kebba Jeng" userId="fe4cc296-ba7d-48a2-8799-89b58d218255" providerId="ADAL" clId="{253D94E7-442D-460C-9F4C-18558C0A0590}" dt="2022-05-22T18:12:49.615" v="1761" actId="1076"/>
          <ac:spMkLst>
            <pc:docMk/>
            <pc:sldMk cId="3366401288" sldId="2134803582"/>
            <ac:spMk id="108" creationId="{E36B2B14-9615-BE55-583D-FF66B0157266}"/>
          </ac:spMkLst>
        </pc:spChg>
        <pc:spChg chg="add mod">
          <ac:chgData name="Kebba Jeng" userId="fe4cc296-ba7d-48a2-8799-89b58d218255" providerId="ADAL" clId="{253D94E7-442D-460C-9F4C-18558C0A0590}" dt="2022-05-22T18:12:49.615" v="1761" actId="1076"/>
          <ac:spMkLst>
            <pc:docMk/>
            <pc:sldMk cId="3366401288" sldId="2134803582"/>
            <ac:spMk id="109" creationId="{BD514BF0-7041-DFF7-47C2-18DCE427D55B}"/>
          </ac:spMkLst>
        </pc:spChg>
        <pc:spChg chg="mod">
          <ac:chgData name="Kebba Jeng" userId="fe4cc296-ba7d-48a2-8799-89b58d218255" providerId="ADAL" clId="{253D94E7-442D-460C-9F4C-18558C0A0590}" dt="2022-05-22T18:12:45.790" v="1760"/>
          <ac:spMkLst>
            <pc:docMk/>
            <pc:sldMk cId="3366401288" sldId="2134803582"/>
            <ac:spMk id="111" creationId="{06FF38C4-CD98-25B4-F14C-3384DBFD9FC8}"/>
          </ac:spMkLst>
        </pc:spChg>
        <pc:spChg chg="mod">
          <ac:chgData name="Kebba Jeng" userId="fe4cc296-ba7d-48a2-8799-89b58d218255" providerId="ADAL" clId="{253D94E7-442D-460C-9F4C-18558C0A0590}" dt="2022-05-22T18:12:45.790" v="1760"/>
          <ac:spMkLst>
            <pc:docMk/>
            <pc:sldMk cId="3366401288" sldId="2134803582"/>
            <ac:spMk id="112" creationId="{00657F17-DE6C-7E73-36D7-6185DCE77DCC}"/>
          </ac:spMkLst>
        </pc:spChg>
        <pc:spChg chg="add mod">
          <ac:chgData name="Kebba Jeng" userId="fe4cc296-ba7d-48a2-8799-89b58d218255" providerId="ADAL" clId="{253D94E7-442D-460C-9F4C-18558C0A0590}" dt="2022-05-22T18:12:49.615" v="1761" actId="1076"/>
          <ac:spMkLst>
            <pc:docMk/>
            <pc:sldMk cId="3366401288" sldId="2134803582"/>
            <ac:spMk id="113" creationId="{F1E5177C-545E-A93A-39F1-87BE3487015F}"/>
          </ac:spMkLst>
        </pc:spChg>
        <pc:spChg chg="add mod">
          <ac:chgData name="Kebba Jeng" userId="fe4cc296-ba7d-48a2-8799-89b58d218255" providerId="ADAL" clId="{253D94E7-442D-460C-9F4C-18558C0A0590}" dt="2022-05-22T18:12:49.615" v="1761" actId="1076"/>
          <ac:spMkLst>
            <pc:docMk/>
            <pc:sldMk cId="3366401288" sldId="2134803582"/>
            <ac:spMk id="117" creationId="{10C9E4C0-4DED-391D-AB4C-3D9E1E86AD88}"/>
          </ac:spMkLst>
        </pc:spChg>
        <pc:spChg chg="add mod">
          <ac:chgData name="Kebba Jeng" userId="fe4cc296-ba7d-48a2-8799-89b58d218255" providerId="ADAL" clId="{253D94E7-442D-460C-9F4C-18558C0A0590}" dt="2022-05-22T18:12:49.615" v="1761" actId="1076"/>
          <ac:spMkLst>
            <pc:docMk/>
            <pc:sldMk cId="3366401288" sldId="2134803582"/>
            <ac:spMk id="118" creationId="{29642D7E-8268-8911-FDBD-736D0E7CD20B}"/>
          </ac:spMkLst>
        </pc:spChg>
        <pc:spChg chg="add mod">
          <ac:chgData name="Kebba Jeng" userId="fe4cc296-ba7d-48a2-8799-89b58d218255" providerId="ADAL" clId="{253D94E7-442D-460C-9F4C-18558C0A0590}" dt="2022-05-22T18:12:49.615" v="1761" actId="1076"/>
          <ac:spMkLst>
            <pc:docMk/>
            <pc:sldMk cId="3366401288" sldId="2134803582"/>
            <ac:spMk id="119" creationId="{58D324CF-F00E-5EB8-F518-7F6A1C7B3AD8}"/>
          </ac:spMkLst>
        </pc:spChg>
        <pc:spChg chg="add mod">
          <ac:chgData name="Kebba Jeng" userId="fe4cc296-ba7d-48a2-8799-89b58d218255" providerId="ADAL" clId="{253D94E7-442D-460C-9F4C-18558C0A0590}" dt="2022-05-22T18:12:49.615" v="1761" actId="1076"/>
          <ac:spMkLst>
            <pc:docMk/>
            <pc:sldMk cId="3366401288" sldId="2134803582"/>
            <ac:spMk id="120" creationId="{F0E65360-6BCF-20DB-807E-F4507331BAA1}"/>
          </ac:spMkLst>
        </pc:spChg>
        <pc:spChg chg="del">
          <ac:chgData name="Kebba Jeng" userId="fe4cc296-ba7d-48a2-8799-89b58d218255" providerId="ADAL" clId="{253D94E7-442D-460C-9F4C-18558C0A0590}" dt="2022-05-22T16:51:45.868" v="975" actId="478"/>
          <ac:spMkLst>
            <pc:docMk/>
            <pc:sldMk cId="3366401288" sldId="2134803582"/>
            <ac:spMk id="414" creationId="{6E70624B-820D-45A7-9DB8-2166056F1374}"/>
          </ac:spMkLst>
        </pc:spChg>
        <pc:spChg chg="del">
          <ac:chgData name="Kebba Jeng" userId="fe4cc296-ba7d-48a2-8799-89b58d218255" providerId="ADAL" clId="{253D94E7-442D-460C-9F4C-18558C0A0590}" dt="2022-05-22T16:51:45.868" v="975" actId="478"/>
          <ac:spMkLst>
            <pc:docMk/>
            <pc:sldMk cId="3366401288" sldId="2134803582"/>
            <ac:spMk id="415" creationId="{66391A57-C7E4-4726-917D-6BEE196AD60C}"/>
          </ac:spMkLst>
        </pc:spChg>
        <pc:spChg chg="mod">
          <ac:chgData name="Kebba Jeng" userId="fe4cc296-ba7d-48a2-8799-89b58d218255" providerId="ADAL" clId="{253D94E7-442D-460C-9F4C-18558C0A0590}" dt="2022-05-22T18:20:23.010" v="2130" actId="14100"/>
          <ac:spMkLst>
            <pc:docMk/>
            <pc:sldMk cId="3366401288" sldId="2134803582"/>
            <ac:spMk id="719" creationId="{00000000-0000-0000-0000-000000000000}"/>
          </ac:spMkLst>
        </pc:spChg>
        <pc:spChg chg="del">
          <ac:chgData name="Kebba Jeng" userId="fe4cc296-ba7d-48a2-8799-89b58d218255" providerId="ADAL" clId="{253D94E7-442D-460C-9F4C-18558C0A0590}" dt="2022-05-22T16:51:45.868" v="975" actId="478"/>
          <ac:spMkLst>
            <pc:docMk/>
            <pc:sldMk cId="3366401288" sldId="2134803582"/>
            <ac:spMk id="1882" creationId="{CB682833-4826-48B1-A7A8-6F9F41CEF769}"/>
          </ac:spMkLst>
        </pc:spChg>
        <pc:grpChg chg="del">
          <ac:chgData name="Kebba Jeng" userId="fe4cc296-ba7d-48a2-8799-89b58d218255" providerId="ADAL" clId="{253D94E7-442D-460C-9F4C-18558C0A0590}" dt="2022-05-22T16:51:45.868" v="975" actId="478"/>
          <ac:grpSpMkLst>
            <pc:docMk/>
            <pc:sldMk cId="3366401288" sldId="2134803582"/>
            <ac:grpSpMk id="15" creationId="{30AE0F30-8DAA-8D0E-6763-900B13609EB3}"/>
          </ac:grpSpMkLst>
        </pc:grpChg>
        <pc:grpChg chg="del">
          <ac:chgData name="Kebba Jeng" userId="fe4cc296-ba7d-48a2-8799-89b58d218255" providerId="ADAL" clId="{253D94E7-442D-460C-9F4C-18558C0A0590}" dt="2022-05-22T16:51:33.592" v="972" actId="478"/>
          <ac:grpSpMkLst>
            <pc:docMk/>
            <pc:sldMk cId="3366401288" sldId="2134803582"/>
            <ac:grpSpMk id="47" creationId="{86AF7F0F-EDA7-D373-75ED-56822AA7CBAD}"/>
          </ac:grpSpMkLst>
        </pc:grpChg>
        <pc:grpChg chg="add del mod topLvl">
          <ac:chgData name="Kebba Jeng" userId="fe4cc296-ba7d-48a2-8799-89b58d218255" providerId="ADAL" clId="{253D94E7-442D-460C-9F4C-18558C0A0590}" dt="2022-05-22T17:15:22.378" v="1223" actId="478"/>
          <ac:grpSpMkLst>
            <pc:docMk/>
            <pc:sldMk cId="3366401288" sldId="2134803582"/>
            <ac:grpSpMk id="48" creationId="{6E927A4B-6A7F-EBB9-4B2D-EDECE1FDD249}"/>
          </ac:grpSpMkLst>
        </pc:grpChg>
        <pc:grpChg chg="del">
          <ac:chgData name="Kebba Jeng" userId="fe4cc296-ba7d-48a2-8799-89b58d218255" providerId="ADAL" clId="{253D94E7-442D-460C-9F4C-18558C0A0590}" dt="2022-05-22T16:51:32.053" v="971" actId="478"/>
          <ac:grpSpMkLst>
            <pc:docMk/>
            <pc:sldMk cId="3366401288" sldId="2134803582"/>
            <ac:grpSpMk id="49" creationId="{3D5505B1-9B7C-67BD-2B15-1717681C5E0D}"/>
          </ac:grpSpMkLst>
        </pc:grpChg>
        <pc:grpChg chg="del">
          <ac:chgData name="Kebba Jeng" userId="fe4cc296-ba7d-48a2-8799-89b58d218255" providerId="ADAL" clId="{253D94E7-442D-460C-9F4C-18558C0A0590}" dt="2022-05-22T16:51:45.868" v="975" actId="478"/>
          <ac:grpSpMkLst>
            <pc:docMk/>
            <pc:sldMk cId="3366401288" sldId="2134803582"/>
            <ac:grpSpMk id="77" creationId="{BF6A59A4-34E2-B07A-7419-4DDAC849417B}"/>
          </ac:grpSpMkLst>
        </pc:grpChg>
        <pc:grpChg chg="del">
          <ac:chgData name="Kebba Jeng" userId="fe4cc296-ba7d-48a2-8799-89b58d218255" providerId="ADAL" clId="{253D94E7-442D-460C-9F4C-18558C0A0590}" dt="2022-05-22T16:51:45.868" v="975" actId="478"/>
          <ac:grpSpMkLst>
            <pc:docMk/>
            <pc:sldMk cId="3366401288" sldId="2134803582"/>
            <ac:grpSpMk id="92" creationId="{76EE25ED-AD63-5A18-449F-A9A8721A6254}"/>
          </ac:grpSpMkLst>
        </pc:grpChg>
        <pc:grpChg chg="add mod">
          <ac:chgData name="Kebba Jeng" userId="fe4cc296-ba7d-48a2-8799-89b58d218255" providerId="ADAL" clId="{253D94E7-442D-460C-9F4C-18558C0A0590}" dt="2022-05-22T18:12:49.615" v="1761" actId="1076"/>
          <ac:grpSpMkLst>
            <pc:docMk/>
            <pc:sldMk cId="3366401288" sldId="2134803582"/>
            <ac:grpSpMk id="110" creationId="{5E3EBD17-8BE9-1FBF-40D2-E560FAE4AAB7}"/>
          </ac:grpSpMkLst>
        </pc:grpChg>
        <pc:picChg chg="del">
          <ac:chgData name="Kebba Jeng" userId="fe4cc296-ba7d-48a2-8799-89b58d218255" providerId="ADAL" clId="{253D94E7-442D-460C-9F4C-18558C0A0590}" dt="2022-05-22T16:51:45.868" v="975" actId="478"/>
          <ac:picMkLst>
            <pc:docMk/>
            <pc:sldMk cId="3366401288" sldId="2134803582"/>
            <ac:picMk id="36" creationId="{5180B81E-BAFE-8E6B-6929-D7BCD7B75612}"/>
          </ac:picMkLst>
        </pc:picChg>
        <pc:picChg chg="del">
          <ac:chgData name="Kebba Jeng" userId="fe4cc296-ba7d-48a2-8799-89b58d218255" providerId="ADAL" clId="{253D94E7-442D-460C-9F4C-18558C0A0590}" dt="2022-05-22T16:51:45.868" v="975" actId="478"/>
          <ac:picMkLst>
            <pc:docMk/>
            <pc:sldMk cId="3366401288" sldId="2134803582"/>
            <ac:picMk id="37" creationId="{B52A0456-8812-6E4B-2433-0155C78785F1}"/>
          </ac:picMkLst>
        </pc:picChg>
        <pc:picChg chg="del">
          <ac:chgData name="Kebba Jeng" userId="fe4cc296-ba7d-48a2-8799-89b58d218255" providerId="ADAL" clId="{253D94E7-442D-460C-9F4C-18558C0A0590}" dt="2022-05-22T16:51:45.868" v="975" actId="478"/>
          <ac:picMkLst>
            <pc:docMk/>
            <pc:sldMk cId="3366401288" sldId="2134803582"/>
            <ac:picMk id="38" creationId="{56221977-C61F-7B03-6C8A-F849B98256AF}"/>
          </ac:picMkLst>
        </pc:picChg>
        <pc:picChg chg="mod">
          <ac:chgData name="Kebba Jeng" userId="fe4cc296-ba7d-48a2-8799-89b58d218255" providerId="ADAL" clId="{253D94E7-442D-460C-9F4C-18558C0A0590}" dt="2022-05-22T16:51:55.941" v="976" actId="1076"/>
          <ac:picMkLst>
            <pc:docMk/>
            <pc:sldMk cId="3366401288" sldId="2134803582"/>
            <ac:picMk id="42" creationId="{7AD7CC39-C907-0507-6ED2-DC4D5EF4DBC6}"/>
          </ac:picMkLst>
        </pc:picChg>
        <pc:picChg chg="del topLvl">
          <ac:chgData name="Kebba Jeng" userId="fe4cc296-ba7d-48a2-8799-89b58d218255" providerId="ADAL" clId="{253D94E7-442D-460C-9F4C-18558C0A0590}" dt="2022-05-22T16:51:33.592" v="972" actId="478"/>
          <ac:picMkLst>
            <pc:docMk/>
            <pc:sldMk cId="3366401288" sldId="2134803582"/>
            <ac:picMk id="50" creationId="{3DC2FFA2-BC84-7055-9493-21D3AA2DF411}"/>
          </ac:picMkLst>
        </pc:picChg>
        <pc:picChg chg="del">
          <ac:chgData name="Kebba Jeng" userId="fe4cc296-ba7d-48a2-8799-89b58d218255" providerId="ADAL" clId="{253D94E7-442D-460C-9F4C-18558C0A0590}" dt="2022-05-22T16:51:32.053" v="971" actId="478"/>
          <ac:picMkLst>
            <pc:docMk/>
            <pc:sldMk cId="3366401288" sldId="2134803582"/>
            <ac:picMk id="51" creationId="{AEF89187-6127-2482-953A-E75CA54E8BEA}"/>
          </ac:picMkLst>
        </pc:picChg>
        <pc:picChg chg="add del mod">
          <ac:chgData name="Kebba Jeng" userId="fe4cc296-ba7d-48a2-8799-89b58d218255" providerId="ADAL" clId="{253D94E7-442D-460C-9F4C-18558C0A0590}" dt="2022-05-22T18:12:59.359" v="1762" actId="478"/>
          <ac:picMkLst>
            <pc:docMk/>
            <pc:sldMk cId="3366401288" sldId="2134803582"/>
            <ac:picMk id="121" creationId="{907FC19A-E709-B0DB-AE60-678DAC7FA3FD}"/>
          </ac:picMkLst>
        </pc:picChg>
        <pc:picChg chg="add mod">
          <ac:chgData name="Kebba Jeng" userId="fe4cc296-ba7d-48a2-8799-89b58d218255" providerId="ADAL" clId="{253D94E7-442D-460C-9F4C-18558C0A0590}" dt="2022-05-22T18:12:49.615" v="1761" actId="1076"/>
          <ac:picMkLst>
            <pc:docMk/>
            <pc:sldMk cId="3366401288" sldId="2134803582"/>
            <ac:picMk id="122" creationId="{DE6F4451-D809-6C02-5052-26CEB5C1BDC0}"/>
          </ac:picMkLst>
        </pc:picChg>
        <pc:picChg chg="add mod">
          <ac:chgData name="Kebba Jeng" userId="fe4cc296-ba7d-48a2-8799-89b58d218255" providerId="ADAL" clId="{253D94E7-442D-460C-9F4C-18558C0A0590}" dt="2022-05-22T18:13:07.873" v="1764" actId="1076"/>
          <ac:picMkLst>
            <pc:docMk/>
            <pc:sldMk cId="3366401288" sldId="2134803582"/>
            <ac:picMk id="123" creationId="{1B408C88-F23E-7A00-04E1-43368EEFD065}"/>
          </ac:picMkLst>
        </pc:picChg>
        <pc:cxnChg chg="add del mod">
          <ac:chgData name="Kebba Jeng" userId="fe4cc296-ba7d-48a2-8799-89b58d218255" providerId="ADAL" clId="{253D94E7-442D-460C-9F4C-18558C0A0590}" dt="2022-05-22T18:05:23.797" v="1683" actId="478"/>
          <ac:cxnSpMkLst>
            <pc:docMk/>
            <pc:sldMk cId="3366401288" sldId="2134803582"/>
            <ac:cxnSpMk id="3" creationId="{138243B8-9C6F-C734-0078-D45535678D22}"/>
          </ac:cxnSpMkLst>
        </pc:cxnChg>
        <pc:cxnChg chg="del">
          <ac:chgData name="Kebba Jeng" userId="fe4cc296-ba7d-48a2-8799-89b58d218255" providerId="ADAL" clId="{253D94E7-442D-460C-9F4C-18558C0A0590}" dt="2022-05-22T16:51:45.868" v="975" actId="478"/>
          <ac:cxnSpMkLst>
            <pc:docMk/>
            <pc:sldMk cId="3366401288" sldId="2134803582"/>
            <ac:cxnSpMk id="5" creationId="{5F102939-5D57-0FC6-44AD-742E08D724D1}"/>
          </ac:cxnSpMkLst>
        </pc:cxnChg>
        <pc:cxnChg chg="del">
          <ac:chgData name="Kebba Jeng" userId="fe4cc296-ba7d-48a2-8799-89b58d218255" providerId="ADAL" clId="{253D94E7-442D-460C-9F4C-18558C0A0590}" dt="2022-05-22T16:51:45.868" v="975" actId="478"/>
          <ac:cxnSpMkLst>
            <pc:docMk/>
            <pc:sldMk cId="3366401288" sldId="2134803582"/>
            <ac:cxnSpMk id="7" creationId="{0B6E9552-4BC6-D980-BE8A-DB96CB5C0E90}"/>
          </ac:cxnSpMkLst>
        </pc:cxnChg>
        <pc:cxnChg chg="del">
          <ac:chgData name="Kebba Jeng" userId="fe4cc296-ba7d-48a2-8799-89b58d218255" providerId="ADAL" clId="{253D94E7-442D-460C-9F4C-18558C0A0590}" dt="2022-05-22T16:51:45.868" v="975" actId="478"/>
          <ac:cxnSpMkLst>
            <pc:docMk/>
            <pc:sldMk cId="3366401288" sldId="2134803582"/>
            <ac:cxnSpMk id="9" creationId="{9903E2AD-E3CF-57C8-1029-9B689348A555}"/>
          </ac:cxnSpMkLst>
        </pc:cxnChg>
        <pc:cxnChg chg="add del mod">
          <ac:chgData name="Kebba Jeng" userId="fe4cc296-ba7d-48a2-8799-89b58d218255" providerId="ADAL" clId="{253D94E7-442D-460C-9F4C-18558C0A0590}" dt="2022-05-22T18:05:23.220" v="1682" actId="478"/>
          <ac:cxnSpMkLst>
            <pc:docMk/>
            <pc:sldMk cId="3366401288" sldId="2134803582"/>
            <ac:cxnSpMk id="13" creationId="{30097A33-D1A2-7C2A-2F6E-3E4C012F5630}"/>
          </ac:cxnSpMkLst>
        </pc:cxnChg>
        <pc:cxnChg chg="add del mod">
          <ac:chgData name="Kebba Jeng" userId="fe4cc296-ba7d-48a2-8799-89b58d218255" providerId="ADAL" clId="{253D94E7-442D-460C-9F4C-18558C0A0590}" dt="2022-05-22T18:05:22.503" v="1681" actId="478"/>
          <ac:cxnSpMkLst>
            <pc:docMk/>
            <pc:sldMk cId="3366401288" sldId="2134803582"/>
            <ac:cxnSpMk id="33" creationId="{3F56257E-B317-D8ED-08E0-4CF001A8E8D2}"/>
          </ac:cxnSpMkLst>
        </pc:cxnChg>
        <pc:cxnChg chg="mod">
          <ac:chgData name="Kebba Jeng" userId="fe4cc296-ba7d-48a2-8799-89b58d218255" providerId="ADAL" clId="{253D94E7-442D-460C-9F4C-18558C0A0590}" dt="2022-05-22T16:51:55.941" v="976" actId="1076"/>
          <ac:cxnSpMkLst>
            <pc:docMk/>
            <pc:sldMk cId="3366401288" sldId="2134803582"/>
            <ac:cxnSpMk id="55" creationId="{A0226E73-6F80-5E22-423B-A3191DA35055}"/>
          </ac:cxnSpMkLst>
        </pc:cxnChg>
        <pc:cxnChg chg="mod">
          <ac:chgData name="Kebba Jeng" userId="fe4cc296-ba7d-48a2-8799-89b58d218255" providerId="ADAL" clId="{253D94E7-442D-460C-9F4C-18558C0A0590}" dt="2022-05-22T16:51:55.941" v="976" actId="1076"/>
          <ac:cxnSpMkLst>
            <pc:docMk/>
            <pc:sldMk cId="3366401288" sldId="2134803582"/>
            <ac:cxnSpMk id="56" creationId="{FA231AFA-CF3C-A963-25EF-C696E535AC38}"/>
          </ac:cxnSpMkLst>
        </pc:cxnChg>
        <pc:cxnChg chg="mod">
          <ac:chgData name="Kebba Jeng" userId="fe4cc296-ba7d-48a2-8799-89b58d218255" providerId="ADAL" clId="{253D94E7-442D-460C-9F4C-18558C0A0590}" dt="2022-05-22T16:51:55.941" v="976" actId="1076"/>
          <ac:cxnSpMkLst>
            <pc:docMk/>
            <pc:sldMk cId="3366401288" sldId="2134803582"/>
            <ac:cxnSpMk id="57" creationId="{34803D7C-5CFF-2043-5A68-D06C8788F880}"/>
          </ac:cxnSpMkLst>
        </pc:cxnChg>
        <pc:cxnChg chg="del">
          <ac:chgData name="Kebba Jeng" userId="fe4cc296-ba7d-48a2-8799-89b58d218255" providerId="ADAL" clId="{253D94E7-442D-460C-9F4C-18558C0A0590}" dt="2022-05-22T16:51:45.868" v="975" actId="478"/>
          <ac:cxnSpMkLst>
            <pc:docMk/>
            <pc:sldMk cId="3366401288" sldId="2134803582"/>
            <ac:cxnSpMk id="85" creationId="{BC57EF7D-F29E-D6E5-97AB-4B9F5FA0941D}"/>
          </ac:cxnSpMkLst>
        </pc:cxnChg>
        <pc:cxnChg chg="del">
          <ac:chgData name="Kebba Jeng" userId="fe4cc296-ba7d-48a2-8799-89b58d218255" providerId="ADAL" clId="{253D94E7-442D-460C-9F4C-18558C0A0590}" dt="2022-05-22T16:51:45.868" v="975" actId="478"/>
          <ac:cxnSpMkLst>
            <pc:docMk/>
            <pc:sldMk cId="3366401288" sldId="2134803582"/>
            <ac:cxnSpMk id="86" creationId="{8D8B3BED-B349-41B6-8022-7D8592D5EE4B}"/>
          </ac:cxnSpMkLst>
        </pc:cxnChg>
        <pc:cxnChg chg="del">
          <ac:chgData name="Kebba Jeng" userId="fe4cc296-ba7d-48a2-8799-89b58d218255" providerId="ADAL" clId="{253D94E7-442D-460C-9F4C-18558C0A0590}" dt="2022-05-22T16:51:45.868" v="975" actId="478"/>
          <ac:cxnSpMkLst>
            <pc:docMk/>
            <pc:sldMk cId="3366401288" sldId="2134803582"/>
            <ac:cxnSpMk id="87" creationId="{D08F9FF9-1C56-9414-7857-165E64019EC8}"/>
          </ac:cxnSpMkLst>
        </pc:cxnChg>
        <pc:cxnChg chg="del">
          <ac:chgData name="Kebba Jeng" userId="fe4cc296-ba7d-48a2-8799-89b58d218255" providerId="ADAL" clId="{253D94E7-442D-460C-9F4C-18558C0A0590}" dt="2022-05-22T16:51:45.868" v="975" actId="478"/>
          <ac:cxnSpMkLst>
            <pc:docMk/>
            <pc:sldMk cId="3366401288" sldId="2134803582"/>
            <ac:cxnSpMk id="100" creationId="{7418FE7C-9CFC-AC67-A65B-45DA233456E8}"/>
          </ac:cxnSpMkLst>
        </pc:cxnChg>
        <pc:cxnChg chg="del">
          <ac:chgData name="Kebba Jeng" userId="fe4cc296-ba7d-48a2-8799-89b58d218255" providerId="ADAL" clId="{253D94E7-442D-460C-9F4C-18558C0A0590}" dt="2022-05-22T16:51:45.868" v="975" actId="478"/>
          <ac:cxnSpMkLst>
            <pc:docMk/>
            <pc:sldMk cId="3366401288" sldId="2134803582"/>
            <ac:cxnSpMk id="101" creationId="{D2E28B97-6ED6-61BC-3D9B-E56927C13AD8}"/>
          </ac:cxnSpMkLst>
        </pc:cxnChg>
        <pc:cxnChg chg="del">
          <ac:chgData name="Kebba Jeng" userId="fe4cc296-ba7d-48a2-8799-89b58d218255" providerId="ADAL" clId="{253D94E7-442D-460C-9F4C-18558C0A0590}" dt="2022-05-22T16:51:45.868" v="975" actId="478"/>
          <ac:cxnSpMkLst>
            <pc:docMk/>
            <pc:sldMk cId="3366401288" sldId="2134803582"/>
            <ac:cxnSpMk id="102" creationId="{5C251FC8-C852-8862-060F-79554F024AD9}"/>
          </ac:cxnSpMkLst>
        </pc:cxnChg>
        <pc:cxnChg chg="add mod">
          <ac:chgData name="Kebba Jeng" userId="fe4cc296-ba7d-48a2-8799-89b58d218255" providerId="ADAL" clId="{253D94E7-442D-460C-9F4C-18558C0A0590}" dt="2022-05-22T18:12:49.615" v="1761" actId="1076"/>
          <ac:cxnSpMkLst>
            <pc:docMk/>
            <pc:sldMk cId="3366401288" sldId="2134803582"/>
            <ac:cxnSpMk id="114" creationId="{99F1EFAC-15AC-5E07-4C98-E4222D365BF8}"/>
          </ac:cxnSpMkLst>
        </pc:cxnChg>
        <pc:cxnChg chg="add mod">
          <ac:chgData name="Kebba Jeng" userId="fe4cc296-ba7d-48a2-8799-89b58d218255" providerId="ADAL" clId="{253D94E7-442D-460C-9F4C-18558C0A0590}" dt="2022-05-22T18:12:49.615" v="1761" actId="1076"/>
          <ac:cxnSpMkLst>
            <pc:docMk/>
            <pc:sldMk cId="3366401288" sldId="2134803582"/>
            <ac:cxnSpMk id="115" creationId="{FFAEDE84-B1BE-67BF-D673-E9BBDB4B4054}"/>
          </ac:cxnSpMkLst>
        </pc:cxnChg>
        <pc:cxnChg chg="add mod">
          <ac:chgData name="Kebba Jeng" userId="fe4cc296-ba7d-48a2-8799-89b58d218255" providerId="ADAL" clId="{253D94E7-442D-460C-9F4C-18558C0A0590}" dt="2022-05-22T18:12:49.615" v="1761" actId="1076"/>
          <ac:cxnSpMkLst>
            <pc:docMk/>
            <pc:sldMk cId="3366401288" sldId="2134803582"/>
            <ac:cxnSpMk id="116" creationId="{7F225662-B972-D153-AF1D-D5153A23C31D}"/>
          </ac:cxnSpMkLst>
        </pc:cxnChg>
        <pc:cxnChg chg="add">
          <ac:chgData name="Kebba Jeng" userId="fe4cc296-ba7d-48a2-8799-89b58d218255" providerId="ADAL" clId="{253D94E7-442D-460C-9F4C-18558C0A0590}" dt="2022-05-22T18:13:27.706" v="1769" actId="11529"/>
          <ac:cxnSpMkLst>
            <pc:docMk/>
            <pc:sldMk cId="3366401288" sldId="2134803582"/>
            <ac:cxnSpMk id="1857" creationId="{BDF7E109-8CDD-A8E5-1BE7-03A4C2A4C04C}"/>
          </ac:cxnSpMkLst>
        </pc:cxnChg>
        <pc:cxnChg chg="add">
          <ac:chgData name="Kebba Jeng" userId="fe4cc296-ba7d-48a2-8799-89b58d218255" providerId="ADAL" clId="{253D94E7-442D-460C-9F4C-18558C0A0590}" dt="2022-05-22T18:13:33.554" v="1770" actId="11529"/>
          <ac:cxnSpMkLst>
            <pc:docMk/>
            <pc:sldMk cId="3366401288" sldId="2134803582"/>
            <ac:cxnSpMk id="1859" creationId="{8D69951D-37D5-5F5D-D41A-3947327152A7}"/>
          </ac:cxnSpMkLst>
        </pc:cxnChg>
      </pc:sldChg>
      <pc:sldChg chg="add">
        <pc:chgData name="Kebba Jeng" userId="fe4cc296-ba7d-48a2-8799-89b58d218255" providerId="ADAL" clId="{253D94E7-442D-460C-9F4C-18558C0A0590}" dt="2022-05-22T16:51:37.068" v="973" actId="2890"/>
        <pc:sldMkLst>
          <pc:docMk/>
          <pc:sldMk cId="3780376641" sldId="2134803583"/>
        </pc:sldMkLst>
      </pc:sldChg>
      <pc:sldChg chg="add">
        <pc:chgData name="Kebba Jeng" userId="fe4cc296-ba7d-48a2-8799-89b58d218255" providerId="ADAL" clId="{253D94E7-442D-460C-9F4C-18558C0A0590}" dt="2022-05-22T16:51:40.014" v="974" actId="2890"/>
        <pc:sldMkLst>
          <pc:docMk/>
          <pc:sldMk cId="1067451703" sldId="2134803584"/>
        </pc:sldMkLst>
      </pc:sldChg>
      <pc:sldChg chg="addSp delSp modSp add mod">
        <pc:chgData name="Kebba Jeng" userId="fe4cc296-ba7d-48a2-8799-89b58d218255" providerId="ADAL" clId="{253D94E7-442D-460C-9F4C-18558C0A0590}" dt="2022-05-22T18:20:29.366" v="2133" actId="14100"/>
        <pc:sldMkLst>
          <pc:docMk/>
          <pc:sldMk cId="1553734564" sldId="2134803585"/>
        </pc:sldMkLst>
        <pc:spChg chg="add mod">
          <ac:chgData name="Kebba Jeng" userId="fe4cc296-ba7d-48a2-8799-89b58d218255" providerId="ADAL" clId="{253D94E7-442D-460C-9F4C-18558C0A0590}" dt="2022-05-22T18:18:09.828" v="1969" actId="20577"/>
          <ac:spMkLst>
            <pc:docMk/>
            <pc:sldMk cId="1553734564" sldId="2134803585"/>
            <ac:spMk id="31" creationId="{41042008-0640-9337-5AF6-23791FB98BEC}"/>
          </ac:spMkLst>
        </pc:spChg>
        <pc:spChg chg="del mod">
          <ac:chgData name="Kebba Jeng" userId="fe4cc296-ba7d-48a2-8799-89b58d218255" providerId="ADAL" clId="{253D94E7-442D-460C-9F4C-18558C0A0590}" dt="2022-05-22T18:14:49.941" v="1795" actId="478"/>
          <ac:spMkLst>
            <pc:docMk/>
            <pc:sldMk cId="1553734564" sldId="2134803585"/>
            <ac:spMk id="43" creationId="{916C7F7D-11E3-E8C4-77B2-1F94AAF35F20}"/>
          </ac:spMkLst>
        </pc:spChg>
        <pc:spChg chg="del mod">
          <ac:chgData name="Kebba Jeng" userId="fe4cc296-ba7d-48a2-8799-89b58d218255" providerId="ADAL" clId="{253D94E7-442D-460C-9F4C-18558C0A0590}" dt="2022-05-22T18:14:49.941" v="1795" actId="478"/>
          <ac:spMkLst>
            <pc:docMk/>
            <pc:sldMk cId="1553734564" sldId="2134803585"/>
            <ac:spMk id="44" creationId="{B9D829D3-3B40-61D4-1E28-63B45EB2B56F}"/>
          </ac:spMkLst>
        </pc:spChg>
        <pc:spChg chg="del mod">
          <ac:chgData name="Kebba Jeng" userId="fe4cc296-ba7d-48a2-8799-89b58d218255" providerId="ADAL" clId="{253D94E7-442D-460C-9F4C-18558C0A0590}" dt="2022-05-22T18:14:49.941" v="1795" actId="478"/>
          <ac:spMkLst>
            <pc:docMk/>
            <pc:sldMk cId="1553734564" sldId="2134803585"/>
            <ac:spMk id="45" creationId="{6DF2406D-1598-56C6-E1F7-57A97BACB1C5}"/>
          </ac:spMkLst>
        </pc:spChg>
        <pc:spChg chg="del mod">
          <ac:chgData name="Kebba Jeng" userId="fe4cc296-ba7d-48a2-8799-89b58d218255" providerId="ADAL" clId="{253D94E7-442D-460C-9F4C-18558C0A0590}" dt="2022-05-22T18:14:49.941" v="1795" actId="478"/>
          <ac:spMkLst>
            <pc:docMk/>
            <pc:sldMk cId="1553734564" sldId="2134803585"/>
            <ac:spMk id="46" creationId="{612B9B92-2EA4-7EE4-1493-59861F2D92A8}"/>
          </ac:spMkLst>
        </pc:spChg>
        <pc:spChg chg="add mod">
          <ac:chgData name="Kebba Jeng" userId="fe4cc296-ba7d-48a2-8799-89b58d218255" providerId="ADAL" clId="{253D94E7-442D-460C-9F4C-18558C0A0590}" dt="2022-05-22T18:07:58.473" v="1718" actId="571"/>
          <ac:spMkLst>
            <pc:docMk/>
            <pc:sldMk cId="1553734564" sldId="2134803585"/>
            <ac:spMk id="50" creationId="{2CA18BE2-C8FE-6940-BBF3-639E9F40FB6B}"/>
          </ac:spMkLst>
        </pc:spChg>
        <pc:spChg chg="add del mod">
          <ac:chgData name="Kebba Jeng" userId="fe4cc296-ba7d-48a2-8799-89b58d218255" providerId="ADAL" clId="{253D94E7-442D-460C-9F4C-18558C0A0590}" dt="2022-05-22T18:09:06.191" v="1731" actId="478"/>
          <ac:spMkLst>
            <pc:docMk/>
            <pc:sldMk cId="1553734564" sldId="2134803585"/>
            <ac:spMk id="51" creationId="{69A8318C-03D8-498F-20E7-C5B1C338C02B}"/>
          </ac:spMkLst>
        </pc:spChg>
        <pc:spChg chg="del mod">
          <ac:chgData name="Kebba Jeng" userId="fe4cc296-ba7d-48a2-8799-89b58d218255" providerId="ADAL" clId="{253D94E7-442D-460C-9F4C-18558C0A0590}" dt="2022-05-22T18:14:49.941" v="1795" actId="478"/>
          <ac:spMkLst>
            <pc:docMk/>
            <pc:sldMk cId="1553734564" sldId="2134803585"/>
            <ac:spMk id="54" creationId="{26BCC45D-332F-0F2F-C7B8-ED470F350E32}"/>
          </ac:spMkLst>
        </pc:spChg>
        <pc:spChg chg="add del mod">
          <ac:chgData name="Kebba Jeng" userId="fe4cc296-ba7d-48a2-8799-89b58d218255" providerId="ADAL" clId="{253D94E7-442D-460C-9F4C-18558C0A0590}" dt="2022-05-22T18:09:04.218" v="1730" actId="478"/>
          <ac:spMkLst>
            <pc:docMk/>
            <pc:sldMk cId="1553734564" sldId="2134803585"/>
            <ac:spMk id="58" creationId="{AE898088-44A1-9202-D01A-A5361C0E3F72}"/>
          </ac:spMkLst>
        </pc:spChg>
        <pc:spChg chg="add del mod">
          <ac:chgData name="Kebba Jeng" userId="fe4cc296-ba7d-48a2-8799-89b58d218255" providerId="ADAL" clId="{253D94E7-442D-460C-9F4C-18558C0A0590}" dt="2022-05-22T18:09:04.218" v="1730" actId="478"/>
          <ac:spMkLst>
            <pc:docMk/>
            <pc:sldMk cId="1553734564" sldId="2134803585"/>
            <ac:spMk id="59" creationId="{2147141D-6A88-660E-EA7A-A1166A783FFF}"/>
          </ac:spMkLst>
        </pc:spChg>
        <pc:spChg chg="add del mod">
          <ac:chgData name="Kebba Jeng" userId="fe4cc296-ba7d-48a2-8799-89b58d218255" providerId="ADAL" clId="{253D94E7-442D-460C-9F4C-18558C0A0590}" dt="2022-05-22T18:09:04.218" v="1730" actId="478"/>
          <ac:spMkLst>
            <pc:docMk/>
            <pc:sldMk cId="1553734564" sldId="2134803585"/>
            <ac:spMk id="60" creationId="{B9EA3CCE-1FFD-4D2A-712B-F26FCD462C0C}"/>
          </ac:spMkLst>
        </pc:spChg>
        <pc:spChg chg="mod">
          <ac:chgData name="Kebba Jeng" userId="fe4cc296-ba7d-48a2-8799-89b58d218255" providerId="ADAL" clId="{253D94E7-442D-460C-9F4C-18558C0A0590}" dt="2022-05-22T18:08:03.518" v="1719" actId="571"/>
          <ac:spMkLst>
            <pc:docMk/>
            <pc:sldMk cId="1553734564" sldId="2134803585"/>
            <ac:spMk id="62" creationId="{2B0B8319-4CAE-69B5-E261-7D1DC58B5C89}"/>
          </ac:spMkLst>
        </pc:spChg>
        <pc:spChg chg="mod">
          <ac:chgData name="Kebba Jeng" userId="fe4cc296-ba7d-48a2-8799-89b58d218255" providerId="ADAL" clId="{253D94E7-442D-460C-9F4C-18558C0A0590}" dt="2022-05-22T18:08:03.518" v="1719" actId="571"/>
          <ac:spMkLst>
            <pc:docMk/>
            <pc:sldMk cId="1553734564" sldId="2134803585"/>
            <ac:spMk id="63" creationId="{BDEE5836-7564-8A9A-9971-31430A5477D1}"/>
          </ac:spMkLst>
        </pc:spChg>
        <pc:spChg chg="add del mod">
          <ac:chgData name="Kebba Jeng" userId="fe4cc296-ba7d-48a2-8799-89b58d218255" providerId="ADAL" clId="{253D94E7-442D-460C-9F4C-18558C0A0590}" dt="2022-05-22T18:09:04.218" v="1730" actId="478"/>
          <ac:spMkLst>
            <pc:docMk/>
            <pc:sldMk cId="1553734564" sldId="2134803585"/>
            <ac:spMk id="64" creationId="{72752995-0891-F60D-31F8-EA20A8161142}"/>
          </ac:spMkLst>
        </pc:spChg>
        <pc:spChg chg="del mod">
          <ac:chgData name="Kebba Jeng" userId="fe4cc296-ba7d-48a2-8799-89b58d218255" providerId="ADAL" clId="{253D94E7-442D-460C-9F4C-18558C0A0590}" dt="2022-05-22T18:15:41.090" v="1802" actId="478"/>
          <ac:spMkLst>
            <pc:docMk/>
            <pc:sldMk cId="1553734564" sldId="2134803585"/>
            <ac:spMk id="68" creationId="{C59AE025-3E26-D903-A38B-F260857264C4}"/>
          </ac:spMkLst>
        </pc:spChg>
        <pc:spChg chg="add mod">
          <ac:chgData name="Kebba Jeng" userId="fe4cc296-ba7d-48a2-8799-89b58d218255" providerId="ADAL" clId="{253D94E7-442D-460C-9F4C-18558C0A0590}" dt="2022-05-22T18:17:55.620" v="1963" actId="1076"/>
          <ac:spMkLst>
            <pc:docMk/>
            <pc:sldMk cId="1553734564" sldId="2134803585"/>
            <ac:spMk id="70" creationId="{51251EFD-AF96-7CD8-D7E8-A22280D558D5}"/>
          </ac:spMkLst>
        </pc:spChg>
        <pc:spChg chg="add mod">
          <ac:chgData name="Kebba Jeng" userId="fe4cc296-ba7d-48a2-8799-89b58d218255" providerId="ADAL" clId="{253D94E7-442D-460C-9F4C-18558C0A0590}" dt="2022-05-22T18:17:55.620" v="1963" actId="1076"/>
          <ac:spMkLst>
            <pc:docMk/>
            <pc:sldMk cId="1553734564" sldId="2134803585"/>
            <ac:spMk id="71" creationId="{FF77A5EA-2C4C-E960-89EA-8B23BA493495}"/>
          </ac:spMkLst>
        </pc:spChg>
        <pc:spChg chg="add mod">
          <ac:chgData name="Kebba Jeng" userId="fe4cc296-ba7d-48a2-8799-89b58d218255" providerId="ADAL" clId="{253D94E7-442D-460C-9F4C-18558C0A0590}" dt="2022-05-22T18:17:55.620" v="1963" actId="1076"/>
          <ac:spMkLst>
            <pc:docMk/>
            <pc:sldMk cId="1553734564" sldId="2134803585"/>
            <ac:spMk id="72" creationId="{DB29A451-40DF-4844-16C2-987507262F84}"/>
          </ac:spMkLst>
        </pc:spChg>
        <pc:spChg chg="add mod">
          <ac:chgData name="Kebba Jeng" userId="fe4cc296-ba7d-48a2-8799-89b58d218255" providerId="ADAL" clId="{253D94E7-442D-460C-9F4C-18558C0A0590}" dt="2022-05-22T18:17:55.620" v="1963" actId="1076"/>
          <ac:spMkLst>
            <pc:docMk/>
            <pc:sldMk cId="1553734564" sldId="2134803585"/>
            <ac:spMk id="73" creationId="{8A766B63-BB09-FB20-9315-0E2AA25BD2EB}"/>
          </ac:spMkLst>
        </pc:spChg>
        <pc:spChg chg="mod">
          <ac:chgData name="Kebba Jeng" userId="fe4cc296-ba7d-48a2-8799-89b58d218255" providerId="ADAL" clId="{253D94E7-442D-460C-9F4C-18558C0A0590}" dt="2022-05-22T18:08:43.487" v="1725" actId="571"/>
          <ac:spMkLst>
            <pc:docMk/>
            <pc:sldMk cId="1553734564" sldId="2134803585"/>
            <ac:spMk id="75" creationId="{BC225BD8-5303-9174-C7ED-5A4AC5E970D0}"/>
          </ac:spMkLst>
        </pc:spChg>
        <pc:spChg chg="mod">
          <ac:chgData name="Kebba Jeng" userId="fe4cc296-ba7d-48a2-8799-89b58d218255" providerId="ADAL" clId="{253D94E7-442D-460C-9F4C-18558C0A0590}" dt="2022-05-22T18:08:43.487" v="1725" actId="571"/>
          <ac:spMkLst>
            <pc:docMk/>
            <pc:sldMk cId="1553734564" sldId="2134803585"/>
            <ac:spMk id="76" creationId="{0C0C544D-0CBC-8407-D23D-CAC1FF65B2C8}"/>
          </ac:spMkLst>
        </pc:spChg>
        <pc:spChg chg="add mod">
          <ac:chgData name="Kebba Jeng" userId="fe4cc296-ba7d-48a2-8799-89b58d218255" providerId="ADAL" clId="{253D94E7-442D-460C-9F4C-18558C0A0590}" dt="2022-05-22T18:17:55.620" v="1963" actId="1076"/>
          <ac:spMkLst>
            <pc:docMk/>
            <pc:sldMk cId="1553734564" sldId="2134803585"/>
            <ac:spMk id="77" creationId="{9C357E8D-1F03-D4AC-D9BE-28EC48D52D34}"/>
          </ac:spMkLst>
        </pc:spChg>
        <pc:spChg chg="add mod">
          <ac:chgData name="Kebba Jeng" userId="fe4cc296-ba7d-48a2-8799-89b58d218255" providerId="ADAL" clId="{253D94E7-442D-460C-9F4C-18558C0A0590}" dt="2022-05-22T18:15:05.542" v="1797" actId="571"/>
          <ac:spMkLst>
            <pc:docMk/>
            <pc:sldMk cId="1553734564" sldId="2134803585"/>
            <ac:spMk id="81" creationId="{3AD3D0F8-4219-1379-A7F4-298C807863C9}"/>
          </ac:spMkLst>
        </pc:spChg>
        <pc:spChg chg="add mod">
          <ac:chgData name="Kebba Jeng" userId="fe4cc296-ba7d-48a2-8799-89b58d218255" providerId="ADAL" clId="{253D94E7-442D-460C-9F4C-18558C0A0590}" dt="2022-05-22T18:15:05.542" v="1797" actId="571"/>
          <ac:spMkLst>
            <pc:docMk/>
            <pc:sldMk cId="1553734564" sldId="2134803585"/>
            <ac:spMk id="82" creationId="{ECACE092-5932-2AB4-2A29-28B87A764E85}"/>
          </ac:spMkLst>
        </pc:spChg>
        <pc:spChg chg="add mod">
          <ac:chgData name="Kebba Jeng" userId="fe4cc296-ba7d-48a2-8799-89b58d218255" providerId="ADAL" clId="{253D94E7-442D-460C-9F4C-18558C0A0590}" dt="2022-05-22T18:15:05.542" v="1797" actId="571"/>
          <ac:spMkLst>
            <pc:docMk/>
            <pc:sldMk cId="1553734564" sldId="2134803585"/>
            <ac:spMk id="83" creationId="{D7C1485E-451F-F804-EAA5-556D59B8DE68}"/>
          </ac:spMkLst>
        </pc:spChg>
        <pc:spChg chg="add mod">
          <ac:chgData name="Kebba Jeng" userId="fe4cc296-ba7d-48a2-8799-89b58d218255" providerId="ADAL" clId="{253D94E7-442D-460C-9F4C-18558C0A0590}" dt="2022-05-22T18:15:27.570" v="1801" actId="20577"/>
          <ac:spMkLst>
            <pc:docMk/>
            <pc:sldMk cId="1553734564" sldId="2134803585"/>
            <ac:spMk id="84" creationId="{6CE162B4-B3F7-8287-E15C-96279F79E810}"/>
          </ac:spMkLst>
        </pc:spChg>
        <pc:spChg chg="mod">
          <ac:chgData name="Kebba Jeng" userId="fe4cc296-ba7d-48a2-8799-89b58d218255" providerId="ADAL" clId="{253D94E7-442D-460C-9F4C-18558C0A0590}" dt="2022-05-22T18:15:05.542" v="1797" actId="571"/>
          <ac:spMkLst>
            <pc:docMk/>
            <pc:sldMk cId="1553734564" sldId="2134803585"/>
            <ac:spMk id="86" creationId="{3AFA6938-16B4-BB81-3F06-C838F5232157}"/>
          </ac:spMkLst>
        </pc:spChg>
        <pc:spChg chg="mod">
          <ac:chgData name="Kebba Jeng" userId="fe4cc296-ba7d-48a2-8799-89b58d218255" providerId="ADAL" clId="{253D94E7-442D-460C-9F4C-18558C0A0590}" dt="2022-05-22T18:15:05.542" v="1797" actId="571"/>
          <ac:spMkLst>
            <pc:docMk/>
            <pc:sldMk cId="1553734564" sldId="2134803585"/>
            <ac:spMk id="87" creationId="{22474F9E-859D-4779-769F-2EC66E3DAA65}"/>
          </ac:spMkLst>
        </pc:spChg>
        <pc:spChg chg="add mod">
          <ac:chgData name="Kebba Jeng" userId="fe4cc296-ba7d-48a2-8799-89b58d218255" providerId="ADAL" clId="{253D94E7-442D-460C-9F4C-18558C0A0590}" dt="2022-05-22T18:15:05.542" v="1797" actId="571"/>
          <ac:spMkLst>
            <pc:docMk/>
            <pc:sldMk cId="1553734564" sldId="2134803585"/>
            <ac:spMk id="88" creationId="{89AF2946-9805-D018-BB8A-4F49D9A75655}"/>
          </ac:spMkLst>
        </pc:spChg>
        <pc:spChg chg="add mod">
          <ac:chgData name="Kebba Jeng" userId="fe4cc296-ba7d-48a2-8799-89b58d218255" providerId="ADAL" clId="{253D94E7-442D-460C-9F4C-18558C0A0590}" dt="2022-05-22T18:20:07.201" v="2116" actId="14100"/>
          <ac:spMkLst>
            <pc:docMk/>
            <pc:sldMk cId="1553734564" sldId="2134803585"/>
            <ac:spMk id="92" creationId="{B78E02E0-05B6-48AF-1D3B-0A9FF74E154A}"/>
          </ac:spMkLst>
        </pc:spChg>
        <pc:spChg chg="add del mod">
          <ac:chgData name="Kebba Jeng" userId="fe4cc296-ba7d-48a2-8799-89b58d218255" providerId="ADAL" clId="{253D94E7-442D-460C-9F4C-18558C0A0590}" dt="2022-05-22T18:18:49.872" v="2002" actId="478"/>
          <ac:spMkLst>
            <pc:docMk/>
            <pc:sldMk cId="1553734564" sldId="2134803585"/>
            <ac:spMk id="93" creationId="{66B52AD2-FA46-8F41-8C4B-59E53BCACB16}"/>
          </ac:spMkLst>
        </pc:spChg>
        <pc:spChg chg="del mod">
          <ac:chgData name="Kebba Jeng" userId="fe4cc296-ba7d-48a2-8799-89b58d218255" providerId="ADAL" clId="{253D94E7-442D-460C-9F4C-18558C0A0590}" dt="2022-05-22T18:15:41.090" v="1802" actId="478"/>
          <ac:spMkLst>
            <pc:docMk/>
            <pc:sldMk cId="1553734564" sldId="2134803585"/>
            <ac:spMk id="103" creationId="{FD07050B-D750-EEFE-D543-E9B3F7C0D0F8}"/>
          </ac:spMkLst>
        </pc:spChg>
        <pc:spChg chg="mod">
          <ac:chgData name="Kebba Jeng" userId="fe4cc296-ba7d-48a2-8799-89b58d218255" providerId="ADAL" clId="{253D94E7-442D-460C-9F4C-18558C0A0590}" dt="2022-05-22T18:18:04.896" v="1965" actId="20577"/>
          <ac:spMkLst>
            <pc:docMk/>
            <pc:sldMk cId="1553734564" sldId="2134803585"/>
            <ac:spMk id="104" creationId="{99C502BD-83D6-E38C-6D32-8AD52CBC4098}"/>
          </ac:spMkLst>
        </pc:spChg>
        <pc:spChg chg="mod">
          <ac:chgData name="Kebba Jeng" userId="fe4cc296-ba7d-48a2-8799-89b58d218255" providerId="ADAL" clId="{253D94E7-442D-460C-9F4C-18558C0A0590}" dt="2022-05-22T18:20:29.366" v="2133" actId="14100"/>
          <ac:spMkLst>
            <pc:docMk/>
            <pc:sldMk cId="1553734564" sldId="2134803585"/>
            <ac:spMk id="719" creationId="{00000000-0000-0000-0000-000000000000}"/>
          </ac:spMkLst>
        </pc:spChg>
        <pc:grpChg chg="del mod">
          <ac:chgData name="Kebba Jeng" userId="fe4cc296-ba7d-48a2-8799-89b58d218255" providerId="ADAL" clId="{253D94E7-442D-460C-9F4C-18558C0A0590}" dt="2022-05-22T18:14:49.941" v="1795" actId="478"/>
          <ac:grpSpMkLst>
            <pc:docMk/>
            <pc:sldMk cId="1553734564" sldId="2134803585"/>
            <ac:grpSpMk id="48" creationId="{6E927A4B-6A7F-EBB9-4B2D-EDECE1FDD249}"/>
          </ac:grpSpMkLst>
        </pc:grpChg>
        <pc:grpChg chg="add del mod">
          <ac:chgData name="Kebba Jeng" userId="fe4cc296-ba7d-48a2-8799-89b58d218255" providerId="ADAL" clId="{253D94E7-442D-460C-9F4C-18558C0A0590}" dt="2022-05-22T18:09:04.218" v="1730" actId="478"/>
          <ac:grpSpMkLst>
            <pc:docMk/>
            <pc:sldMk cId="1553734564" sldId="2134803585"/>
            <ac:grpSpMk id="61" creationId="{4C9BD1BA-A678-2353-EAFB-56F67B722A9B}"/>
          </ac:grpSpMkLst>
        </pc:grpChg>
        <pc:grpChg chg="add mod">
          <ac:chgData name="Kebba Jeng" userId="fe4cc296-ba7d-48a2-8799-89b58d218255" providerId="ADAL" clId="{253D94E7-442D-460C-9F4C-18558C0A0590}" dt="2022-05-22T18:17:55.620" v="1963" actId="1076"/>
          <ac:grpSpMkLst>
            <pc:docMk/>
            <pc:sldMk cId="1553734564" sldId="2134803585"/>
            <ac:grpSpMk id="74" creationId="{1F38AA95-4170-3D39-5028-D75AB3D4AD74}"/>
          </ac:grpSpMkLst>
        </pc:grpChg>
        <pc:grpChg chg="add mod">
          <ac:chgData name="Kebba Jeng" userId="fe4cc296-ba7d-48a2-8799-89b58d218255" providerId="ADAL" clId="{253D94E7-442D-460C-9F4C-18558C0A0590}" dt="2022-05-22T18:15:05.542" v="1797" actId="571"/>
          <ac:grpSpMkLst>
            <pc:docMk/>
            <pc:sldMk cId="1553734564" sldId="2134803585"/>
            <ac:grpSpMk id="85" creationId="{49B63BBE-55FB-8A1B-E9CA-38250823AC5D}"/>
          </ac:grpSpMkLst>
        </pc:grpChg>
        <pc:picChg chg="add del mod">
          <ac:chgData name="Kebba Jeng" userId="fe4cc296-ba7d-48a2-8799-89b58d218255" providerId="ADAL" clId="{253D94E7-442D-460C-9F4C-18558C0A0590}" dt="2022-05-22T18:14:49.941" v="1795" actId="478"/>
          <ac:picMkLst>
            <pc:docMk/>
            <pc:sldMk cId="1553734564" sldId="2134803585"/>
            <ac:picMk id="22" creationId="{F859D0E1-E91B-F4AC-1D82-25F88A916EA7}"/>
          </ac:picMkLst>
        </pc:picChg>
        <pc:picChg chg="del">
          <ac:chgData name="Kebba Jeng" userId="fe4cc296-ba7d-48a2-8799-89b58d218255" providerId="ADAL" clId="{253D94E7-442D-460C-9F4C-18558C0A0590}" dt="2022-05-22T17:13:56.425" v="1197" actId="478"/>
          <ac:picMkLst>
            <pc:docMk/>
            <pc:sldMk cId="1553734564" sldId="2134803585"/>
            <ac:picMk id="42" creationId="{7AD7CC39-C907-0507-6ED2-DC4D5EF4DBC6}"/>
          </ac:picMkLst>
        </pc:picChg>
        <pc:picChg chg="add mod">
          <ac:chgData name="Kebba Jeng" userId="fe4cc296-ba7d-48a2-8799-89b58d218255" providerId="ADAL" clId="{253D94E7-442D-460C-9F4C-18558C0A0590}" dt="2022-05-22T18:14:53.580" v="1796" actId="1076"/>
          <ac:picMkLst>
            <pc:docMk/>
            <pc:sldMk cId="1553734564" sldId="2134803585"/>
            <ac:picMk id="49" creationId="{AAAA94F3-4E1A-EF8E-36F3-4EC4063EC7C1}"/>
          </ac:picMkLst>
        </pc:picChg>
        <pc:picChg chg="add mod">
          <ac:chgData name="Kebba Jeng" userId="fe4cc296-ba7d-48a2-8799-89b58d218255" providerId="ADAL" clId="{253D94E7-442D-460C-9F4C-18558C0A0590}" dt="2022-05-22T18:17:55.620" v="1963" actId="1076"/>
          <ac:picMkLst>
            <pc:docMk/>
            <pc:sldMk cId="1553734564" sldId="2134803585"/>
            <ac:picMk id="69" creationId="{892D91D6-A30B-1CC0-E3DA-756E86750F02}"/>
          </ac:picMkLst>
        </pc:picChg>
        <pc:cxnChg chg="del mod">
          <ac:chgData name="Kebba Jeng" userId="fe4cc296-ba7d-48a2-8799-89b58d218255" providerId="ADAL" clId="{253D94E7-442D-460C-9F4C-18558C0A0590}" dt="2022-05-22T18:06:00.872" v="1690" actId="478"/>
          <ac:cxnSpMkLst>
            <pc:docMk/>
            <pc:sldMk cId="1553734564" sldId="2134803585"/>
            <ac:cxnSpMk id="3" creationId="{138243B8-9C6F-C734-0078-D45535678D22}"/>
          </ac:cxnSpMkLst>
        </pc:cxnChg>
        <pc:cxnChg chg="del mod">
          <ac:chgData name="Kebba Jeng" userId="fe4cc296-ba7d-48a2-8799-89b58d218255" providerId="ADAL" clId="{253D94E7-442D-460C-9F4C-18558C0A0590}" dt="2022-05-22T17:55:09.501" v="1538" actId="478"/>
          <ac:cxnSpMkLst>
            <pc:docMk/>
            <pc:sldMk cId="1553734564" sldId="2134803585"/>
            <ac:cxnSpMk id="13" creationId="{30097A33-D1A2-7C2A-2F6E-3E4C012F5630}"/>
          </ac:cxnSpMkLst>
        </pc:cxnChg>
        <pc:cxnChg chg="add del mod">
          <ac:chgData name="Kebba Jeng" userId="fe4cc296-ba7d-48a2-8799-89b58d218255" providerId="ADAL" clId="{253D94E7-442D-460C-9F4C-18558C0A0590}" dt="2022-05-22T18:05:58.755" v="1687" actId="478"/>
          <ac:cxnSpMkLst>
            <pc:docMk/>
            <pc:sldMk cId="1553734564" sldId="2134803585"/>
            <ac:cxnSpMk id="25" creationId="{7EBCB294-B0E7-82B3-0B7E-29D1E6F1EED8}"/>
          </ac:cxnSpMkLst>
        </pc:cxnChg>
        <pc:cxnChg chg="add mod">
          <ac:chgData name="Kebba Jeng" userId="fe4cc296-ba7d-48a2-8799-89b58d218255" providerId="ADAL" clId="{253D94E7-442D-460C-9F4C-18558C0A0590}" dt="2022-05-22T18:17:44.112" v="1962" actId="1076"/>
          <ac:cxnSpMkLst>
            <pc:docMk/>
            <pc:sldMk cId="1553734564" sldId="2134803585"/>
            <ac:cxnSpMk id="27" creationId="{CC5E344B-928C-C46F-70C2-20E868B293D8}"/>
          </ac:cxnSpMkLst>
        </pc:cxnChg>
        <pc:cxnChg chg="add del mod">
          <ac:chgData name="Kebba Jeng" userId="fe4cc296-ba7d-48a2-8799-89b58d218255" providerId="ADAL" clId="{253D94E7-442D-460C-9F4C-18558C0A0590}" dt="2022-05-22T18:06:00.255" v="1689" actId="478"/>
          <ac:cxnSpMkLst>
            <pc:docMk/>
            <pc:sldMk cId="1553734564" sldId="2134803585"/>
            <ac:cxnSpMk id="32" creationId="{DDF5D41E-CE82-1FDA-4B53-BF49134B059F}"/>
          </ac:cxnSpMkLst>
        </pc:cxnChg>
        <pc:cxnChg chg="del mod">
          <ac:chgData name="Kebba Jeng" userId="fe4cc296-ba7d-48a2-8799-89b58d218255" providerId="ADAL" clId="{253D94E7-442D-460C-9F4C-18558C0A0590}" dt="2022-05-22T17:55:09.501" v="1538" actId="478"/>
          <ac:cxnSpMkLst>
            <pc:docMk/>
            <pc:sldMk cId="1553734564" sldId="2134803585"/>
            <ac:cxnSpMk id="33" creationId="{3F56257E-B317-D8ED-08E0-4CF001A8E8D2}"/>
          </ac:cxnSpMkLst>
        </pc:cxnChg>
        <pc:cxnChg chg="add del mod">
          <ac:chgData name="Kebba Jeng" userId="fe4cc296-ba7d-48a2-8799-89b58d218255" providerId="ADAL" clId="{253D94E7-442D-460C-9F4C-18558C0A0590}" dt="2022-05-22T18:05:59.518" v="1688" actId="478"/>
          <ac:cxnSpMkLst>
            <pc:docMk/>
            <pc:sldMk cId="1553734564" sldId="2134803585"/>
            <ac:cxnSpMk id="47" creationId="{CB7472F2-B6F4-660F-1390-57D2F3DBFF7B}"/>
          </ac:cxnSpMkLst>
        </pc:cxnChg>
        <pc:cxnChg chg="del mod">
          <ac:chgData name="Kebba Jeng" userId="fe4cc296-ba7d-48a2-8799-89b58d218255" providerId="ADAL" clId="{253D94E7-442D-460C-9F4C-18558C0A0590}" dt="2022-05-22T18:14:49.941" v="1795" actId="478"/>
          <ac:cxnSpMkLst>
            <pc:docMk/>
            <pc:sldMk cId="1553734564" sldId="2134803585"/>
            <ac:cxnSpMk id="55" creationId="{A0226E73-6F80-5E22-423B-A3191DA35055}"/>
          </ac:cxnSpMkLst>
        </pc:cxnChg>
        <pc:cxnChg chg="del mod">
          <ac:chgData name="Kebba Jeng" userId="fe4cc296-ba7d-48a2-8799-89b58d218255" providerId="ADAL" clId="{253D94E7-442D-460C-9F4C-18558C0A0590}" dt="2022-05-22T18:14:49.941" v="1795" actId="478"/>
          <ac:cxnSpMkLst>
            <pc:docMk/>
            <pc:sldMk cId="1553734564" sldId="2134803585"/>
            <ac:cxnSpMk id="56" creationId="{FA231AFA-CF3C-A963-25EF-C696E535AC38}"/>
          </ac:cxnSpMkLst>
        </pc:cxnChg>
        <pc:cxnChg chg="del mod">
          <ac:chgData name="Kebba Jeng" userId="fe4cc296-ba7d-48a2-8799-89b58d218255" providerId="ADAL" clId="{253D94E7-442D-460C-9F4C-18558C0A0590}" dt="2022-05-22T18:14:49.941" v="1795" actId="478"/>
          <ac:cxnSpMkLst>
            <pc:docMk/>
            <pc:sldMk cId="1553734564" sldId="2134803585"/>
            <ac:cxnSpMk id="57" creationId="{34803D7C-5CFF-2043-5A68-D06C8788F880}"/>
          </ac:cxnSpMkLst>
        </pc:cxnChg>
        <pc:cxnChg chg="add del mod">
          <ac:chgData name="Kebba Jeng" userId="fe4cc296-ba7d-48a2-8799-89b58d218255" providerId="ADAL" clId="{253D94E7-442D-460C-9F4C-18558C0A0590}" dt="2022-05-22T18:09:04.218" v="1730" actId="478"/>
          <ac:cxnSpMkLst>
            <pc:docMk/>
            <pc:sldMk cId="1553734564" sldId="2134803585"/>
            <ac:cxnSpMk id="65" creationId="{5418FF7F-BE67-E7D4-4844-91D8EEF0382A}"/>
          </ac:cxnSpMkLst>
        </pc:cxnChg>
        <pc:cxnChg chg="add del mod">
          <ac:chgData name="Kebba Jeng" userId="fe4cc296-ba7d-48a2-8799-89b58d218255" providerId="ADAL" clId="{253D94E7-442D-460C-9F4C-18558C0A0590}" dt="2022-05-22T18:09:04.218" v="1730" actId="478"/>
          <ac:cxnSpMkLst>
            <pc:docMk/>
            <pc:sldMk cId="1553734564" sldId="2134803585"/>
            <ac:cxnSpMk id="66" creationId="{660B3D35-2541-CA5A-D436-9957326D9C19}"/>
          </ac:cxnSpMkLst>
        </pc:cxnChg>
        <pc:cxnChg chg="add del mod">
          <ac:chgData name="Kebba Jeng" userId="fe4cc296-ba7d-48a2-8799-89b58d218255" providerId="ADAL" clId="{253D94E7-442D-460C-9F4C-18558C0A0590}" dt="2022-05-22T18:09:04.218" v="1730" actId="478"/>
          <ac:cxnSpMkLst>
            <pc:docMk/>
            <pc:sldMk cId="1553734564" sldId="2134803585"/>
            <ac:cxnSpMk id="67" creationId="{491E6D33-72A4-F65D-A3FF-C35141953AA2}"/>
          </ac:cxnSpMkLst>
        </pc:cxnChg>
        <pc:cxnChg chg="add mod">
          <ac:chgData name="Kebba Jeng" userId="fe4cc296-ba7d-48a2-8799-89b58d218255" providerId="ADAL" clId="{253D94E7-442D-460C-9F4C-18558C0A0590}" dt="2022-05-22T18:17:55.620" v="1963" actId="1076"/>
          <ac:cxnSpMkLst>
            <pc:docMk/>
            <pc:sldMk cId="1553734564" sldId="2134803585"/>
            <ac:cxnSpMk id="78" creationId="{F48E6819-5025-C99B-E667-F763B94F8CFB}"/>
          </ac:cxnSpMkLst>
        </pc:cxnChg>
        <pc:cxnChg chg="add mod">
          <ac:chgData name="Kebba Jeng" userId="fe4cc296-ba7d-48a2-8799-89b58d218255" providerId="ADAL" clId="{253D94E7-442D-460C-9F4C-18558C0A0590}" dt="2022-05-22T18:17:55.620" v="1963" actId="1076"/>
          <ac:cxnSpMkLst>
            <pc:docMk/>
            <pc:sldMk cId="1553734564" sldId="2134803585"/>
            <ac:cxnSpMk id="79" creationId="{4B0E9851-450B-1654-9563-EC06EB2156B8}"/>
          </ac:cxnSpMkLst>
        </pc:cxnChg>
        <pc:cxnChg chg="add mod">
          <ac:chgData name="Kebba Jeng" userId="fe4cc296-ba7d-48a2-8799-89b58d218255" providerId="ADAL" clId="{253D94E7-442D-460C-9F4C-18558C0A0590}" dt="2022-05-22T18:17:55.620" v="1963" actId="1076"/>
          <ac:cxnSpMkLst>
            <pc:docMk/>
            <pc:sldMk cId="1553734564" sldId="2134803585"/>
            <ac:cxnSpMk id="80" creationId="{648E3E33-F8D8-BAE7-4022-1E1DA0F64EC6}"/>
          </ac:cxnSpMkLst>
        </pc:cxnChg>
        <pc:cxnChg chg="add mod">
          <ac:chgData name="Kebba Jeng" userId="fe4cc296-ba7d-48a2-8799-89b58d218255" providerId="ADAL" clId="{253D94E7-442D-460C-9F4C-18558C0A0590}" dt="2022-05-22T18:15:05.542" v="1797" actId="571"/>
          <ac:cxnSpMkLst>
            <pc:docMk/>
            <pc:sldMk cId="1553734564" sldId="2134803585"/>
            <ac:cxnSpMk id="89" creationId="{71524515-2742-1373-51FB-1570EAF62687}"/>
          </ac:cxnSpMkLst>
        </pc:cxnChg>
        <pc:cxnChg chg="add mod">
          <ac:chgData name="Kebba Jeng" userId="fe4cc296-ba7d-48a2-8799-89b58d218255" providerId="ADAL" clId="{253D94E7-442D-460C-9F4C-18558C0A0590}" dt="2022-05-22T18:15:05.542" v="1797" actId="571"/>
          <ac:cxnSpMkLst>
            <pc:docMk/>
            <pc:sldMk cId="1553734564" sldId="2134803585"/>
            <ac:cxnSpMk id="90" creationId="{135D0474-53D8-064D-94D7-2620BB680290}"/>
          </ac:cxnSpMkLst>
        </pc:cxnChg>
        <pc:cxnChg chg="add mod">
          <ac:chgData name="Kebba Jeng" userId="fe4cc296-ba7d-48a2-8799-89b58d218255" providerId="ADAL" clId="{253D94E7-442D-460C-9F4C-18558C0A0590}" dt="2022-05-22T18:15:05.542" v="1797" actId="571"/>
          <ac:cxnSpMkLst>
            <pc:docMk/>
            <pc:sldMk cId="1553734564" sldId="2134803585"/>
            <ac:cxnSpMk id="91" creationId="{75E89B33-DFBF-E8AB-87A4-6CB6794BA6E2}"/>
          </ac:cxnSpMkLst>
        </pc:cxnChg>
      </pc:sldChg>
      <pc:sldChg chg="addSp delSp modSp add mod ord">
        <pc:chgData name="Kebba Jeng" userId="fe4cc296-ba7d-48a2-8799-89b58d218255" providerId="ADAL" clId="{253D94E7-442D-460C-9F4C-18558C0A0590}" dt="2022-05-22T18:07:11.509" v="1714" actId="478"/>
        <pc:sldMkLst>
          <pc:docMk/>
          <pc:sldMk cId="2732866935" sldId="2134803586"/>
        </pc:sldMkLst>
        <pc:spChg chg="del">
          <ac:chgData name="Kebba Jeng" userId="fe4cc296-ba7d-48a2-8799-89b58d218255" providerId="ADAL" clId="{253D94E7-442D-460C-9F4C-18558C0A0590}" dt="2022-05-22T17:19:44.544" v="1261" actId="478"/>
          <ac:spMkLst>
            <pc:docMk/>
            <pc:sldMk cId="2732866935" sldId="2134803586"/>
            <ac:spMk id="31" creationId="{41042008-0640-9337-5AF6-23791FB98BEC}"/>
          </ac:spMkLst>
        </pc:spChg>
        <pc:spChg chg="mod">
          <ac:chgData name="Kebba Jeng" userId="fe4cc296-ba7d-48a2-8799-89b58d218255" providerId="ADAL" clId="{253D94E7-442D-460C-9F4C-18558C0A0590}" dt="2022-05-22T18:00:31.909" v="1648" actId="1076"/>
          <ac:spMkLst>
            <pc:docMk/>
            <pc:sldMk cId="2732866935" sldId="2134803586"/>
            <ac:spMk id="43" creationId="{916C7F7D-11E3-E8C4-77B2-1F94AAF35F20}"/>
          </ac:spMkLst>
        </pc:spChg>
        <pc:spChg chg="mod">
          <ac:chgData name="Kebba Jeng" userId="fe4cc296-ba7d-48a2-8799-89b58d218255" providerId="ADAL" clId="{253D94E7-442D-460C-9F4C-18558C0A0590}" dt="2022-05-22T18:00:31.909" v="1648" actId="1076"/>
          <ac:spMkLst>
            <pc:docMk/>
            <pc:sldMk cId="2732866935" sldId="2134803586"/>
            <ac:spMk id="44" creationId="{B9D829D3-3B40-61D4-1E28-63B45EB2B56F}"/>
          </ac:spMkLst>
        </pc:spChg>
        <pc:spChg chg="mod">
          <ac:chgData name="Kebba Jeng" userId="fe4cc296-ba7d-48a2-8799-89b58d218255" providerId="ADAL" clId="{253D94E7-442D-460C-9F4C-18558C0A0590}" dt="2022-05-22T18:00:31.909" v="1648" actId="1076"/>
          <ac:spMkLst>
            <pc:docMk/>
            <pc:sldMk cId="2732866935" sldId="2134803586"/>
            <ac:spMk id="45" creationId="{6DF2406D-1598-56C6-E1F7-57A97BACB1C5}"/>
          </ac:spMkLst>
        </pc:spChg>
        <pc:spChg chg="mod">
          <ac:chgData name="Kebba Jeng" userId="fe4cc296-ba7d-48a2-8799-89b58d218255" providerId="ADAL" clId="{253D94E7-442D-460C-9F4C-18558C0A0590}" dt="2022-05-22T18:00:31.909" v="1648" actId="1076"/>
          <ac:spMkLst>
            <pc:docMk/>
            <pc:sldMk cId="2732866935" sldId="2134803586"/>
            <ac:spMk id="46" creationId="{612B9B92-2EA4-7EE4-1493-59861F2D92A8}"/>
          </ac:spMkLst>
        </pc:spChg>
        <pc:spChg chg="mod">
          <ac:chgData name="Kebba Jeng" userId="fe4cc296-ba7d-48a2-8799-89b58d218255" providerId="ADAL" clId="{253D94E7-442D-460C-9F4C-18558C0A0590}" dt="2022-05-22T18:00:31.909" v="1648" actId="1076"/>
          <ac:spMkLst>
            <pc:docMk/>
            <pc:sldMk cId="2732866935" sldId="2134803586"/>
            <ac:spMk id="54" creationId="{26BCC45D-332F-0F2F-C7B8-ED470F350E32}"/>
          </ac:spMkLst>
        </pc:spChg>
        <pc:spChg chg="mod">
          <ac:chgData name="Kebba Jeng" userId="fe4cc296-ba7d-48a2-8799-89b58d218255" providerId="ADAL" clId="{253D94E7-442D-460C-9F4C-18558C0A0590}" dt="2022-05-22T18:07:02.524" v="1710" actId="20577"/>
          <ac:spMkLst>
            <pc:docMk/>
            <pc:sldMk cId="2732866935" sldId="2134803586"/>
            <ac:spMk id="68" creationId="{C59AE025-3E26-D903-A38B-F260857264C4}"/>
          </ac:spMkLst>
        </pc:spChg>
        <pc:spChg chg="mod">
          <ac:chgData name="Kebba Jeng" userId="fe4cc296-ba7d-48a2-8799-89b58d218255" providerId="ADAL" clId="{253D94E7-442D-460C-9F4C-18558C0A0590}" dt="2022-05-22T18:07:04.829" v="1712" actId="20577"/>
          <ac:spMkLst>
            <pc:docMk/>
            <pc:sldMk cId="2732866935" sldId="2134803586"/>
            <ac:spMk id="103" creationId="{FD07050B-D750-EEFE-D543-E9B3F7C0D0F8}"/>
          </ac:spMkLst>
        </pc:spChg>
        <pc:spChg chg="del">
          <ac:chgData name="Kebba Jeng" userId="fe4cc296-ba7d-48a2-8799-89b58d218255" providerId="ADAL" clId="{253D94E7-442D-460C-9F4C-18558C0A0590}" dt="2022-05-22T18:00:20.729" v="1645" actId="478"/>
          <ac:spMkLst>
            <pc:docMk/>
            <pc:sldMk cId="2732866935" sldId="2134803586"/>
            <ac:spMk id="104" creationId="{99C502BD-83D6-E38C-6D32-8AD52CBC4098}"/>
          </ac:spMkLst>
        </pc:spChg>
        <pc:grpChg chg="mod">
          <ac:chgData name="Kebba Jeng" userId="fe4cc296-ba7d-48a2-8799-89b58d218255" providerId="ADAL" clId="{253D94E7-442D-460C-9F4C-18558C0A0590}" dt="2022-05-22T18:00:31.909" v="1648" actId="1076"/>
          <ac:grpSpMkLst>
            <pc:docMk/>
            <pc:sldMk cId="2732866935" sldId="2134803586"/>
            <ac:grpSpMk id="48" creationId="{6E927A4B-6A7F-EBB9-4B2D-EDECE1FDD249}"/>
          </ac:grpSpMkLst>
        </pc:grpChg>
        <pc:picChg chg="del">
          <ac:chgData name="Kebba Jeng" userId="fe4cc296-ba7d-48a2-8799-89b58d218255" providerId="ADAL" clId="{253D94E7-442D-460C-9F4C-18558C0A0590}" dt="2022-05-22T17:17:46.868" v="1244" actId="478"/>
          <ac:picMkLst>
            <pc:docMk/>
            <pc:sldMk cId="2732866935" sldId="2134803586"/>
            <ac:picMk id="22" creationId="{F859D0E1-E91B-F4AC-1D82-25F88A916EA7}"/>
          </ac:picMkLst>
        </pc:picChg>
        <pc:picChg chg="add mod">
          <ac:chgData name="Kebba Jeng" userId="fe4cc296-ba7d-48a2-8799-89b58d218255" providerId="ADAL" clId="{253D94E7-442D-460C-9F4C-18558C0A0590}" dt="2022-05-22T18:00:31.909" v="1648" actId="1076"/>
          <ac:picMkLst>
            <pc:docMk/>
            <pc:sldMk cId="2732866935" sldId="2134803586"/>
            <ac:picMk id="26" creationId="{F3B77C40-E651-6CB2-C046-A47C8E0E8EEC}"/>
          </ac:picMkLst>
        </pc:picChg>
        <pc:cxnChg chg="del mod">
          <ac:chgData name="Kebba Jeng" userId="fe4cc296-ba7d-48a2-8799-89b58d218255" providerId="ADAL" clId="{253D94E7-442D-460C-9F4C-18558C0A0590}" dt="2022-05-22T17:17:36.333" v="1243" actId="478"/>
          <ac:cxnSpMkLst>
            <pc:docMk/>
            <pc:sldMk cId="2732866935" sldId="2134803586"/>
            <ac:cxnSpMk id="3" creationId="{138243B8-9C6F-C734-0078-D45535678D22}"/>
          </ac:cxnSpMkLst>
        </pc:cxnChg>
        <pc:cxnChg chg="del mod">
          <ac:chgData name="Kebba Jeng" userId="fe4cc296-ba7d-48a2-8799-89b58d218255" providerId="ADAL" clId="{253D94E7-442D-460C-9F4C-18558C0A0590}" dt="2022-05-22T18:07:11.509" v="1714" actId="478"/>
          <ac:cxnSpMkLst>
            <pc:docMk/>
            <pc:sldMk cId="2732866935" sldId="2134803586"/>
            <ac:cxnSpMk id="13" creationId="{30097A33-D1A2-7C2A-2F6E-3E4C012F5630}"/>
          </ac:cxnSpMkLst>
        </pc:cxnChg>
        <pc:cxnChg chg="del mod">
          <ac:chgData name="Kebba Jeng" userId="fe4cc296-ba7d-48a2-8799-89b58d218255" providerId="ADAL" clId="{253D94E7-442D-460C-9F4C-18558C0A0590}" dt="2022-05-22T17:18:42.552" v="1253" actId="478"/>
          <ac:cxnSpMkLst>
            <pc:docMk/>
            <pc:sldMk cId="2732866935" sldId="2134803586"/>
            <ac:cxnSpMk id="25" creationId="{7EBCB294-B0E7-82B3-0B7E-29D1E6F1EED8}"/>
          </ac:cxnSpMkLst>
        </pc:cxnChg>
        <pc:cxnChg chg="add del mod">
          <ac:chgData name="Kebba Jeng" userId="fe4cc296-ba7d-48a2-8799-89b58d218255" providerId="ADAL" clId="{253D94E7-442D-460C-9F4C-18558C0A0590}" dt="2022-05-22T18:00:20.729" v="1645" actId="478"/>
          <ac:cxnSpMkLst>
            <pc:docMk/>
            <pc:sldMk cId="2732866935" sldId="2134803586"/>
            <ac:cxnSpMk id="27" creationId="{B1162C12-9C1C-ADA3-7FC2-E32186A02888}"/>
          </ac:cxnSpMkLst>
        </pc:cxnChg>
        <pc:cxnChg chg="del mod">
          <ac:chgData name="Kebba Jeng" userId="fe4cc296-ba7d-48a2-8799-89b58d218255" providerId="ADAL" clId="{253D94E7-442D-460C-9F4C-18558C0A0590}" dt="2022-05-22T18:07:09.693" v="1713" actId="478"/>
          <ac:cxnSpMkLst>
            <pc:docMk/>
            <pc:sldMk cId="2732866935" sldId="2134803586"/>
            <ac:cxnSpMk id="32" creationId="{DDF5D41E-CE82-1FDA-4B53-BF49134B059F}"/>
          </ac:cxnSpMkLst>
        </pc:cxnChg>
        <pc:cxnChg chg="del mod">
          <ac:chgData name="Kebba Jeng" userId="fe4cc296-ba7d-48a2-8799-89b58d218255" providerId="ADAL" clId="{253D94E7-442D-460C-9F4C-18558C0A0590}" dt="2022-05-22T17:18:35.739" v="1252" actId="478"/>
          <ac:cxnSpMkLst>
            <pc:docMk/>
            <pc:sldMk cId="2732866935" sldId="2134803586"/>
            <ac:cxnSpMk id="33" creationId="{3F56257E-B317-D8ED-08E0-4CF001A8E8D2}"/>
          </ac:cxnSpMkLst>
        </pc:cxnChg>
        <pc:cxnChg chg="mod">
          <ac:chgData name="Kebba Jeng" userId="fe4cc296-ba7d-48a2-8799-89b58d218255" providerId="ADAL" clId="{253D94E7-442D-460C-9F4C-18558C0A0590}" dt="2022-05-22T18:00:31.909" v="1648" actId="1076"/>
          <ac:cxnSpMkLst>
            <pc:docMk/>
            <pc:sldMk cId="2732866935" sldId="2134803586"/>
            <ac:cxnSpMk id="55" creationId="{A0226E73-6F80-5E22-423B-A3191DA35055}"/>
          </ac:cxnSpMkLst>
        </pc:cxnChg>
        <pc:cxnChg chg="mod">
          <ac:chgData name="Kebba Jeng" userId="fe4cc296-ba7d-48a2-8799-89b58d218255" providerId="ADAL" clId="{253D94E7-442D-460C-9F4C-18558C0A0590}" dt="2022-05-22T18:00:31.909" v="1648" actId="1076"/>
          <ac:cxnSpMkLst>
            <pc:docMk/>
            <pc:sldMk cId="2732866935" sldId="2134803586"/>
            <ac:cxnSpMk id="56" creationId="{FA231AFA-CF3C-A963-25EF-C696E535AC38}"/>
          </ac:cxnSpMkLst>
        </pc:cxnChg>
        <pc:cxnChg chg="mod">
          <ac:chgData name="Kebba Jeng" userId="fe4cc296-ba7d-48a2-8799-89b58d218255" providerId="ADAL" clId="{253D94E7-442D-460C-9F4C-18558C0A0590}" dt="2022-05-22T18:00:31.909" v="1648" actId="1076"/>
          <ac:cxnSpMkLst>
            <pc:docMk/>
            <pc:sldMk cId="2732866935" sldId="2134803586"/>
            <ac:cxnSpMk id="57" creationId="{34803D7C-5CFF-2043-5A68-D06C8788F880}"/>
          </ac:cxnSpMkLst>
        </pc:cxnChg>
      </pc:sldChg>
      <pc:sldChg chg="addSp delSp modSp add mod">
        <pc:chgData name="Kebba Jeng" userId="fe4cc296-ba7d-48a2-8799-89b58d218255" providerId="ADAL" clId="{253D94E7-442D-460C-9F4C-18558C0A0590}" dt="2022-05-22T17:20:52.747" v="1270" actId="478"/>
        <pc:sldMkLst>
          <pc:docMk/>
          <pc:sldMk cId="3151999179" sldId="2134803587"/>
        </pc:sldMkLst>
        <pc:spChg chg="mod">
          <ac:chgData name="Kebba Jeng" userId="fe4cc296-ba7d-48a2-8799-89b58d218255" providerId="ADAL" clId="{253D94E7-442D-460C-9F4C-18558C0A0590}" dt="2022-05-22T17:20:19.183" v="1267" actId="20577"/>
          <ac:spMkLst>
            <pc:docMk/>
            <pc:sldMk cId="3151999179" sldId="2134803587"/>
            <ac:spMk id="46" creationId="{612B9B92-2EA4-7EE4-1493-59861F2D92A8}"/>
          </ac:spMkLst>
        </pc:spChg>
        <pc:spChg chg="del">
          <ac:chgData name="Kebba Jeng" userId="fe4cc296-ba7d-48a2-8799-89b58d218255" providerId="ADAL" clId="{253D94E7-442D-460C-9F4C-18558C0A0590}" dt="2022-05-22T17:20:52.747" v="1270" actId="478"/>
          <ac:spMkLst>
            <pc:docMk/>
            <pc:sldMk cId="3151999179" sldId="2134803587"/>
            <ac:spMk id="104" creationId="{99C502BD-83D6-E38C-6D32-8AD52CBC4098}"/>
          </ac:spMkLst>
        </pc:spChg>
        <pc:picChg chg="add mod">
          <ac:chgData name="Kebba Jeng" userId="fe4cc296-ba7d-48a2-8799-89b58d218255" providerId="ADAL" clId="{253D94E7-442D-460C-9F4C-18558C0A0590}" dt="2022-05-22T17:20:12.614" v="1265" actId="1076"/>
          <ac:picMkLst>
            <pc:docMk/>
            <pc:sldMk cId="3151999179" sldId="2134803587"/>
            <ac:picMk id="22" creationId="{6F9CCB98-A3EA-C83D-D7B9-BB7F80453B14}"/>
          </ac:picMkLst>
        </pc:picChg>
        <pc:picChg chg="del">
          <ac:chgData name="Kebba Jeng" userId="fe4cc296-ba7d-48a2-8799-89b58d218255" providerId="ADAL" clId="{253D94E7-442D-460C-9F4C-18558C0A0590}" dt="2022-05-22T17:20:02.456" v="1263" actId="478"/>
          <ac:picMkLst>
            <pc:docMk/>
            <pc:sldMk cId="3151999179" sldId="2134803587"/>
            <ac:picMk id="26" creationId="{F3B77C40-E651-6CB2-C046-A47C8E0E8EEC}"/>
          </ac:picMkLst>
        </pc:picChg>
        <pc:cxnChg chg="mod">
          <ac:chgData name="Kebba Jeng" userId="fe4cc296-ba7d-48a2-8799-89b58d218255" providerId="ADAL" clId="{253D94E7-442D-460C-9F4C-18558C0A0590}" dt="2022-05-22T17:20:41.411" v="1269" actId="14100"/>
          <ac:cxnSpMkLst>
            <pc:docMk/>
            <pc:sldMk cId="3151999179" sldId="2134803587"/>
            <ac:cxnSpMk id="13" creationId="{30097A33-D1A2-7C2A-2F6E-3E4C012F5630}"/>
          </ac:cxnSpMkLst>
        </pc:cxnChg>
        <pc:cxnChg chg="del mod">
          <ac:chgData name="Kebba Jeng" userId="fe4cc296-ba7d-48a2-8799-89b58d218255" providerId="ADAL" clId="{253D94E7-442D-460C-9F4C-18558C0A0590}" dt="2022-05-22T17:20:36.977" v="1268" actId="478"/>
          <ac:cxnSpMkLst>
            <pc:docMk/>
            <pc:sldMk cId="3151999179" sldId="2134803587"/>
            <ac:cxnSpMk id="27" creationId="{B1162C12-9C1C-ADA3-7FC2-E32186A02888}"/>
          </ac:cxnSpMkLst>
        </pc:cxnChg>
        <pc:cxnChg chg="mod">
          <ac:chgData name="Kebba Jeng" userId="fe4cc296-ba7d-48a2-8799-89b58d218255" providerId="ADAL" clId="{253D94E7-442D-460C-9F4C-18558C0A0590}" dt="2022-05-22T17:20:02.456" v="1263" actId="478"/>
          <ac:cxnSpMkLst>
            <pc:docMk/>
            <pc:sldMk cId="3151999179" sldId="2134803587"/>
            <ac:cxnSpMk id="32" creationId="{DDF5D41E-CE82-1FDA-4B53-BF49134B059F}"/>
          </ac:cxnSpMkLst>
        </pc:cxnChg>
      </pc:sldChg>
      <pc:sldChg chg="delSp modSp add mod ord">
        <pc:chgData name="Kebba Jeng" userId="fe4cc296-ba7d-48a2-8799-89b58d218255" providerId="ADAL" clId="{253D94E7-442D-460C-9F4C-18558C0A0590}" dt="2022-05-22T18:06:54.945" v="1708"/>
        <pc:sldMkLst>
          <pc:docMk/>
          <pc:sldMk cId="289433977" sldId="2134803588"/>
        </pc:sldMkLst>
        <pc:spChg chg="mod">
          <ac:chgData name="Kebba Jeng" userId="fe4cc296-ba7d-48a2-8799-89b58d218255" providerId="ADAL" clId="{253D94E7-442D-460C-9F4C-18558C0A0590}" dt="2022-05-22T18:05:06.674" v="1672" actId="20577"/>
          <ac:spMkLst>
            <pc:docMk/>
            <pc:sldMk cId="289433977" sldId="2134803588"/>
            <ac:spMk id="31" creationId="{41042008-0640-9337-5AF6-23791FB98BEC}"/>
          </ac:spMkLst>
        </pc:spChg>
        <pc:spChg chg="mod">
          <ac:chgData name="Kebba Jeng" userId="fe4cc296-ba7d-48a2-8799-89b58d218255" providerId="ADAL" clId="{253D94E7-442D-460C-9F4C-18558C0A0590}" dt="2022-05-22T18:04:56.989" v="1667" actId="1076"/>
          <ac:spMkLst>
            <pc:docMk/>
            <pc:sldMk cId="289433977" sldId="2134803588"/>
            <ac:spMk id="68" creationId="{C59AE025-3E26-D903-A38B-F260857264C4}"/>
          </ac:spMkLst>
        </pc:spChg>
        <pc:spChg chg="mod">
          <ac:chgData name="Kebba Jeng" userId="fe4cc296-ba7d-48a2-8799-89b58d218255" providerId="ADAL" clId="{253D94E7-442D-460C-9F4C-18558C0A0590}" dt="2022-05-22T18:04:56.989" v="1667" actId="1076"/>
          <ac:spMkLst>
            <pc:docMk/>
            <pc:sldMk cId="289433977" sldId="2134803588"/>
            <ac:spMk id="103" creationId="{FD07050B-D750-EEFE-D543-E9B3F7C0D0F8}"/>
          </ac:spMkLst>
        </pc:spChg>
        <pc:spChg chg="mod">
          <ac:chgData name="Kebba Jeng" userId="fe4cc296-ba7d-48a2-8799-89b58d218255" providerId="ADAL" clId="{253D94E7-442D-460C-9F4C-18558C0A0590}" dt="2022-05-22T18:05:04.080" v="1670" actId="20577"/>
          <ac:spMkLst>
            <pc:docMk/>
            <pc:sldMk cId="289433977" sldId="2134803588"/>
            <ac:spMk id="104" creationId="{99C502BD-83D6-E38C-6D32-8AD52CBC4098}"/>
          </ac:spMkLst>
        </pc:spChg>
        <pc:spChg chg="mod">
          <ac:chgData name="Kebba Jeng" userId="fe4cc296-ba7d-48a2-8799-89b58d218255" providerId="ADAL" clId="{253D94E7-442D-460C-9F4C-18558C0A0590}" dt="2022-05-22T18:05:11.548" v="1680" actId="20577"/>
          <ac:spMkLst>
            <pc:docMk/>
            <pc:sldMk cId="289433977" sldId="2134803588"/>
            <ac:spMk id="719" creationId="{00000000-0000-0000-0000-000000000000}"/>
          </ac:spMkLst>
        </pc:spChg>
        <pc:cxnChg chg="del mod">
          <ac:chgData name="Kebba Jeng" userId="fe4cc296-ba7d-48a2-8799-89b58d218255" providerId="ADAL" clId="{253D94E7-442D-460C-9F4C-18558C0A0590}" dt="2022-05-22T18:04:45.479" v="1663" actId="478"/>
          <ac:cxnSpMkLst>
            <pc:docMk/>
            <pc:sldMk cId="289433977" sldId="2134803588"/>
            <ac:cxnSpMk id="3" creationId="{138243B8-9C6F-C734-0078-D45535678D22}"/>
          </ac:cxnSpMkLst>
        </pc:cxnChg>
        <pc:cxnChg chg="del mod">
          <ac:chgData name="Kebba Jeng" userId="fe4cc296-ba7d-48a2-8799-89b58d218255" providerId="ADAL" clId="{253D94E7-442D-460C-9F4C-18558C0A0590}" dt="2022-05-22T18:04:47.416" v="1664" actId="478"/>
          <ac:cxnSpMkLst>
            <pc:docMk/>
            <pc:sldMk cId="289433977" sldId="2134803588"/>
            <ac:cxnSpMk id="25" creationId="{7EBCB294-B0E7-82B3-0B7E-29D1E6F1EED8}"/>
          </ac:cxnSpMkLst>
        </pc:cxnChg>
        <pc:cxnChg chg="del mod">
          <ac:chgData name="Kebba Jeng" userId="fe4cc296-ba7d-48a2-8799-89b58d218255" providerId="ADAL" clId="{253D94E7-442D-460C-9F4C-18558C0A0590}" dt="2022-05-22T18:04:49.313" v="1665" actId="478"/>
          <ac:cxnSpMkLst>
            <pc:docMk/>
            <pc:sldMk cId="289433977" sldId="2134803588"/>
            <ac:cxnSpMk id="32" creationId="{DDF5D41E-CE82-1FDA-4B53-BF49134B059F}"/>
          </ac:cxnSpMkLst>
        </pc:cxnChg>
        <pc:cxnChg chg="del mod">
          <ac:chgData name="Kebba Jeng" userId="fe4cc296-ba7d-48a2-8799-89b58d218255" providerId="ADAL" clId="{253D94E7-442D-460C-9F4C-18558C0A0590}" dt="2022-05-22T18:04:52.623" v="1666" actId="478"/>
          <ac:cxnSpMkLst>
            <pc:docMk/>
            <pc:sldMk cId="289433977" sldId="2134803588"/>
            <ac:cxnSpMk id="47" creationId="{CB7472F2-B6F4-660F-1390-57D2F3DBFF7B}"/>
          </ac:cxnSpMkLst>
        </pc:cxnChg>
      </pc:sldChg>
      <pc:sldChg chg="addSp delSp modSp add mod ord">
        <pc:chgData name="Kebba Jeng" userId="fe4cc296-ba7d-48a2-8799-89b58d218255" providerId="ADAL" clId="{253D94E7-442D-460C-9F4C-18558C0A0590}" dt="2022-05-22T18:14:46.073" v="1794"/>
        <pc:sldMkLst>
          <pc:docMk/>
          <pc:sldMk cId="3393786525" sldId="2134803589"/>
        </pc:sldMkLst>
        <pc:spChg chg="add mod">
          <ac:chgData name="Kebba Jeng" userId="fe4cc296-ba7d-48a2-8799-89b58d218255" providerId="ADAL" clId="{253D94E7-442D-460C-9F4C-18558C0A0590}" dt="2022-05-22T18:11:53.212" v="1750" actId="20577"/>
          <ac:spMkLst>
            <pc:docMk/>
            <pc:sldMk cId="3393786525" sldId="2134803589"/>
            <ac:spMk id="33" creationId="{6B79C36E-6447-5D29-3B5D-EB5CD9A1A332}"/>
          </ac:spMkLst>
        </pc:spChg>
        <pc:spChg chg="add mod">
          <ac:chgData name="Kebba Jeng" userId="fe4cc296-ba7d-48a2-8799-89b58d218255" providerId="ADAL" clId="{253D94E7-442D-460C-9F4C-18558C0A0590}" dt="2022-05-22T18:11:55.609" v="1752" actId="20577"/>
          <ac:spMkLst>
            <pc:docMk/>
            <pc:sldMk cId="3393786525" sldId="2134803589"/>
            <ac:spMk id="34" creationId="{7ECFFC73-B0AB-1211-478D-7E0A2B6F59C3}"/>
          </ac:spMkLst>
        </pc:spChg>
        <pc:spChg chg="add mod">
          <ac:chgData name="Kebba Jeng" userId="fe4cc296-ba7d-48a2-8799-89b58d218255" providerId="ADAL" clId="{253D94E7-442D-460C-9F4C-18558C0A0590}" dt="2022-05-22T18:11:48.852" v="1748" actId="571"/>
          <ac:spMkLst>
            <pc:docMk/>
            <pc:sldMk cId="3393786525" sldId="2134803589"/>
            <ac:spMk id="35" creationId="{DAA8A518-459E-3910-00C7-3EAC3E49F80E}"/>
          </ac:spMkLst>
        </pc:spChg>
        <pc:spChg chg="add mod">
          <ac:chgData name="Kebba Jeng" userId="fe4cc296-ba7d-48a2-8799-89b58d218255" providerId="ADAL" clId="{253D94E7-442D-460C-9F4C-18558C0A0590}" dt="2022-05-22T18:11:48.852" v="1748" actId="571"/>
          <ac:spMkLst>
            <pc:docMk/>
            <pc:sldMk cId="3393786525" sldId="2134803589"/>
            <ac:spMk id="36" creationId="{C0C42EF6-AA96-881C-D8CF-AB31B74E2425}"/>
          </ac:spMkLst>
        </pc:spChg>
        <pc:spChg chg="mod">
          <ac:chgData name="Kebba Jeng" userId="fe4cc296-ba7d-48a2-8799-89b58d218255" providerId="ADAL" clId="{253D94E7-442D-460C-9F4C-18558C0A0590}" dt="2022-05-22T18:11:25.366" v="1746" actId="20577"/>
          <ac:spMkLst>
            <pc:docMk/>
            <pc:sldMk cId="3393786525" sldId="2134803589"/>
            <ac:spMk id="44" creationId="{B9D829D3-3B40-61D4-1E28-63B45EB2B56F}"/>
          </ac:spMkLst>
        </pc:spChg>
        <pc:spChg chg="mod">
          <ac:chgData name="Kebba Jeng" userId="fe4cc296-ba7d-48a2-8799-89b58d218255" providerId="ADAL" clId="{253D94E7-442D-460C-9F4C-18558C0A0590}" dt="2022-05-22T18:11:44.023" v="1747" actId="1076"/>
          <ac:spMkLst>
            <pc:docMk/>
            <pc:sldMk cId="3393786525" sldId="2134803589"/>
            <ac:spMk id="70" creationId="{51251EFD-AF96-7CD8-D7E8-A22280D558D5}"/>
          </ac:spMkLst>
        </pc:spChg>
        <pc:spChg chg="mod">
          <ac:chgData name="Kebba Jeng" userId="fe4cc296-ba7d-48a2-8799-89b58d218255" providerId="ADAL" clId="{253D94E7-442D-460C-9F4C-18558C0A0590}" dt="2022-05-22T18:11:44.023" v="1747" actId="1076"/>
          <ac:spMkLst>
            <pc:docMk/>
            <pc:sldMk cId="3393786525" sldId="2134803589"/>
            <ac:spMk id="71" creationId="{FF77A5EA-2C4C-E960-89EA-8B23BA493495}"/>
          </ac:spMkLst>
        </pc:spChg>
        <pc:spChg chg="mod">
          <ac:chgData name="Kebba Jeng" userId="fe4cc296-ba7d-48a2-8799-89b58d218255" providerId="ADAL" clId="{253D94E7-442D-460C-9F4C-18558C0A0590}" dt="2022-05-22T18:11:44.023" v="1747" actId="1076"/>
          <ac:spMkLst>
            <pc:docMk/>
            <pc:sldMk cId="3393786525" sldId="2134803589"/>
            <ac:spMk id="72" creationId="{DB29A451-40DF-4844-16C2-987507262F84}"/>
          </ac:spMkLst>
        </pc:spChg>
        <pc:spChg chg="mod">
          <ac:chgData name="Kebba Jeng" userId="fe4cc296-ba7d-48a2-8799-89b58d218255" providerId="ADAL" clId="{253D94E7-442D-460C-9F4C-18558C0A0590}" dt="2022-05-22T18:11:44.023" v="1747" actId="1076"/>
          <ac:spMkLst>
            <pc:docMk/>
            <pc:sldMk cId="3393786525" sldId="2134803589"/>
            <ac:spMk id="73" creationId="{8A766B63-BB09-FB20-9315-0E2AA25BD2EB}"/>
          </ac:spMkLst>
        </pc:spChg>
        <pc:spChg chg="mod">
          <ac:chgData name="Kebba Jeng" userId="fe4cc296-ba7d-48a2-8799-89b58d218255" providerId="ADAL" clId="{253D94E7-442D-460C-9F4C-18558C0A0590}" dt="2022-05-22T18:11:44.023" v="1747" actId="1076"/>
          <ac:spMkLst>
            <pc:docMk/>
            <pc:sldMk cId="3393786525" sldId="2134803589"/>
            <ac:spMk id="77" creationId="{9C357E8D-1F03-D4AC-D9BE-28EC48D52D34}"/>
          </ac:spMkLst>
        </pc:spChg>
        <pc:grpChg chg="mod">
          <ac:chgData name="Kebba Jeng" userId="fe4cc296-ba7d-48a2-8799-89b58d218255" providerId="ADAL" clId="{253D94E7-442D-460C-9F4C-18558C0A0590}" dt="2022-05-22T18:11:44.023" v="1747" actId="1076"/>
          <ac:grpSpMkLst>
            <pc:docMk/>
            <pc:sldMk cId="3393786525" sldId="2134803589"/>
            <ac:grpSpMk id="74" creationId="{1F38AA95-4170-3D39-5028-D75AB3D4AD74}"/>
          </ac:grpSpMkLst>
        </pc:grpChg>
        <pc:picChg chg="del">
          <ac:chgData name="Kebba Jeng" userId="fe4cc296-ba7d-48a2-8799-89b58d218255" providerId="ADAL" clId="{253D94E7-442D-460C-9F4C-18558C0A0590}" dt="2022-05-22T18:11:16.663" v="1744" actId="478"/>
          <ac:picMkLst>
            <pc:docMk/>
            <pc:sldMk cId="3393786525" sldId="2134803589"/>
            <ac:picMk id="22" creationId="{F859D0E1-E91B-F4AC-1D82-25F88A916EA7}"/>
          </ac:picMkLst>
        </pc:picChg>
        <pc:picChg chg="add mod">
          <ac:chgData name="Kebba Jeng" userId="fe4cc296-ba7d-48a2-8799-89b58d218255" providerId="ADAL" clId="{253D94E7-442D-460C-9F4C-18558C0A0590}" dt="2022-05-22T18:12:17.154" v="1756" actId="1076"/>
          <ac:picMkLst>
            <pc:docMk/>
            <pc:sldMk cId="3393786525" sldId="2134803589"/>
            <ac:picMk id="37" creationId="{F4A2C637-1193-2EB4-F432-E1AAFF1C1730}"/>
          </ac:picMkLst>
        </pc:picChg>
        <pc:picChg chg="add mod">
          <ac:chgData name="Kebba Jeng" userId="fe4cc296-ba7d-48a2-8799-89b58d218255" providerId="ADAL" clId="{253D94E7-442D-460C-9F4C-18558C0A0590}" dt="2022-05-22T18:12:21.832" v="1757" actId="571"/>
          <ac:picMkLst>
            <pc:docMk/>
            <pc:sldMk cId="3393786525" sldId="2134803589"/>
            <ac:picMk id="38" creationId="{1A3ACE0C-5CFD-3B09-F1B9-ED044645D300}"/>
          </ac:picMkLst>
        </pc:picChg>
        <pc:picChg chg="mod">
          <ac:chgData name="Kebba Jeng" userId="fe4cc296-ba7d-48a2-8799-89b58d218255" providerId="ADAL" clId="{253D94E7-442D-460C-9F4C-18558C0A0590}" dt="2022-05-22T18:11:21.734" v="1745" actId="1076"/>
          <ac:picMkLst>
            <pc:docMk/>
            <pc:sldMk cId="3393786525" sldId="2134803589"/>
            <ac:picMk id="49" creationId="{AAAA94F3-4E1A-EF8E-36F3-4EC4063EC7C1}"/>
          </ac:picMkLst>
        </pc:picChg>
        <pc:picChg chg="mod">
          <ac:chgData name="Kebba Jeng" userId="fe4cc296-ba7d-48a2-8799-89b58d218255" providerId="ADAL" clId="{253D94E7-442D-460C-9F4C-18558C0A0590}" dt="2022-05-22T18:11:44.023" v="1747" actId="1076"/>
          <ac:picMkLst>
            <pc:docMk/>
            <pc:sldMk cId="3393786525" sldId="2134803589"/>
            <ac:picMk id="69" creationId="{892D91D6-A30B-1CC0-E3DA-756E86750F02}"/>
          </ac:picMkLst>
        </pc:picChg>
        <pc:cxnChg chg="mod">
          <ac:chgData name="Kebba Jeng" userId="fe4cc296-ba7d-48a2-8799-89b58d218255" providerId="ADAL" clId="{253D94E7-442D-460C-9F4C-18558C0A0590}" dt="2022-05-22T18:11:44.023" v="1747" actId="1076"/>
          <ac:cxnSpMkLst>
            <pc:docMk/>
            <pc:sldMk cId="3393786525" sldId="2134803589"/>
            <ac:cxnSpMk id="78" creationId="{F48E6819-5025-C99B-E667-F763B94F8CFB}"/>
          </ac:cxnSpMkLst>
        </pc:cxnChg>
        <pc:cxnChg chg="mod">
          <ac:chgData name="Kebba Jeng" userId="fe4cc296-ba7d-48a2-8799-89b58d218255" providerId="ADAL" clId="{253D94E7-442D-460C-9F4C-18558C0A0590}" dt="2022-05-22T18:11:44.023" v="1747" actId="1076"/>
          <ac:cxnSpMkLst>
            <pc:docMk/>
            <pc:sldMk cId="3393786525" sldId="2134803589"/>
            <ac:cxnSpMk id="79" creationId="{4B0E9851-450B-1654-9563-EC06EB2156B8}"/>
          </ac:cxnSpMkLst>
        </pc:cxnChg>
        <pc:cxnChg chg="mod">
          <ac:chgData name="Kebba Jeng" userId="fe4cc296-ba7d-48a2-8799-89b58d218255" providerId="ADAL" clId="{253D94E7-442D-460C-9F4C-18558C0A0590}" dt="2022-05-22T18:11:44.023" v="1747" actId="1076"/>
          <ac:cxnSpMkLst>
            <pc:docMk/>
            <pc:sldMk cId="3393786525" sldId="2134803589"/>
            <ac:cxnSpMk id="80" creationId="{648E3E33-F8D8-BAE7-4022-1E1DA0F64EC6}"/>
          </ac:cxnSpMkLst>
        </pc:cxnChg>
      </pc:sldChg>
      <pc:sldChg chg="addSp delSp modSp add mod">
        <pc:chgData name="Kebba Jeng" userId="fe4cc296-ba7d-48a2-8799-89b58d218255" providerId="ADAL" clId="{253D94E7-442D-460C-9F4C-18558C0A0590}" dt="2022-05-23T09:47:22.647" v="2305" actId="1076"/>
        <pc:sldMkLst>
          <pc:docMk/>
          <pc:sldMk cId="71181222" sldId="2134803590"/>
        </pc:sldMkLst>
        <pc:spChg chg="add mod">
          <ac:chgData name="Kebba Jeng" userId="fe4cc296-ba7d-48a2-8799-89b58d218255" providerId="ADAL" clId="{253D94E7-442D-460C-9F4C-18558C0A0590}" dt="2022-05-23T09:41:23.339" v="2279" actId="1076"/>
          <ac:spMkLst>
            <pc:docMk/>
            <pc:sldMk cId="71181222" sldId="2134803590"/>
            <ac:spMk id="2" creationId="{6B2D0F94-248F-9CA3-FF12-23ADBF671DCF}"/>
          </ac:spMkLst>
        </pc:spChg>
        <pc:spChg chg="add mod ord">
          <ac:chgData name="Kebba Jeng" userId="fe4cc296-ba7d-48a2-8799-89b58d218255" providerId="ADAL" clId="{253D94E7-442D-460C-9F4C-18558C0A0590}" dt="2022-05-23T09:41:23.339" v="2279" actId="1076"/>
          <ac:spMkLst>
            <pc:docMk/>
            <pc:sldMk cId="71181222" sldId="2134803590"/>
            <ac:spMk id="3" creationId="{37543B4C-41BC-71E7-CC5A-4365BC3DD650}"/>
          </ac:spMkLst>
        </pc:spChg>
        <pc:spChg chg="add mod">
          <ac:chgData name="Kebba Jeng" userId="fe4cc296-ba7d-48a2-8799-89b58d218255" providerId="ADAL" clId="{253D94E7-442D-460C-9F4C-18558C0A0590}" dt="2022-05-23T09:42:56.499" v="2296" actId="14100"/>
          <ac:spMkLst>
            <pc:docMk/>
            <pc:sldMk cId="71181222" sldId="2134803590"/>
            <ac:spMk id="40" creationId="{29C41F72-201B-9C78-C11A-8E9BE1334597}"/>
          </ac:spMkLst>
        </pc:spChg>
        <pc:spChg chg="add mod">
          <ac:chgData name="Kebba Jeng" userId="fe4cc296-ba7d-48a2-8799-89b58d218255" providerId="ADAL" clId="{253D94E7-442D-460C-9F4C-18558C0A0590}" dt="2022-05-23T09:42:50.009" v="2295" actId="242"/>
          <ac:spMkLst>
            <pc:docMk/>
            <pc:sldMk cId="71181222" sldId="2134803590"/>
            <ac:spMk id="41" creationId="{CC9C46A7-BEBD-A427-C5EA-DE0666E149A7}"/>
          </ac:spMkLst>
        </pc:spChg>
        <pc:spChg chg="mod">
          <ac:chgData name="Kebba Jeng" userId="fe4cc296-ba7d-48a2-8799-89b58d218255" providerId="ADAL" clId="{253D94E7-442D-460C-9F4C-18558C0A0590}" dt="2022-05-23T09:41:23.339" v="2279" actId="1076"/>
          <ac:spMkLst>
            <pc:docMk/>
            <pc:sldMk cId="71181222" sldId="2134803590"/>
            <ac:spMk id="43" creationId="{916C7F7D-11E3-E8C4-77B2-1F94AAF35F20}"/>
          </ac:spMkLst>
        </pc:spChg>
        <pc:spChg chg="mod">
          <ac:chgData name="Kebba Jeng" userId="fe4cc296-ba7d-48a2-8799-89b58d218255" providerId="ADAL" clId="{253D94E7-442D-460C-9F4C-18558C0A0590}" dt="2022-05-23T09:41:23.339" v="2279" actId="1076"/>
          <ac:spMkLst>
            <pc:docMk/>
            <pc:sldMk cId="71181222" sldId="2134803590"/>
            <ac:spMk id="44" creationId="{B9D829D3-3B40-61D4-1E28-63B45EB2B56F}"/>
          </ac:spMkLst>
        </pc:spChg>
        <pc:spChg chg="mod">
          <ac:chgData name="Kebba Jeng" userId="fe4cc296-ba7d-48a2-8799-89b58d218255" providerId="ADAL" clId="{253D94E7-442D-460C-9F4C-18558C0A0590}" dt="2022-05-23T09:41:23.339" v="2279" actId="1076"/>
          <ac:spMkLst>
            <pc:docMk/>
            <pc:sldMk cId="71181222" sldId="2134803590"/>
            <ac:spMk id="45" creationId="{6DF2406D-1598-56C6-E1F7-57A97BACB1C5}"/>
          </ac:spMkLst>
        </pc:spChg>
        <pc:spChg chg="mod">
          <ac:chgData name="Kebba Jeng" userId="fe4cc296-ba7d-48a2-8799-89b58d218255" providerId="ADAL" clId="{253D94E7-442D-460C-9F4C-18558C0A0590}" dt="2022-05-23T09:41:23.339" v="2279" actId="1076"/>
          <ac:spMkLst>
            <pc:docMk/>
            <pc:sldMk cId="71181222" sldId="2134803590"/>
            <ac:spMk id="46" creationId="{612B9B92-2EA4-7EE4-1493-59861F2D92A8}"/>
          </ac:spMkLst>
        </pc:spChg>
        <pc:spChg chg="add mod">
          <ac:chgData name="Kebba Jeng" userId="fe4cc296-ba7d-48a2-8799-89b58d218255" providerId="ADAL" clId="{253D94E7-442D-460C-9F4C-18558C0A0590}" dt="2022-05-23T09:42:27.399" v="2289" actId="14100"/>
          <ac:spMkLst>
            <pc:docMk/>
            <pc:sldMk cId="71181222" sldId="2134803590"/>
            <ac:spMk id="47" creationId="{786B5051-2614-955B-281B-9062D314EE01}"/>
          </ac:spMkLst>
        </pc:spChg>
        <pc:spChg chg="add mod">
          <ac:chgData name="Kebba Jeng" userId="fe4cc296-ba7d-48a2-8799-89b58d218255" providerId="ADAL" clId="{253D94E7-442D-460C-9F4C-18558C0A0590}" dt="2022-05-23T09:41:59.575" v="2285" actId="207"/>
          <ac:spMkLst>
            <pc:docMk/>
            <pc:sldMk cId="71181222" sldId="2134803590"/>
            <ac:spMk id="49" creationId="{F03D1F58-F540-5A51-25AC-24DC27B83956}"/>
          </ac:spMkLst>
        </pc:spChg>
        <pc:spChg chg="add mod">
          <ac:chgData name="Kebba Jeng" userId="fe4cc296-ba7d-48a2-8799-89b58d218255" providerId="ADAL" clId="{253D94E7-442D-460C-9F4C-18558C0A0590}" dt="2022-05-23T09:43:09.078" v="2299" actId="14100"/>
          <ac:spMkLst>
            <pc:docMk/>
            <pc:sldMk cId="71181222" sldId="2134803590"/>
            <ac:spMk id="50" creationId="{C99C287E-80E8-76E8-3AFD-5C03E2DC70F3}"/>
          </ac:spMkLst>
        </pc:spChg>
        <pc:spChg chg="add mod">
          <ac:chgData name="Kebba Jeng" userId="fe4cc296-ba7d-48a2-8799-89b58d218255" providerId="ADAL" clId="{253D94E7-442D-460C-9F4C-18558C0A0590}" dt="2022-05-23T09:43:27.785" v="2303" actId="1076"/>
          <ac:spMkLst>
            <pc:docMk/>
            <pc:sldMk cId="71181222" sldId="2134803590"/>
            <ac:spMk id="51" creationId="{2010B3DD-3841-EC3F-EC56-DC3BFAB5A8B1}"/>
          </ac:spMkLst>
        </pc:spChg>
        <pc:spChg chg="mod">
          <ac:chgData name="Kebba Jeng" userId="fe4cc296-ba7d-48a2-8799-89b58d218255" providerId="ADAL" clId="{253D94E7-442D-460C-9F4C-18558C0A0590}" dt="2022-05-23T09:41:23.339" v="2279" actId="1076"/>
          <ac:spMkLst>
            <pc:docMk/>
            <pc:sldMk cId="71181222" sldId="2134803590"/>
            <ac:spMk id="54" creationId="{26BCC45D-332F-0F2F-C7B8-ED470F350E32}"/>
          </ac:spMkLst>
        </pc:spChg>
        <pc:spChg chg="mod">
          <ac:chgData name="Kebba Jeng" userId="fe4cc296-ba7d-48a2-8799-89b58d218255" providerId="ADAL" clId="{253D94E7-442D-460C-9F4C-18558C0A0590}" dt="2022-05-23T09:14:20.051" v="2158" actId="20577"/>
          <ac:spMkLst>
            <pc:docMk/>
            <pc:sldMk cId="71181222" sldId="2134803590"/>
            <ac:spMk id="117" creationId="{10C9E4C0-4DED-391D-AB4C-3D9E1E86AD88}"/>
          </ac:spMkLst>
        </pc:spChg>
        <pc:spChg chg="mod">
          <ac:chgData name="Kebba Jeng" userId="fe4cc296-ba7d-48a2-8799-89b58d218255" providerId="ADAL" clId="{253D94E7-442D-460C-9F4C-18558C0A0590}" dt="2022-05-23T09:14:28.980" v="2162" actId="20577"/>
          <ac:spMkLst>
            <pc:docMk/>
            <pc:sldMk cId="71181222" sldId="2134803590"/>
            <ac:spMk id="118" creationId="{29642D7E-8268-8911-FDBD-736D0E7CD20B}"/>
          </ac:spMkLst>
        </pc:spChg>
        <pc:spChg chg="mod">
          <ac:chgData name="Kebba Jeng" userId="fe4cc296-ba7d-48a2-8799-89b58d218255" providerId="ADAL" clId="{253D94E7-442D-460C-9F4C-18558C0A0590}" dt="2022-05-23T09:47:22.647" v="2305" actId="1076"/>
          <ac:spMkLst>
            <pc:docMk/>
            <pc:sldMk cId="71181222" sldId="2134803590"/>
            <ac:spMk id="719" creationId="{00000000-0000-0000-0000-000000000000}"/>
          </ac:spMkLst>
        </pc:spChg>
        <pc:grpChg chg="mod">
          <ac:chgData name="Kebba Jeng" userId="fe4cc296-ba7d-48a2-8799-89b58d218255" providerId="ADAL" clId="{253D94E7-442D-460C-9F4C-18558C0A0590}" dt="2022-05-23T09:41:23.339" v="2279" actId="1076"/>
          <ac:grpSpMkLst>
            <pc:docMk/>
            <pc:sldMk cId="71181222" sldId="2134803590"/>
            <ac:grpSpMk id="48" creationId="{6E927A4B-6A7F-EBB9-4B2D-EDECE1FDD249}"/>
          </ac:grpSpMkLst>
        </pc:grpChg>
        <pc:picChg chg="add del mod">
          <ac:chgData name="Kebba Jeng" userId="fe4cc296-ba7d-48a2-8799-89b58d218255" providerId="ADAL" clId="{253D94E7-442D-460C-9F4C-18558C0A0590}" dt="2022-05-23T09:13:06.483" v="2149" actId="478"/>
          <ac:picMkLst>
            <pc:docMk/>
            <pc:sldMk cId="71181222" sldId="2134803590"/>
            <ac:picMk id="38" creationId="{1419ED49-E0F5-B216-5591-CAC3459C4E39}"/>
          </ac:picMkLst>
        </pc:picChg>
        <pc:picChg chg="mod">
          <ac:chgData name="Kebba Jeng" userId="fe4cc296-ba7d-48a2-8799-89b58d218255" providerId="ADAL" clId="{253D94E7-442D-460C-9F4C-18558C0A0590}" dt="2022-05-23T09:41:23.339" v="2279" actId="1076"/>
          <ac:picMkLst>
            <pc:docMk/>
            <pc:sldMk cId="71181222" sldId="2134803590"/>
            <ac:picMk id="42" creationId="{7AD7CC39-C907-0507-6ED2-DC4D5EF4DBC6}"/>
          </ac:picMkLst>
        </pc:picChg>
        <pc:cxnChg chg="del">
          <ac:chgData name="Kebba Jeng" userId="fe4cc296-ba7d-48a2-8799-89b58d218255" providerId="ADAL" clId="{253D94E7-442D-460C-9F4C-18558C0A0590}" dt="2022-05-23T09:11:10.388" v="2135" actId="478"/>
          <ac:cxnSpMkLst>
            <pc:docMk/>
            <pc:sldMk cId="71181222" sldId="2134803590"/>
            <ac:cxnSpMk id="55" creationId="{A0226E73-6F80-5E22-423B-A3191DA35055}"/>
          </ac:cxnSpMkLst>
        </pc:cxnChg>
        <pc:cxnChg chg="del">
          <ac:chgData name="Kebba Jeng" userId="fe4cc296-ba7d-48a2-8799-89b58d218255" providerId="ADAL" clId="{253D94E7-442D-460C-9F4C-18558C0A0590}" dt="2022-05-23T09:11:10.388" v="2135" actId="478"/>
          <ac:cxnSpMkLst>
            <pc:docMk/>
            <pc:sldMk cId="71181222" sldId="2134803590"/>
            <ac:cxnSpMk id="56" creationId="{FA231AFA-CF3C-A963-25EF-C696E535AC38}"/>
          </ac:cxnSpMkLst>
        </pc:cxnChg>
        <pc:cxnChg chg="del">
          <ac:chgData name="Kebba Jeng" userId="fe4cc296-ba7d-48a2-8799-89b58d218255" providerId="ADAL" clId="{253D94E7-442D-460C-9F4C-18558C0A0590}" dt="2022-05-23T09:11:10.388" v="2135" actId="478"/>
          <ac:cxnSpMkLst>
            <pc:docMk/>
            <pc:sldMk cId="71181222" sldId="2134803590"/>
            <ac:cxnSpMk id="57" creationId="{34803D7C-5CFF-2043-5A68-D06C8788F880}"/>
          </ac:cxnSpMkLst>
        </pc:cxnChg>
      </pc:sldChg>
    </pc:docChg>
  </pc:docChgLst>
  <pc:docChgLst>
    <pc:chgData name="Martin Castro Bildhjerd" userId="S::marca851@student.liu.se::b9cbb72a-55c2-47d3-bc4f-c4510dce58f1" providerId="AD" clId="Web-{C90C1255-5CCB-8ADA-9D52-A483E7497664}"/>
    <pc:docChg chg="modSld">
      <pc:chgData name="Martin Castro Bildhjerd" userId="S::marca851@student.liu.se::b9cbb72a-55c2-47d3-bc4f-c4510dce58f1" providerId="AD" clId="Web-{C90C1255-5CCB-8ADA-9D52-A483E7497664}" dt="2022-03-29T19:49:54.818" v="156" actId="20577"/>
      <pc:docMkLst>
        <pc:docMk/>
      </pc:docMkLst>
      <pc:sldChg chg="addSp modSp">
        <pc:chgData name="Martin Castro Bildhjerd" userId="S::marca851@student.liu.se::b9cbb72a-55c2-47d3-bc4f-c4510dce58f1" providerId="AD" clId="Web-{C90C1255-5CCB-8ADA-9D52-A483E7497664}" dt="2022-03-29T19:49:54.818" v="156" actId="20577"/>
        <pc:sldMkLst>
          <pc:docMk/>
          <pc:sldMk cId="531401409" sldId="2134803551"/>
        </pc:sldMkLst>
        <pc:spChg chg="mod">
          <ac:chgData name="Martin Castro Bildhjerd" userId="S::marca851@student.liu.se::b9cbb72a-55c2-47d3-bc4f-c4510dce58f1" providerId="AD" clId="Web-{C90C1255-5CCB-8ADA-9D52-A483E7497664}" dt="2022-03-29T19:49:54.818" v="156" actId="20577"/>
          <ac:spMkLst>
            <pc:docMk/>
            <pc:sldMk cId="531401409" sldId="2134803551"/>
            <ac:spMk id="398" creationId="{0B2DA253-2B6E-4C8A-9F57-C5AFC7D3A056}"/>
          </ac:spMkLst>
        </pc:spChg>
        <pc:picChg chg="add mod">
          <ac:chgData name="Martin Castro Bildhjerd" userId="S::marca851@student.liu.se::b9cbb72a-55c2-47d3-bc4f-c4510dce58f1" providerId="AD" clId="Web-{C90C1255-5CCB-8ADA-9D52-A483E7497664}" dt="2022-03-29T19:47:24.486" v="112" actId="1076"/>
          <ac:picMkLst>
            <pc:docMk/>
            <pc:sldMk cId="531401409" sldId="2134803551"/>
            <ac:picMk id="3" creationId="{452E017A-6864-EE3A-6481-B1EFADBAFF5D}"/>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99" name="PlaceHolder 1"/>
          <p:cNvSpPr>
            <a:spLocks noGrp="1"/>
          </p:cNvSpPr>
          <p:nvPr>
            <p:ph type="body"/>
          </p:nvPr>
        </p:nvSpPr>
        <p:spPr>
          <a:xfrm>
            <a:off x="756000" y="5078520"/>
            <a:ext cx="6047640" cy="4811040"/>
          </a:xfrm>
          <a:prstGeom prst="rect">
            <a:avLst/>
          </a:prstGeom>
        </p:spPr>
        <p:txBody>
          <a:bodyPr lIns="0" tIns="0" rIns="0" bIns="0"/>
          <a:lstStyle/>
          <a:p>
            <a:r>
              <a:rPr lang="sv-SE" sz="2000" b="0" strike="noStrike" spc="-1">
                <a:solidFill>
                  <a:srgbClr val="000000"/>
                </a:solidFill>
                <a:uFill>
                  <a:solidFill>
                    <a:srgbClr val="FFFFFF"/>
                  </a:solidFill>
                </a:uFill>
                <a:latin typeface="Arial"/>
              </a:rPr>
              <a:t>Click to edit the notes format</a:t>
            </a:r>
          </a:p>
        </p:txBody>
      </p:sp>
      <p:sp>
        <p:nvSpPr>
          <p:cNvPr id="500" name="PlaceHolder 2"/>
          <p:cNvSpPr>
            <a:spLocks noGrp="1"/>
          </p:cNvSpPr>
          <p:nvPr>
            <p:ph type="hdr"/>
          </p:nvPr>
        </p:nvSpPr>
        <p:spPr>
          <a:xfrm>
            <a:off x="0" y="0"/>
            <a:ext cx="3280680" cy="534240"/>
          </a:xfrm>
          <a:prstGeom prst="rect">
            <a:avLst/>
          </a:prstGeom>
        </p:spPr>
        <p:txBody>
          <a:bodyPr lIns="0" tIns="0" rIns="0" bIns="0"/>
          <a:lstStyle/>
          <a:p>
            <a:r>
              <a:rPr lang="sv-SE" sz="1400" b="0" strike="noStrike" spc="-1">
                <a:solidFill>
                  <a:srgbClr val="000000"/>
                </a:solidFill>
                <a:uFill>
                  <a:solidFill>
                    <a:srgbClr val="FFFFFF"/>
                  </a:solidFill>
                </a:uFill>
                <a:latin typeface="Times New Roman"/>
              </a:rPr>
              <a:t> </a:t>
            </a:r>
          </a:p>
        </p:txBody>
      </p:sp>
      <p:sp>
        <p:nvSpPr>
          <p:cNvPr id="501" name="PlaceHolder 3"/>
          <p:cNvSpPr>
            <a:spLocks noGrp="1"/>
          </p:cNvSpPr>
          <p:nvPr>
            <p:ph type="dt"/>
          </p:nvPr>
        </p:nvSpPr>
        <p:spPr>
          <a:xfrm>
            <a:off x="4278960" y="0"/>
            <a:ext cx="3280680" cy="534240"/>
          </a:xfrm>
          <a:prstGeom prst="rect">
            <a:avLst/>
          </a:prstGeom>
        </p:spPr>
        <p:txBody>
          <a:bodyPr lIns="0" tIns="0" rIns="0" bIns="0"/>
          <a:lstStyle/>
          <a:p>
            <a:pPr algn="r"/>
            <a:r>
              <a:rPr lang="sv-SE" sz="1400" b="0" strike="noStrike" spc="-1">
                <a:solidFill>
                  <a:srgbClr val="000000"/>
                </a:solidFill>
                <a:uFill>
                  <a:solidFill>
                    <a:srgbClr val="FFFFFF"/>
                  </a:solidFill>
                </a:uFill>
                <a:latin typeface="Times New Roman"/>
              </a:rPr>
              <a:t> </a:t>
            </a:r>
          </a:p>
        </p:txBody>
      </p:sp>
      <p:sp>
        <p:nvSpPr>
          <p:cNvPr id="502" name="PlaceHolder 4"/>
          <p:cNvSpPr>
            <a:spLocks noGrp="1"/>
          </p:cNvSpPr>
          <p:nvPr>
            <p:ph type="ftr"/>
          </p:nvPr>
        </p:nvSpPr>
        <p:spPr>
          <a:xfrm>
            <a:off x="0" y="10157400"/>
            <a:ext cx="3280680" cy="534240"/>
          </a:xfrm>
          <a:prstGeom prst="rect">
            <a:avLst/>
          </a:prstGeom>
        </p:spPr>
        <p:txBody>
          <a:bodyPr lIns="0" tIns="0" rIns="0" bIns="0" anchor="b"/>
          <a:lstStyle/>
          <a:p>
            <a:r>
              <a:rPr lang="sv-SE" sz="1400" b="0" strike="noStrike" spc="-1">
                <a:solidFill>
                  <a:srgbClr val="000000"/>
                </a:solidFill>
                <a:uFill>
                  <a:solidFill>
                    <a:srgbClr val="FFFFFF"/>
                  </a:solidFill>
                </a:uFill>
                <a:latin typeface="Times New Roman"/>
              </a:rPr>
              <a:t> </a:t>
            </a:r>
          </a:p>
        </p:txBody>
      </p:sp>
      <p:sp>
        <p:nvSpPr>
          <p:cNvPr id="503" name="PlaceHolder 5"/>
          <p:cNvSpPr>
            <a:spLocks noGrp="1"/>
          </p:cNvSpPr>
          <p:nvPr>
            <p:ph type="sldNum"/>
          </p:nvPr>
        </p:nvSpPr>
        <p:spPr>
          <a:xfrm>
            <a:off x="4278960" y="10157400"/>
            <a:ext cx="3280680" cy="534240"/>
          </a:xfrm>
          <a:prstGeom prst="rect">
            <a:avLst/>
          </a:prstGeom>
        </p:spPr>
        <p:txBody>
          <a:bodyPr lIns="0" tIns="0" rIns="0" bIns="0" anchor="b"/>
          <a:lstStyle/>
          <a:p>
            <a:pPr algn="r"/>
            <a:fld id="{D1CB46C8-135A-47B0-B504-322235719586}" type="slidenum">
              <a:rPr lang="sv-SE" sz="1400" b="0" strike="noStrike" spc="-1">
                <a:solidFill>
                  <a:srgbClr val="000000"/>
                </a:solidFill>
                <a:uFill>
                  <a:solidFill>
                    <a:srgbClr val="FFFFFF"/>
                  </a:solidFill>
                </a:uFill>
                <a:latin typeface="Times New Roman"/>
              </a:rPr>
              <a:t>‹#›</a:t>
            </a:fld>
            <a:endParaRPr lang="sv-SE" sz="1400" b="0" strike="noStrike" spc="-1">
              <a:solidFill>
                <a:srgbClr val="000000"/>
              </a:solidFill>
              <a:uFill>
                <a:solidFill>
                  <a:srgbClr val="FFFFFF"/>
                </a:solidFill>
              </a:uFill>
              <a:latin typeface="Times New Roman"/>
            </a:endParaRP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6" name="PlaceHolder 1"/>
          <p:cNvSpPr>
            <a:spLocks noGrp="1"/>
          </p:cNvSpPr>
          <p:nvPr>
            <p:ph type="body"/>
          </p:nvPr>
        </p:nvSpPr>
        <p:spPr>
          <a:xfrm>
            <a:off x="679680" y="4777200"/>
            <a:ext cx="5437800" cy="3908160"/>
          </a:xfrm>
          <a:prstGeom prst="rect">
            <a:avLst/>
          </a:prstGeom>
        </p:spPr>
        <p:txBody>
          <a:bodyPr/>
          <a:lstStyle/>
          <a:p>
            <a:endParaRPr lang="sv-SE" sz="2000" b="0" strike="noStrike" spc="-1">
              <a:solidFill>
                <a:srgbClr val="000000"/>
              </a:solidFill>
              <a:uFill>
                <a:solidFill>
                  <a:srgbClr val="FFFFFF"/>
                </a:solidFill>
              </a:uFill>
              <a:latin typeface="Arial"/>
            </a:endParaRPr>
          </a:p>
        </p:txBody>
      </p:sp>
      <p:sp>
        <p:nvSpPr>
          <p:cNvPr id="1937" name="TextShape 2"/>
          <p:cNvSpPr txBox="1"/>
          <p:nvPr/>
        </p:nvSpPr>
        <p:spPr>
          <a:xfrm>
            <a:off x="0" y="0"/>
            <a:ext cx="2945160" cy="497520"/>
          </a:xfrm>
          <a:prstGeom prst="rect">
            <a:avLst/>
          </a:prstGeom>
          <a:noFill/>
          <a:ln>
            <a:noFill/>
          </a:ln>
        </p:spPr>
        <p:txBody>
          <a:bodyPr/>
          <a:lstStyle/>
          <a:p>
            <a:pPr>
              <a:lnSpc>
                <a:spcPct val="100000"/>
              </a:lnSpc>
            </a:pPr>
            <a:r>
              <a:rPr lang="sv-SE" sz="1200" b="0" strike="noStrike" spc="-1">
                <a:solidFill>
                  <a:srgbClr val="000000"/>
                </a:solidFill>
                <a:uFill>
                  <a:solidFill>
                    <a:srgbClr val="FFFFFF"/>
                  </a:solidFill>
                </a:uFill>
                <a:latin typeface="Ericsson Hilda Light"/>
                <a:ea typeface="+mn-ea"/>
              </a:rPr>
              <a:t> </a:t>
            </a:r>
            <a:endParaRPr lang="sv-SE" sz="1200" b="0" strike="noStrike" spc="-1">
              <a:solidFill>
                <a:srgbClr val="000000"/>
              </a:solidFill>
              <a:uFill>
                <a:solidFill>
                  <a:srgbClr val="FFFFFF"/>
                </a:solidFill>
              </a:uFill>
              <a:latin typeface="Times New Roman"/>
            </a:endParaRPr>
          </a:p>
        </p:txBody>
      </p:sp>
      <p:sp>
        <p:nvSpPr>
          <p:cNvPr id="1938" name="TextShape 3"/>
          <p:cNvSpPr txBox="1"/>
          <p:nvPr/>
        </p:nvSpPr>
        <p:spPr>
          <a:xfrm>
            <a:off x="3850560" y="0"/>
            <a:ext cx="2945160" cy="497520"/>
          </a:xfrm>
          <a:prstGeom prst="rect">
            <a:avLst/>
          </a:prstGeom>
          <a:noFill/>
          <a:ln>
            <a:noFill/>
          </a:ln>
        </p:spPr>
        <p:txBody>
          <a:bodyPr/>
          <a:lstStyle/>
          <a:p>
            <a:pPr algn="r">
              <a:lnSpc>
                <a:spcPct val="100000"/>
              </a:lnSpc>
            </a:pPr>
            <a:r>
              <a:rPr lang="sv-SE" sz="1200" b="0" strike="noStrike" spc="-1">
                <a:solidFill>
                  <a:srgbClr val="000000"/>
                </a:solidFill>
                <a:uFill>
                  <a:solidFill>
                    <a:srgbClr val="FFFFFF"/>
                  </a:solidFill>
                </a:uFill>
                <a:latin typeface="Ericsson Hilda Light"/>
                <a:ea typeface="+mn-ea"/>
              </a:rPr>
              <a:t>2018-02-21 </a:t>
            </a:r>
            <a:endParaRPr lang="sv-SE" sz="1200" b="0" strike="noStrike" spc="-1">
              <a:solidFill>
                <a:srgbClr val="000000"/>
              </a:solidFill>
              <a:uFill>
                <a:solidFill>
                  <a:srgbClr val="FFFFFF"/>
                </a:solidFill>
              </a:uFill>
              <a:latin typeface="Times New Roman"/>
            </a:endParaRPr>
          </a:p>
        </p:txBody>
      </p:sp>
      <p:sp>
        <p:nvSpPr>
          <p:cNvPr id="1939" name="TextShape 4"/>
          <p:cNvSpPr txBox="1"/>
          <p:nvPr/>
        </p:nvSpPr>
        <p:spPr>
          <a:xfrm>
            <a:off x="0" y="9428760"/>
            <a:ext cx="2945160" cy="497520"/>
          </a:xfrm>
          <a:prstGeom prst="rect">
            <a:avLst/>
          </a:prstGeom>
          <a:noFill/>
          <a:ln>
            <a:noFill/>
          </a:ln>
        </p:spPr>
        <p:txBody>
          <a:bodyPr anchor="b"/>
          <a:lstStyle/>
          <a:p>
            <a:pPr>
              <a:lnSpc>
                <a:spcPct val="100000"/>
              </a:lnSpc>
            </a:pPr>
            <a:r>
              <a:rPr lang="sv-SE" sz="1200" b="0" strike="noStrike" spc="-1">
                <a:solidFill>
                  <a:srgbClr val="000000"/>
                </a:solidFill>
                <a:uFill>
                  <a:solidFill>
                    <a:srgbClr val="FFFFFF"/>
                  </a:solidFill>
                </a:uFill>
                <a:latin typeface="Ericsson Hilda Light"/>
                <a:ea typeface="+mn-ea"/>
              </a:rPr>
              <a:t> </a:t>
            </a:r>
            <a:endParaRPr lang="sv-SE" sz="1200" b="0" strike="noStrike" spc="-1">
              <a:solidFill>
                <a:srgbClr val="000000"/>
              </a:solidFill>
              <a:uFill>
                <a:solidFill>
                  <a:srgbClr val="FFFFFF"/>
                </a:solidFill>
              </a:uFill>
              <a:latin typeface="Times New Roman"/>
            </a:endParaRPr>
          </a:p>
        </p:txBody>
      </p:sp>
      <p:sp>
        <p:nvSpPr>
          <p:cNvPr id="1940" name="TextShape 5"/>
          <p:cNvSpPr txBox="1"/>
          <p:nvPr/>
        </p:nvSpPr>
        <p:spPr>
          <a:xfrm>
            <a:off x="3850560" y="9428760"/>
            <a:ext cx="2945160" cy="497520"/>
          </a:xfrm>
          <a:prstGeom prst="rect">
            <a:avLst/>
          </a:prstGeom>
          <a:noFill/>
          <a:ln>
            <a:noFill/>
          </a:ln>
        </p:spPr>
        <p:txBody>
          <a:bodyPr anchor="b"/>
          <a:lstStyle/>
          <a:p>
            <a:pPr algn="r">
              <a:lnSpc>
                <a:spcPct val="100000"/>
              </a:lnSpc>
            </a:pPr>
            <a:fld id="{EAF83011-D9AD-48BC-85AC-7994EC75B61D}" type="slidenum">
              <a:rPr lang="sv-SE" sz="1200" b="0" strike="noStrike" spc="-1">
                <a:solidFill>
                  <a:srgbClr val="000000"/>
                </a:solidFill>
                <a:uFill>
                  <a:solidFill>
                    <a:srgbClr val="FFFFFF"/>
                  </a:solidFill>
                </a:uFill>
                <a:latin typeface="Ericsson Hilda Light"/>
                <a:ea typeface="+mn-ea"/>
              </a:rPr>
              <a:t>1</a:t>
            </a:fld>
            <a:endParaRPr lang="sv-SE" sz="1200" b="0" strike="noStrike" spc="-1">
              <a:solidFill>
                <a:srgbClr val="000000"/>
              </a:solidFill>
              <a:uFill>
                <a:solidFill>
                  <a:srgbClr val="FFFFFF"/>
                </a:solidFill>
              </a:uFill>
              <a:latin typeface="Times New Roman"/>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sv-SE" dirty="0"/>
              <a:t>Martin &amp; Kebba tar slide 8 &amp; 9:</a:t>
            </a:r>
          </a:p>
          <a:p>
            <a:endParaRPr lang="en-GB" dirty="0"/>
          </a:p>
          <a:p>
            <a:pPr marL="344170" indent="-343535">
              <a:lnSpc>
                <a:spcPct val="100000"/>
              </a:lnSpc>
              <a:buClr>
                <a:srgbClr val="181818"/>
              </a:buClr>
              <a:buFont typeface="Ericsson Hilda Light"/>
              <a:buChar char="—"/>
            </a:pPr>
            <a:r>
              <a:rPr lang="sv-SE" b="0" strike="noStrike" spc="-1" dirty="0">
                <a:solidFill>
                  <a:srgbClr val="181818"/>
                </a:solidFill>
                <a:uFill>
                  <a:solidFill>
                    <a:srgbClr val="FFFFFF"/>
                  </a:solidFill>
                </a:uFill>
                <a:latin typeface="Ericsson Hilda" panose="00000500000000000000" pitchFamily="2" charset="0"/>
              </a:rPr>
              <a:t>Spelet startas från en LCD display</a:t>
            </a:r>
          </a:p>
          <a:p>
            <a:pPr marL="344170" indent="-343535">
              <a:lnSpc>
                <a:spcPct val="100000"/>
              </a:lnSpc>
              <a:buClr>
                <a:srgbClr val="181818"/>
              </a:buClr>
              <a:buFont typeface="Ericsson Hilda Light"/>
              <a:buChar char="—"/>
            </a:pPr>
            <a:r>
              <a:rPr lang="sv-SE" b="0" strike="noStrike" spc="-1" dirty="0">
                <a:solidFill>
                  <a:srgbClr val="181818"/>
                </a:solidFill>
                <a:uFill>
                  <a:solidFill>
                    <a:srgbClr val="FFFFFF"/>
                  </a:solidFill>
                </a:uFill>
                <a:latin typeface="Ericsson Hilda" panose="00000500000000000000" pitchFamily="2" charset="0"/>
              </a:rPr>
              <a:t>S</a:t>
            </a:r>
            <a:r>
              <a:rPr lang="sv-SE" spc="-1" dirty="0">
                <a:solidFill>
                  <a:srgbClr val="181818"/>
                </a:solidFill>
                <a:uFill>
                  <a:solidFill>
                    <a:srgbClr val="FFFFFF"/>
                  </a:solidFill>
                </a:uFill>
                <a:latin typeface="Ericsson Hilda" panose="00000500000000000000" pitchFamily="2" charset="0"/>
              </a:rPr>
              <a:t>pelplanen ses från ett sidoperspektiv</a:t>
            </a:r>
          </a:p>
          <a:p>
            <a:pPr marL="344170" indent="-343535">
              <a:lnSpc>
                <a:spcPct val="100000"/>
              </a:lnSpc>
              <a:buClr>
                <a:srgbClr val="181818"/>
              </a:buClr>
              <a:buFont typeface="Ericsson Hilda Light"/>
              <a:buChar char="—"/>
            </a:pPr>
            <a:r>
              <a:rPr lang="sv-SE" spc="-1" dirty="0">
                <a:solidFill>
                  <a:srgbClr val="181818"/>
                </a:solidFill>
                <a:uFill>
                  <a:solidFill>
                    <a:srgbClr val="FFFFFF"/>
                  </a:solidFill>
                </a:uFill>
                <a:latin typeface="Ericsson Hilda" panose="00000500000000000000" pitchFamily="2" charset="0"/>
              </a:rPr>
              <a:t>Statisk spelkaraktär</a:t>
            </a:r>
          </a:p>
          <a:p>
            <a:pPr marL="344170" indent="-343535">
              <a:lnSpc>
                <a:spcPct val="100000"/>
              </a:lnSpc>
              <a:buClr>
                <a:srgbClr val="181818"/>
              </a:buClr>
              <a:buFont typeface="Ericsson Hilda Light"/>
              <a:buChar char="—"/>
            </a:pPr>
            <a:r>
              <a:rPr lang="sv-SE" spc="-1" dirty="0">
                <a:solidFill>
                  <a:srgbClr val="181818"/>
                </a:solidFill>
                <a:uFill>
                  <a:solidFill>
                    <a:srgbClr val="FFFFFF"/>
                  </a:solidFill>
                </a:uFill>
                <a:latin typeface="Ericsson Hilda" panose="00000500000000000000" pitchFamily="2" charset="0"/>
              </a:rPr>
              <a:t>Hinder flyttas från väster till höger för att ge en illusion av en springande karaktär</a:t>
            </a:r>
            <a:endParaRPr lang="sv-SE" b="0" strike="noStrike" spc="-1" dirty="0">
              <a:solidFill>
                <a:srgbClr val="000000"/>
              </a:solidFill>
              <a:uFill>
                <a:solidFill>
                  <a:srgbClr val="FFFFFF"/>
                </a:solidFill>
              </a:uFill>
              <a:latin typeface="Ericsson Hilda" panose="00000500000000000000" pitchFamily="2" charset="0"/>
            </a:endParaRPr>
          </a:p>
          <a:p>
            <a:pPr marL="344170" indent="-343535">
              <a:lnSpc>
                <a:spcPct val="100000"/>
              </a:lnSpc>
              <a:buClr>
                <a:srgbClr val="181818"/>
              </a:buClr>
              <a:buFont typeface="Ericsson Hilda Light"/>
              <a:buChar char="—"/>
            </a:pPr>
            <a:r>
              <a:rPr lang="sv-SE" b="0" strike="noStrike" spc="-1" dirty="0">
                <a:solidFill>
                  <a:srgbClr val="000000"/>
                </a:solidFill>
                <a:uFill>
                  <a:solidFill>
                    <a:srgbClr val="FFFFFF"/>
                  </a:solidFill>
                </a:uFill>
                <a:latin typeface="Ericsson Hilda" panose="00000500000000000000" pitchFamily="2" charset="0"/>
              </a:rPr>
              <a:t>Spelare undviker hinder för högre poäng</a:t>
            </a:r>
          </a:p>
          <a:p>
            <a:pPr marL="801370" lvl="1" indent="-343535">
              <a:buClr>
                <a:srgbClr val="181818"/>
              </a:buClr>
              <a:buFont typeface="Ericsson Hilda Light"/>
              <a:buChar char="—"/>
            </a:pPr>
            <a:r>
              <a:rPr lang="sv-SE" spc="-1" dirty="0">
                <a:solidFill>
                  <a:srgbClr val="000000"/>
                </a:solidFill>
                <a:uFill>
                  <a:solidFill>
                    <a:srgbClr val="FFFFFF"/>
                  </a:solidFill>
                </a:uFill>
                <a:latin typeface="Ericsson Hilda" panose="00000500000000000000" pitchFamily="2" charset="0"/>
              </a:rPr>
              <a:t>Poäng visas på 2st sjusegmentsdisplays</a:t>
            </a:r>
            <a:endParaRPr lang="sv-SE" b="0" strike="noStrike" spc="-1" dirty="0">
              <a:solidFill>
                <a:srgbClr val="000000"/>
              </a:solidFill>
              <a:uFill>
                <a:solidFill>
                  <a:srgbClr val="FFFFFF"/>
                </a:solidFill>
              </a:uFill>
              <a:latin typeface="Ericsson Hilda" panose="00000500000000000000" pitchFamily="2" charset="0"/>
            </a:endParaRPr>
          </a:p>
          <a:p>
            <a:pPr marL="801370" lvl="1" indent="-343535">
              <a:buClr>
                <a:srgbClr val="181818"/>
              </a:buClr>
              <a:buFont typeface="Ericsson Hilda Light"/>
              <a:buChar char="—"/>
            </a:pPr>
            <a:r>
              <a:rPr lang="sv-SE" b="0" strike="noStrike" spc="-1" dirty="0">
                <a:solidFill>
                  <a:srgbClr val="000000"/>
                </a:solidFill>
                <a:uFill>
                  <a:solidFill>
                    <a:srgbClr val="FFFFFF"/>
                  </a:solidFill>
                </a:uFill>
                <a:latin typeface="Ericsson Hilda" panose="00000500000000000000" pitchFamily="2" charset="0"/>
              </a:rPr>
              <a:t>2 typer av hinder:</a:t>
            </a:r>
          </a:p>
          <a:p>
            <a:pPr marL="1258570" lvl="2" indent="-343535">
              <a:buClr>
                <a:srgbClr val="181818"/>
              </a:buClr>
              <a:buFont typeface="Ericsson Hilda Light"/>
              <a:buChar char="—"/>
            </a:pPr>
            <a:r>
              <a:rPr lang="sv-SE" spc="-1" dirty="0">
                <a:solidFill>
                  <a:srgbClr val="000000"/>
                </a:solidFill>
                <a:uFill>
                  <a:solidFill>
                    <a:srgbClr val="FFFFFF"/>
                  </a:solidFill>
                </a:uFill>
                <a:latin typeface="Ericsson Hilda" panose="00000500000000000000" pitchFamily="2" charset="0"/>
              </a:rPr>
              <a:t>Moln</a:t>
            </a:r>
          </a:p>
          <a:p>
            <a:pPr marL="1258570" lvl="2" indent="-343535">
              <a:buClr>
                <a:srgbClr val="181818"/>
              </a:buClr>
              <a:buFont typeface="Ericsson Hilda Light"/>
              <a:buChar char="—"/>
            </a:pPr>
            <a:r>
              <a:rPr lang="sv-SE" spc="-1" dirty="0">
                <a:solidFill>
                  <a:srgbClr val="000000"/>
                </a:solidFill>
                <a:uFill>
                  <a:solidFill>
                    <a:srgbClr val="FFFFFF"/>
                  </a:solidFill>
                </a:uFill>
                <a:latin typeface="Ericsson Hilda" panose="00000500000000000000" pitchFamily="2" charset="0"/>
              </a:rPr>
              <a:t>Träd</a:t>
            </a:r>
            <a:endParaRPr lang="sv-SE" b="0" strike="noStrike" spc="-1" dirty="0">
              <a:solidFill>
                <a:srgbClr val="000000"/>
              </a:solidFill>
              <a:uFill>
                <a:solidFill>
                  <a:srgbClr val="FFFFFF"/>
                </a:solidFill>
              </a:uFill>
              <a:latin typeface="Ericsson Hilda" panose="00000500000000000000" pitchFamily="2" charset="0"/>
            </a:endParaRPr>
          </a:p>
          <a:p>
            <a:pPr marL="344170" indent="-343535">
              <a:lnSpc>
                <a:spcPct val="100000"/>
              </a:lnSpc>
              <a:buClr>
                <a:srgbClr val="181818"/>
              </a:buClr>
              <a:buFont typeface="Ericsson Hilda Light"/>
              <a:buChar char="—"/>
            </a:pPr>
            <a:r>
              <a:rPr lang="sv-SE" spc="-1" dirty="0">
                <a:solidFill>
                  <a:srgbClr val="000000"/>
                </a:solidFill>
                <a:uFill>
                  <a:solidFill>
                    <a:srgbClr val="FFFFFF"/>
                  </a:solidFill>
                </a:uFill>
                <a:latin typeface="Ericsson Hilda" panose="00000500000000000000" pitchFamily="2" charset="0"/>
              </a:rPr>
              <a:t>Misslyckande att undvika hinder resulterar i förlust av liv och tillslut förlust</a:t>
            </a:r>
          </a:p>
          <a:p>
            <a:endParaRPr lang="en-SE" dirty="0"/>
          </a:p>
          <a:p>
            <a:endParaRPr lang="en-SE" dirty="0"/>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10</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27427538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sv-SE" dirty="0"/>
              <a:t>Martin &amp; Kebba tar slide 8 &amp; 9:</a:t>
            </a:r>
          </a:p>
          <a:p>
            <a:endParaRPr lang="en-GB" dirty="0"/>
          </a:p>
          <a:p>
            <a:pPr marL="344170" indent="-343535">
              <a:lnSpc>
                <a:spcPct val="100000"/>
              </a:lnSpc>
              <a:buClr>
                <a:srgbClr val="181818"/>
              </a:buClr>
              <a:buFont typeface="Ericsson Hilda Light"/>
              <a:buChar char="—"/>
            </a:pPr>
            <a:r>
              <a:rPr lang="sv-SE" b="0" strike="noStrike" spc="-1" dirty="0">
                <a:solidFill>
                  <a:srgbClr val="181818"/>
                </a:solidFill>
                <a:uFill>
                  <a:solidFill>
                    <a:srgbClr val="FFFFFF"/>
                  </a:solidFill>
                </a:uFill>
                <a:latin typeface="Ericsson Hilda" panose="00000500000000000000" pitchFamily="2" charset="0"/>
              </a:rPr>
              <a:t>Spelet startas från en LCD display</a:t>
            </a:r>
          </a:p>
          <a:p>
            <a:pPr marL="344170" indent="-343535">
              <a:lnSpc>
                <a:spcPct val="100000"/>
              </a:lnSpc>
              <a:buClr>
                <a:srgbClr val="181818"/>
              </a:buClr>
              <a:buFont typeface="Ericsson Hilda Light"/>
              <a:buChar char="—"/>
            </a:pPr>
            <a:r>
              <a:rPr lang="sv-SE" b="0" strike="noStrike" spc="-1" dirty="0">
                <a:solidFill>
                  <a:srgbClr val="181818"/>
                </a:solidFill>
                <a:uFill>
                  <a:solidFill>
                    <a:srgbClr val="FFFFFF"/>
                  </a:solidFill>
                </a:uFill>
                <a:latin typeface="Ericsson Hilda" panose="00000500000000000000" pitchFamily="2" charset="0"/>
              </a:rPr>
              <a:t>S</a:t>
            </a:r>
            <a:r>
              <a:rPr lang="sv-SE" spc="-1" dirty="0">
                <a:solidFill>
                  <a:srgbClr val="181818"/>
                </a:solidFill>
                <a:uFill>
                  <a:solidFill>
                    <a:srgbClr val="FFFFFF"/>
                  </a:solidFill>
                </a:uFill>
                <a:latin typeface="Ericsson Hilda" panose="00000500000000000000" pitchFamily="2" charset="0"/>
              </a:rPr>
              <a:t>pelplanen ses från ett sidoperspektiv</a:t>
            </a:r>
          </a:p>
          <a:p>
            <a:pPr marL="344170" indent="-343535">
              <a:lnSpc>
                <a:spcPct val="100000"/>
              </a:lnSpc>
              <a:buClr>
                <a:srgbClr val="181818"/>
              </a:buClr>
              <a:buFont typeface="Ericsson Hilda Light"/>
              <a:buChar char="—"/>
            </a:pPr>
            <a:r>
              <a:rPr lang="sv-SE" spc="-1" dirty="0">
                <a:solidFill>
                  <a:srgbClr val="181818"/>
                </a:solidFill>
                <a:uFill>
                  <a:solidFill>
                    <a:srgbClr val="FFFFFF"/>
                  </a:solidFill>
                </a:uFill>
                <a:latin typeface="Ericsson Hilda" panose="00000500000000000000" pitchFamily="2" charset="0"/>
              </a:rPr>
              <a:t>Statisk spelkaraktär</a:t>
            </a:r>
          </a:p>
          <a:p>
            <a:pPr marL="344170" indent="-343535">
              <a:lnSpc>
                <a:spcPct val="100000"/>
              </a:lnSpc>
              <a:buClr>
                <a:srgbClr val="181818"/>
              </a:buClr>
              <a:buFont typeface="Ericsson Hilda Light"/>
              <a:buChar char="—"/>
            </a:pPr>
            <a:r>
              <a:rPr lang="sv-SE" spc="-1" dirty="0">
                <a:solidFill>
                  <a:srgbClr val="181818"/>
                </a:solidFill>
                <a:uFill>
                  <a:solidFill>
                    <a:srgbClr val="FFFFFF"/>
                  </a:solidFill>
                </a:uFill>
                <a:latin typeface="Ericsson Hilda" panose="00000500000000000000" pitchFamily="2" charset="0"/>
              </a:rPr>
              <a:t>Hinder flyttas från väster till höger för att ge en illusion av en springande karaktär</a:t>
            </a:r>
            <a:endParaRPr lang="sv-SE" b="0" strike="noStrike" spc="-1" dirty="0">
              <a:solidFill>
                <a:srgbClr val="000000"/>
              </a:solidFill>
              <a:uFill>
                <a:solidFill>
                  <a:srgbClr val="FFFFFF"/>
                </a:solidFill>
              </a:uFill>
              <a:latin typeface="Ericsson Hilda" panose="00000500000000000000" pitchFamily="2" charset="0"/>
            </a:endParaRPr>
          </a:p>
          <a:p>
            <a:pPr marL="344170" indent="-343535">
              <a:lnSpc>
                <a:spcPct val="100000"/>
              </a:lnSpc>
              <a:buClr>
                <a:srgbClr val="181818"/>
              </a:buClr>
              <a:buFont typeface="Ericsson Hilda Light"/>
              <a:buChar char="—"/>
            </a:pPr>
            <a:r>
              <a:rPr lang="sv-SE" b="0" strike="noStrike" spc="-1" dirty="0">
                <a:solidFill>
                  <a:srgbClr val="000000"/>
                </a:solidFill>
                <a:uFill>
                  <a:solidFill>
                    <a:srgbClr val="FFFFFF"/>
                  </a:solidFill>
                </a:uFill>
                <a:latin typeface="Ericsson Hilda" panose="00000500000000000000" pitchFamily="2" charset="0"/>
              </a:rPr>
              <a:t>Spelare undviker hinder för högre poäng</a:t>
            </a:r>
          </a:p>
          <a:p>
            <a:pPr marL="801370" lvl="1" indent="-343535">
              <a:buClr>
                <a:srgbClr val="181818"/>
              </a:buClr>
              <a:buFont typeface="Ericsson Hilda Light"/>
              <a:buChar char="—"/>
            </a:pPr>
            <a:r>
              <a:rPr lang="sv-SE" spc="-1" dirty="0">
                <a:solidFill>
                  <a:srgbClr val="000000"/>
                </a:solidFill>
                <a:uFill>
                  <a:solidFill>
                    <a:srgbClr val="FFFFFF"/>
                  </a:solidFill>
                </a:uFill>
                <a:latin typeface="Ericsson Hilda" panose="00000500000000000000" pitchFamily="2" charset="0"/>
              </a:rPr>
              <a:t>Poäng visas på 2st sjusegmentsdisplays</a:t>
            </a:r>
            <a:endParaRPr lang="sv-SE" b="0" strike="noStrike" spc="-1" dirty="0">
              <a:solidFill>
                <a:srgbClr val="000000"/>
              </a:solidFill>
              <a:uFill>
                <a:solidFill>
                  <a:srgbClr val="FFFFFF"/>
                </a:solidFill>
              </a:uFill>
              <a:latin typeface="Ericsson Hilda" panose="00000500000000000000" pitchFamily="2" charset="0"/>
            </a:endParaRPr>
          </a:p>
          <a:p>
            <a:pPr marL="801370" lvl="1" indent="-343535">
              <a:buClr>
                <a:srgbClr val="181818"/>
              </a:buClr>
              <a:buFont typeface="Ericsson Hilda Light"/>
              <a:buChar char="—"/>
            </a:pPr>
            <a:r>
              <a:rPr lang="sv-SE" b="0" strike="noStrike" spc="-1" dirty="0">
                <a:solidFill>
                  <a:srgbClr val="000000"/>
                </a:solidFill>
                <a:uFill>
                  <a:solidFill>
                    <a:srgbClr val="FFFFFF"/>
                  </a:solidFill>
                </a:uFill>
                <a:latin typeface="Ericsson Hilda" panose="00000500000000000000" pitchFamily="2" charset="0"/>
              </a:rPr>
              <a:t>2 typer av hinder:</a:t>
            </a:r>
          </a:p>
          <a:p>
            <a:pPr marL="1258570" lvl="2" indent="-343535">
              <a:buClr>
                <a:srgbClr val="181818"/>
              </a:buClr>
              <a:buFont typeface="Ericsson Hilda Light"/>
              <a:buChar char="—"/>
            </a:pPr>
            <a:r>
              <a:rPr lang="sv-SE" spc="-1" dirty="0">
                <a:solidFill>
                  <a:srgbClr val="000000"/>
                </a:solidFill>
                <a:uFill>
                  <a:solidFill>
                    <a:srgbClr val="FFFFFF"/>
                  </a:solidFill>
                </a:uFill>
                <a:latin typeface="Ericsson Hilda" panose="00000500000000000000" pitchFamily="2" charset="0"/>
              </a:rPr>
              <a:t>Moln</a:t>
            </a:r>
          </a:p>
          <a:p>
            <a:pPr marL="1258570" lvl="2" indent="-343535">
              <a:buClr>
                <a:srgbClr val="181818"/>
              </a:buClr>
              <a:buFont typeface="Ericsson Hilda Light"/>
              <a:buChar char="—"/>
            </a:pPr>
            <a:r>
              <a:rPr lang="sv-SE" spc="-1" dirty="0">
                <a:solidFill>
                  <a:srgbClr val="000000"/>
                </a:solidFill>
                <a:uFill>
                  <a:solidFill>
                    <a:srgbClr val="FFFFFF"/>
                  </a:solidFill>
                </a:uFill>
                <a:latin typeface="Ericsson Hilda" panose="00000500000000000000" pitchFamily="2" charset="0"/>
              </a:rPr>
              <a:t>Träd</a:t>
            </a:r>
            <a:endParaRPr lang="sv-SE" b="0" strike="noStrike" spc="-1" dirty="0">
              <a:solidFill>
                <a:srgbClr val="000000"/>
              </a:solidFill>
              <a:uFill>
                <a:solidFill>
                  <a:srgbClr val="FFFFFF"/>
                </a:solidFill>
              </a:uFill>
              <a:latin typeface="Ericsson Hilda" panose="00000500000000000000" pitchFamily="2" charset="0"/>
            </a:endParaRPr>
          </a:p>
          <a:p>
            <a:pPr marL="344170" indent="-343535">
              <a:lnSpc>
                <a:spcPct val="100000"/>
              </a:lnSpc>
              <a:buClr>
                <a:srgbClr val="181818"/>
              </a:buClr>
              <a:buFont typeface="Ericsson Hilda Light"/>
              <a:buChar char="—"/>
            </a:pPr>
            <a:r>
              <a:rPr lang="sv-SE" spc="-1" dirty="0">
                <a:solidFill>
                  <a:srgbClr val="000000"/>
                </a:solidFill>
                <a:uFill>
                  <a:solidFill>
                    <a:srgbClr val="FFFFFF"/>
                  </a:solidFill>
                </a:uFill>
                <a:latin typeface="Ericsson Hilda" panose="00000500000000000000" pitchFamily="2" charset="0"/>
              </a:rPr>
              <a:t>Misslyckande att undvika hinder resulterar i förlust av liv och tillslut förlust</a:t>
            </a:r>
          </a:p>
          <a:p>
            <a:endParaRPr lang="en-SE" dirty="0"/>
          </a:p>
          <a:p>
            <a:endParaRPr lang="en-SE" dirty="0"/>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11</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7019143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1" name="PlaceHolder 1"/>
          <p:cNvSpPr>
            <a:spLocks noGrp="1"/>
          </p:cNvSpPr>
          <p:nvPr>
            <p:ph type="body"/>
          </p:nvPr>
        </p:nvSpPr>
        <p:spPr>
          <a:xfrm>
            <a:off x="679680" y="4777200"/>
            <a:ext cx="5437800" cy="3908160"/>
          </a:xfrm>
          <a:prstGeom prst="rect">
            <a:avLst/>
          </a:prstGeom>
        </p:spPr>
        <p:txBody>
          <a:bodyPr/>
          <a:lstStyle/>
          <a:p>
            <a:r>
              <a:rPr lang="sv-SE" sz="2000" b="0" strike="noStrike" spc="-1" dirty="0">
                <a:solidFill>
                  <a:srgbClr val="000000"/>
                </a:solidFill>
                <a:uFill>
                  <a:solidFill>
                    <a:srgbClr val="FFFFFF"/>
                  </a:solidFill>
                </a:uFill>
                <a:latin typeface="Arial"/>
              </a:rPr>
              <a:t>Emil = Skall</a:t>
            </a:r>
          </a:p>
          <a:p>
            <a:r>
              <a:rPr lang="sv-SE" sz="2000" b="0" strike="noStrike" spc="-1" dirty="0" err="1">
                <a:solidFill>
                  <a:srgbClr val="000000"/>
                </a:solidFill>
                <a:uFill>
                  <a:solidFill>
                    <a:srgbClr val="FFFFFF"/>
                  </a:solidFill>
                </a:uFill>
                <a:latin typeface="Arial"/>
              </a:rPr>
              <a:t>Aidin</a:t>
            </a:r>
            <a:r>
              <a:rPr lang="sv-SE" sz="2000" b="0" strike="noStrike" spc="-1" dirty="0">
                <a:solidFill>
                  <a:srgbClr val="000000"/>
                </a:solidFill>
                <a:uFill>
                  <a:solidFill>
                    <a:srgbClr val="FFFFFF"/>
                  </a:solidFill>
                </a:uFill>
                <a:latin typeface="Arial"/>
              </a:rPr>
              <a:t> = Bör</a:t>
            </a:r>
          </a:p>
        </p:txBody>
      </p:sp>
      <p:sp>
        <p:nvSpPr>
          <p:cNvPr id="1952" name="TextShape 2"/>
          <p:cNvSpPr txBox="1"/>
          <p:nvPr/>
        </p:nvSpPr>
        <p:spPr>
          <a:xfrm>
            <a:off x="0" y="0"/>
            <a:ext cx="2945160" cy="497520"/>
          </a:xfrm>
          <a:prstGeom prst="rect">
            <a:avLst/>
          </a:prstGeom>
          <a:noFill/>
          <a:ln>
            <a:noFill/>
          </a:ln>
        </p:spPr>
        <p:txBody>
          <a:bodyPr/>
          <a:lstStyle/>
          <a:p>
            <a:pPr>
              <a:lnSpc>
                <a:spcPct val="100000"/>
              </a:lnSpc>
            </a:pPr>
            <a:r>
              <a:rPr lang="sv-SE" sz="1200" b="0" strike="noStrike" spc="-1">
                <a:solidFill>
                  <a:srgbClr val="000000"/>
                </a:solidFill>
                <a:uFill>
                  <a:solidFill>
                    <a:srgbClr val="FFFFFF"/>
                  </a:solidFill>
                </a:uFill>
                <a:latin typeface="Ericsson Hilda Light"/>
                <a:ea typeface="+mn-ea"/>
              </a:rPr>
              <a:t>Test document 2 </a:t>
            </a:r>
            <a:endParaRPr lang="sv-SE" sz="1200" b="0" strike="noStrike" spc="-1">
              <a:solidFill>
                <a:srgbClr val="000000"/>
              </a:solidFill>
              <a:uFill>
                <a:solidFill>
                  <a:srgbClr val="FFFFFF"/>
                </a:solidFill>
              </a:uFill>
              <a:latin typeface="Times New Roman"/>
            </a:endParaRPr>
          </a:p>
        </p:txBody>
      </p:sp>
      <p:sp>
        <p:nvSpPr>
          <p:cNvPr id="1953" name="TextShape 3"/>
          <p:cNvSpPr txBox="1"/>
          <p:nvPr/>
        </p:nvSpPr>
        <p:spPr>
          <a:xfrm>
            <a:off x="3850560" y="0"/>
            <a:ext cx="2945160" cy="497520"/>
          </a:xfrm>
          <a:prstGeom prst="rect">
            <a:avLst/>
          </a:prstGeom>
          <a:noFill/>
          <a:ln>
            <a:noFill/>
          </a:ln>
        </p:spPr>
        <p:txBody>
          <a:bodyPr/>
          <a:lstStyle/>
          <a:p>
            <a:pPr algn="r">
              <a:lnSpc>
                <a:spcPct val="100000"/>
              </a:lnSpc>
            </a:pPr>
            <a:r>
              <a:rPr lang="sv-SE" sz="1200" b="0" strike="noStrike" spc="-1">
                <a:solidFill>
                  <a:srgbClr val="000000"/>
                </a:solidFill>
                <a:uFill>
                  <a:solidFill>
                    <a:srgbClr val="FFFFFF"/>
                  </a:solidFill>
                </a:uFill>
                <a:latin typeface="Ericsson Hilda Light"/>
              </a:rPr>
              <a:t> </a:t>
            </a:r>
            <a:endParaRPr lang="sv-SE" sz="1200" b="0" strike="noStrike" spc="-1">
              <a:solidFill>
                <a:srgbClr val="000000"/>
              </a:solidFill>
              <a:uFill>
                <a:solidFill>
                  <a:srgbClr val="FFFFFF"/>
                </a:solidFill>
              </a:uFill>
              <a:latin typeface="Times New Roman"/>
            </a:endParaRPr>
          </a:p>
        </p:txBody>
      </p:sp>
      <p:sp>
        <p:nvSpPr>
          <p:cNvPr id="1954" name="TextShape 4"/>
          <p:cNvSpPr txBox="1"/>
          <p:nvPr/>
        </p:nvSpPr>
        <p:spPr>
          <a:xfrm>
            <a:off x="0" y="9428760"/>
            <a:ext cx="2945160" cy="497520"/>
          </a:xfrm>
          <a:prstGeom prst="rect">
            <a:avLst/>
          </a:prstGeom>
          <a:noFill/>
          <a:ln>
            <a:noFill/>
          </a:ln>
        </p:spPr>
        <p:txBody>
          <a:bodyPr anchor="b"/>
          <a:lstStyle/>
          <a:p>
            <a:pPr>
              <a:lnSpc>
                <a:spcPct val="100000"/>
              </a:lnSpc>
            </a:pPr>
            <a:r>
              <a:rPr lang="sv-SE" sz="1200" b="0" strike="noStrike" spc="-1">
                <a:solidFill>
                  <a:srgbClr val="000000"/>
                </a:solidFill>
                <a:uFill>
                  <a:solidFill>
                    <a:srgbClr val="FFFFFF"/>
                  </a:solidFill>
                </a:uFill>
                <a:latin typeface="Ericsson Hilda Light"/>
              </a:rPr>
              <a:t>1551-192072 Uen, Rev PA1 </a:t>
            </a:r>
            <a:endParaRPr lang="sv-SE" sz="1200" b="0" strike="noStrike" spc="-1">
              <a:solidFill>
                <a:srgbClr val="000000"/>
              </a:solidFill>
              <a:uFill>
                <a:solidFill>
                  <a:srgbClr val="FFFFFF"/>
                </a:solidFill>
              </a:uFill>
              <a:latin typeface="Times New Roman"/>
            </a:endParaRPr>
          </a:p>
        </p:txBody>
      </p:sp>
      <p:sp>
        <p:nvSpPr>
          <p:cNvPr id="1955" name="TextShape 5"/>
          <p:cNvSpPr txBox="1"/>
          <p:nvPr/>
        </p:nvSpPr>
        <p:spPr>
          <a:xfrm>
            <a:off x="3850560" y="9428760"/>
            <a:ext cx="2945160" cy="497520"/>
          </a:xfrm>
          <a:prstGeom prst="rect">
            <a:avLst/>
          </a:prstGeom>
          <a:noFill/>
          <a:ln>
            <a:noFill/>
          </a:ln>
        </p:spPr>
        <p:txBody>
          <a:bodyPr anchor="b"/>
          <a:lstStyle/>
          <a:p>
            <a:pPr algn="r">
              <a:lnSpc>
                <a:spcPct val="100000"/>
              </a:lnSpc>
            </a:pPr>
            <a:fld id="{1C8A82A8-9D8C-443A-B731-95EDC17B9DFE}" type="slidenum">
              <a:rPr lang="sv-SE" sz="1200" b="0" strike="noStrike" spc="-1">
                <a:solidFill>
                  <a:srgbClr val="000000"/>
                </a:solidFill>
                <a:uFill>
                  <a:solidFill>
                    <a:srgbClr val="FFFFFF"/>
                  </a:solidFill>
                </a:uFill>
                <a:latin typeface="Ericsson Hilda Light"/>
              </a:rPr>
              <a:t>12</a:t>
            </a:fld>
            <a:endParaRPr lang="sv-SE" sz="12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4203340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1" name="PlaceHolder 1"/>
          <p:cNvSpPr>
            <a:spLocks noGrp="1"/>
          </p:cNvSpPr>
          <p:nvPr>
            <p:ph type="body"/>
          </p:nvPr>
        </p:nvSpPr>
        <p:spPr>
          <a:xfrm>
            <a:off x="679680" y="4777200"/>
            <a:ext cx="5437800" cy="3908160"/>
          </a:xfrm>
          <a:prstGeom prst="rect">
            <a:avLst/>
          </a:prstGeom>
        </p:spPr>
        <p:txBody>
          <a:bodyPr/>
          <a:lstStyle/>
          <a:p>
            <a:r>
              <a:rPr lang="sv-SE" sz="2000" b="0" strike="noStrike" spc="-1" dirty="0">
                <a:solidFill>
                  <a:srgbClr val="000000"/>
                </a:solidFill>
                <a:uFill>
                  <a:solidFill>
                    <a:srgbClr val="FFFFFF"/>
                  </a:solidFill>
                </a:uFill>
                <a:latin typeface="Arial"/>
              </a:rPr>
              <a:t>Emil = Skall</a:t>
            </a:r>
          </a:p>
          <a:p>
            <a:r>
              <a:rPr lang="sv-SE" sz="2000" b="0" strike="noStrike" spc="-1" dirty="0" err="1">
                <a:solidFill>
                  <a:srgbClr val="000000"/>
                </a:solidFill>
                <a:uFill>
                  <a:solidFill>
                    <a:srgbClr val="FFFFFF"/>
                  </a:solidFill>
                </a:uFill>
                <a:latin typeface="Arial"/>
              </a:rPr>
              <a:t>Aidin</a:t>
            </a:r>
            <a:r>
              <a:rPr lang="sv-SE" sz="2000" b="0" strike="noStrike" spc="-1" dirty="0">
                <a:solidFill>
                  <a:srgbClr val="000000"/>
                </a:solidFill>
                <a:uFill>
                  <a:solidFill>
                    <a:srgbClr val="FFFFFF"/>
                  </a:solidFill>
                </a:uFill>
                <a:latin typeface="Arial"/>
              </a:rPr>
              <a:t> = Bör</a:t>
            </a:r>
          </a:p>
        </p:txBody>
      </p:sp>
      <p:sp>
        <p:nvSpPr>
          <p:cNvPr id="1952" name="TextShape 2"/>
          <p:cNvSpPr txBox="1"/>
          <p:nvPr/>
        </p:nvSpPr>
        <p:spPr>
          <a:xfrm>
            <a:off x="0" y="0"/>
            <a:ext cx="2945160" cy="497520"/>
          </a:xfrm>
          <a:prstGeom prst="rect">
            <a:avLst/>
          </a:prstGeom>
          <a:noFill/>
          <a:ln>
            <a:noFill/>
          </a:ln>
        </p:spPr>
        <p:txBody>
          <a:bodyPr/>
          <a:lstStyle/>
          <a:p>
            <a:pPr>
              <a:lnSpc>
                <a:spcPct val="100000"/>
              </a:lnSpc>
            </a:pPr>
            <a:r>
              <a:rPr lang="sv-SE" sz="1200" b="0" strike="noStrike" spc="-1">
                <a:solidFill>
                  <a:srgbClr val="000000"/>
                </a:solidFill>
                <a:uFill>
                  <a:solidFill>
                    <a:srgbClr val="FFFFFF"/>
                  </a:solidFill>
                </a:uFill>
                <a:latin typeface="Ericsson Hilda Light"/>
                <a:ea typeface="+mn-ea"/>
              </a:rPr>
              <a:t>Test document 2 </a:t>
            </a:r>
            <a:endParaRPr lang="sv-SE" sz="1200" b="0" strike="noStrike" spc="-1">
              <a:solidFill>
                <a:srgbClr val="000000"/>
              </a:solidFill>
              <a:uFill>
                <a:solidFill>
                  <a:srgbClr val="FFFFFF"/>
                </a:solidFill>
              </a:uFill>
              <a:latin typeface="Times New Roman"/>
            </a:endParaRPr>
          </a:p>
        </p:txBody>
      </p:sp>
      <p:sp>
        <p:nvSpPr>
          <p:cNvPr id="1953" name="TextShape 3"/>
          <p:cNvSpPr txBox="1"/>
          <p:nvPr/>
        </p:nvSpPr>
        <p:spPr>
          <a:xfrm>
            <a:off x="3850560" y="0"/>
            <a:ext cx="2945160" cy="497520"/>
          </a:xfrm>
          <a:prstGeom prst="rect">
            <a:avLst/>
          </a:prstGeom>
          <a:noFill/>
          <a:ln>
            <a:noFill/>
          </a:ln>
        </p:spPr>
        <p:txBody>
          <a:bodyPr/>
          <a:lstStyle/>
          <a:p>
            <a:pPr algn="r">
              <a:lnSpc>
                <a:spcPct val="100000"/>
              </a:lnSpc>
            </a:pPr>
            <a:r>
              <a:rPr lang="sv-SE" sz="1200" b="0" strike="noStrike" spc="-1">
                <a:solidFill>
                  <a:srgbClr val="000000"/>
                </a:solidFill>
                <a:uFill>
                  <a:solidFill>
                    <a:srgbClr val="FFFFFF"/>
                  </a:solidFill>
                </a:uFill>
                <a:latin typeface="Ericsson Hilda Light"/>
              </a:rPr>
              <a:t> </a:t>
            </a:r>
            <a:endParaRPr lang="sv-SE" sz="1200" b="0" strike="noStrike" spc="-1">
              <a:solidFill>
                <a:srgbClr val="000000"/>
              </a:solidFill>
              <a:uFill>
                <a:solidFill>
                  <a:srgbClr val="FFFFFF"/>
                </a:solidFill>
              </a:uFill>
              <a:latin typeface="Times New Roman"/>
            </a:endParaRPr>
          </a:p>
        </p:txBody>
      </p:sp>
      <p:sp>
        <p:nvSpPr>
          <p:cNvPr id="1954" name="TextShape 4"/>
          <p:cNvSpPr txBox="1"/>
          <p:nvPr/>
        </p:nvSpPr>
        <p:spPr>
          <a:xfrm>
            <a:off x="0" y="9428760"/>
            <a:ext cx="2945160" cy="497520"/>
          </a:xfrm>
          <a:prstGeom prst="rect">
            <a:avLst/>
          </a:prstGeom>
          <a:noFill/>
          <a:ln>
            <a:noFill/>
          </a:ln>
        </p:spPr>
        <p:txBody>
          <a:bodyPr anchor="b"/>
          <a:lstStyle/>
          <a:p>
            <a:pPr>
              <a:lnSpc>
                <a:spcPct val="100000"/>
              </a:lnSpc>
            </a:pPr>
            <a:r>
              <a:rPr lang="sv-SE" sz="1200" b="0" strike="noStrike" spc="-1">
                <a:solidFill>
                  <a:srgbClr val="000000"/>
                </a:solidFill>
                <a:uFill>
                  <a:solidFill>
                    <a:srgbClr val="FFFFFF"/>
                  </a:solidFill>
                </a:uFill>
                <a:latin typeface="Ericsson Hilda Light"/>
              </a:rPr>
              <a:t>1551-192072 Uen, Rev PA1 </a:t>
            </a:r>
            <a:endParaRPr lang="sv-SE" sz="1200" b="0" strike="noStrike" spc="-1">
              <a:solidFill>
                <a:srgbClr val="000000"/>
              </a:solidFill>
              <a:uFill>
                <a:solidFill>
                  <a:srgbClr val="FFFFFF"/>
                </a:solidFill>
              </a:uFill>
              <a:latin typeface="Times New Roman"/>
            </a:endParaRPr>
          </a:p>
        </p:txBody>
      </p:sp>
      <p:sp>
        <p:nvSpPr>
          <p:cNvPr id="1955" name="TextShape 5"/>
          <p:cNvSpPr txBox="1"/>
          <p:nvPr/>
        </p:nvSpPr>
        <p:spPr>
          <a:xfrm>
            <a:off x="3850560" y="9428760"/>
            <a:ext cx="2945160" cy="497520"/>
          </a:xfrm>
          <a:prstGeom prst="rect">
            <a:avLst/>
          </a:prstGeom>
          <a:noFill/>
          <a:ln>
            <a:noFill/>
          </a:ln>
        </p:spPr>
        <p:txBody>
          <a:bodyPr anchor="b"/>
          <a:lstStyle/>
          <a:p>
            <a:pPr algn="r">
              <a:lnSpc>
                <a:spcPct val="100000"/>
              </a:lnSpc>
            </a:pPr>
            <a:fld id="{1C8A82A8-9D8C-443A-B731-95EDC17B9DFE}" type="slidenum">
              <a:rPr lang="sv-SE" sz="1200" b="0" strike="noStrike" spc="-1">
                <a:solidFill>
                  <a:srgbClr val="000000"/>
                </a:solidFill>
                <a:uFill>
                  <a:solidFill>
                    <a:srgbClr val="FFFFFF"/>
                  </a:solidFill>
                </a:uFill>
                <a:latin typeface="Ericsson Hilda Light"/>
              </a:rPr>
              <a:t>13</a:t>
            </a:fld>
            <a:endParaRPr lang="sv-SE" sz="12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38444616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6" name="PlaceHolder 1"/>
          <p:cNvSpPr>
            <a:spLocks noGrp="1"/>
          </p:cNvSpPr>
          <p:nvPr>
            <p:ph type="body"/>
          </p:nvPr>
        </p:nvSpPr>
        <p:spPr>
          <a:xfrm>
            <a:off x="679680" y="4777200"/>
            <a:ext cx="5437800" cy="3908160"/>
          </a:xfrm>
          <a:prstGeom prst="rect">
            <a:avLst/>
          </a:prstGeom>
        </p:spPr>
        <p:txBody>
          <a:bodyPr/>
          <a:lstStyle/>
          <a:p>
            <a:endParaRPr lang="sv-SE" sz="2000" b="0" strike="noStrike" spc="-1">
              <a:solidFill>
                <a:srgbClr val="000000"/>
              </a:solidFill>
              <a:uFill>
                <a:solidFill>
                  <a:srgbClr val="FFFFFF"/>
                </a:solidFill>
              </a:uFill>
              <a:latin typeface="Arial"/>
            </a:endParaRPr>
          </a:p>
        </p:txBody>
      </p:sp>
      <p:sp>
        <p:nvSpPr>
          <p:cNvPr id="1957" name="TextShape 2"/>
          <p:cNvSpPr txBox="1"/>
          <p:nvPr/>
        </p:nvSpPr>
        <p:spPr>
          <a:xfrm>
            <a:off x="0" y="0"/>
            <a:ext cx="2945160" cy="497520"/>
          </a:xfrm>
          <a:prstGeom prst="rect">
            <a:avLst/>
          </a:prstGeom>
          <a:noFill/>
          <a:ln>
            <a:noFill/>
          </a:ln>
        </p:spPr>
        <p:txBody>
          <a:bodyPr/>
          <a:lstStyle/>
          <a:p>
            <a:pPr>
              <a:lnSpc>
                <a:spcPct val="100000"/>
              </a:lnSpc>
            </a:pPr>
            <a:r>
              <a:rPr lang="sv-SE" sz="1200" b="0" strike="noStrike" spc="-1">
                <a:solidFill>
                  <a:srgbClr val="000000"/>
                </a:solidFill>
                <a:uFill>
                  <a:solidFill>
                    <a:srgbClr val="FFFFFF"/>
                  </a:solidFill>
                </a:uFill>
                <a:latin typeface="Ericsson Hilda Light"/>
                <a:ea typeface="+mn-ea"/>
              </a:rPr>
              <a:t>Test document 2 </a:t>
            </a:r>
            <a:endParaRPr lang="sv-SE" sz="1200" b="0" strike="noStrike" spc="-1">
              <a:solidFill>
                <a:srgbClr val="000000"/>
              </a:solidFill>
              <a:uFill>
                <a:solidFill>
                  <a:srgbClr val="FFFFFF"/>
                </a:solidFill>
              </a:uFill>
              <a:latin typeface="Times New Roman"/>
            </a:endParaRPr>
          </a:p>
        </p:txBody>
      </p:sp>
      <p:sp>
        <p:nvSpPr>
          <p:cNvPr id="1958" name="TextShape 3"/>
          <p:cNvSpPr txBox="1"/>
          <p:nvPr/>
        </p:nvSpPr>
        <p:spPr>
          <a:xfrm>
            <a:off x="3850560" y="0"/>
            <a:ext cx="2945160" cy="497520"/>
          </a:xfrm>
          <a:prstGeom prst="rect">
            <a:avLst/>
          </a:prstGeom>
          <a:noFill/>
          <a:ln>
            <a:noFill/>
          </a:ln>
        </p:spPr>
        <p:txBody>
          <a:bodyPr/>
          <a:lstStyle/>
          <a:p>
            <a:pPr algn="r">
              <a:lnSpc>
                <a:spcPct val="100000"/>
              </a:lnSpc>
            </a:pPr>
            <a:r>
              <a:rPr lang="sv-SE" sz="1200" b="0" strike="noStrike" spc="-1">
                <a:solidFill>
                  <a:srgbClr val="000000"/>
                </a:solidFill>
                <a:uFill>
                  <a:solidFill>
                    <a:srgbClr val="FFFFFF"/>
                  </a:solidFill>
                </a:uFill>
                <a:latin typeface="Ericsson Hilda Light"/>
              </a:rPr>
              <a:t> </a:t>
            </a:r>
            <a:endParaRPr lang="sv-SE" sz="1200" b="0" strike="noStrike" spc="-1">
              <a:solidFill>
                <a:srgbClr val="000000"/>
              </a:solidFill>
              <a:uFill>
                <a:solidFill>
                  <a:srgbClr val="FFFFFF"/>
                </a:solidFill>
              </a:uFill>
              <a:latin typeface="Times New Roman"/>
            </a:endParaRPr>
          </a:p>
        </p:txBody>
      </p:sp>
      <p:sp>
        <p:nvSpPr>
          <p:cNvPr id="1959" name="TextShape 4"/>
          <p:cNvSpPr txBox="1"/>
          <p:nvPr/>
        </p:nvSpPr>
        <p:spPr>
          <a:xfrm>
            <a:off x="0" y="9428760"/>
            <a:ext cx="2945160" cy="497520"/>
          </a:xfrm>
          <a:prstGeom prst="rect">
            <a:avLst/>
          </a:prstGeom>
          <a:noFill/>
          <a:ln>
            <a:noFill/>
          </a:ln>
        </p:spPr>
        <p:txBody>
          <a:bodyPr anchor="b"/>
          <a:lstStyle/>
          <a:p>
            <a:pPr>
              <a:lnSpc>
                <a:spcPct val="100000"/>
              </a:lnSpc>
            </a:pPr>
            <a:r>
              <a:rPr lang="sv-SE" sz="1200" b="0" strike="noStrike" spc="-1">
                <a:solidFill>
                  <a:srgbClr val="000000"/>
                </a:solidFill>
                <a:uFill>
                  <a:solidFill>
                    <a:srgbClr val="FFFFFF"/>
                  </a:solidFill>
                </a:uFill>
                <a:latin typeface="Ericsson Hilda Light"/>
              </a:rPr>
              <a:t>1551-192072 Uen, Rev PA1 </a:t>
            </a:r>
            <a:endParaRPr lang="sv-SE" sz="1200" b="0" strike="noStrike" spc="-1">
              <a:solidFill>
                <a:srgbClr val="000000"/>
              </a:solidFill>
              <a:uFill>
                <a:solidFill>
                  <a:srgbClr val="FFFFFF"/>
                </a:solidFill>
              </a:uFill>
              <a:latin typeface="Times New Roman"/>
            </a:endParaRPr>
          </a:p>
        </p:txBody>
      </p:sp>
      <p:sp>
        <p:nvSpPr>
          <p:cNvPr id="1960" name="TextShape 5"/>
          <p:cNvSpPr txBox="1"/>
          <p:nvPr/>
        </p:nvSpPr>
        <p:spPr>
          <a:xfrm>
            <a:off x="3850560" y="9428760"/>
            <a:ext cx="2945160" cy="497520"/>
          </a:xfrm>
          <a:prstGeom prst="rect">
            <a:avLst/>
          </a:prstGeom>
          <a:noFill/>
          <a:ln>
            <a:noFill/>
          </a:ln>
        </p:spPr>
        <p:txBody>
          <a:bodyPr anchor="b"/>
          <a:lstStyle/>
          <a:p>
            <a:pPr algn="r">
              <a:lnSpc>
                <a:spcPct val="100000"/>
              </a:lnSpc>
            </a:pPr>
            <a:fld id="{C532C928-DE79-4445-BD3B-F63D66FBD765}" type="slidenum">
              <a:rPr lang="sv-SE" sz="1200" b="0" strike="noStrike" spc="-1">
                <a:solidFill>
                  <a:srgbClr val="000000"/>
                </a:solidFill>
                <a:uFill>
                  <a:solidFill>
                    <a:srgbClr val="FFFFFF"/>
                  </a:solidFill>
                </a:uFill>
                <a:latin typeface="Ericsson Hilda Light"/>
              </a:rPr>
              <a:t>14</a:t>
            </a:fld>
            <a:endParaRPr lang="sv-SE" sz="1200" b="0" strike="noStrike" spc="-1">
              <a:solidFill>
                <a:srgbClr val="000000"/>
              </a:solidFill>
              <a:uFill>
                <a:solidFill>
                  <a:srgbClr val="FFFFFF"/>
                </a:solidFill>
              </a:uFill>
              <a:latin typeface="Times New Roman"/>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sv-SE"/>
              <a:t>Kebba</a:t>
            </a:r>
            <a:endParaRPr lang="en-SE"/>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15</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30633508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sv-SE"/>
              <a:t>Pihl &amp; Martin</a:t>
            </a:r>
            <a:endParaRPr lang="en-SE"/>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16</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39469165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sv-SE"/>
              <a:t>Pihl &amp; Martin</a:t>
            </a:r>
            <a:endParaRPr lang="en-SE"/>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17</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36217026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sv-SE"/>
              <a:t>Pihl &amp; Martin</a:t>
            </a:r>
            <a:endParaRPr lang="en-SE"/>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18</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23066286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sv-SE" dirty="0"/>
              <a:t>Pihl &amp; Martin</a:t>
            </a:r>
            <a:endParaRPr lang="en-SE" dirty="0"/>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19</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32052676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6" name="PlaceHolder 1"/>
          <p:cNvSpPr>
            <a:spLocks noGrp="1"/>
          </p:cNvSpPr>
          <p:nvPr>
            <p:ph type="body"/>
          </p:nvPr>
        </p:nvSpPr>
        <p:spPr>
          <a:xfrm>
            <a:off x="679680" y="4777200"/>
            <a:ext cx="5437800" cy="3908160"/>
          </a:xfrm>
          <a:prstGeom prst="rect">
            <a:avLst/>
          </a:prstGeom>
        </p:spPr>
        <p:txBody>
          <a:bodyPr/>
          <a:lstStyle/>
          <a:p>
            <a:endParaRPr lang="sv-SE" sz="2000" b="0" strike="noStrike" spc="-1">
              <a:solidFill>
                <a:srgbClr val="000000"/>
              </a:solidFill>
              <a:uFill>
                <a:solidFill>
                  <a:srgbClr val="FFFFFF"/>
                </a:solidFill>
              </a:uFill>
              <a:latin typeface="Arial"/>
            </a:endParaRPr>
          </a:p>
        </p:txBody>
      </p:sp>
      <p:sp>
        <p:nvSpPr>
          <p:cNvPr id="1957" name="TextShape 2"/>
          <p:cNvSpPr txBox="1"/>
          <p:nvPr/>
        </p:nvSpPr>
        <p:spPr>
          <a:xfrm>
            <a:off x="0" y="0"/>
            <a:ext cx="2945160" cy="497520"/>
          </a:xfrm>
          <a:prstGeom prst="rect">
            <a:avLst/>
          </a:prstGeom>
          <a:noFill/>
          <a:ln>
            <a:noFill/>
          </a:ln>
        </p:spPr>
        <p:txBody>
          <a:bodyPr/>
          <a:lstStyle/>
          <a:p>
            <a:pPr>
              <a:lnSpc>
                <a:spcPct val="100000"/>
              </a:lnSpc>
            </a:pPr>
            <a:r>
              <a:rPr lang="sv-SE" sz="1200" b="0" strike="noStrike" spc="-1">
                <a:solidFill>
                  <a:srgbClr val="000000"/>
                </a:solidFill>
                <a:uFill>
                  <a:solidFill>
                    <a:srgbClr val="FFFFFF"/>
                  </a:solidFill>
                </a:uFill>
                <a:latin typeface="Ericsson Hilda Light"/>
                <a:ea typeface="+mn-ea"/>
              </a:rPr>
              <a:t>Test document 2 </a:t>
            </a:r>
            <a:endParaRPr lang="sv-SE" sz="1200" b="0" strike="noStrike" spc="-1">
              <a:solidFill>
                <a:srgbClr val="000000"/>
              </a:solidFill>
              <a:uFill>
                <a:solidFill>
                  <a:srgbClr val="FFFFFF"/>
                </a:solidFill>
              </a:uFill>
              <a:latin typeface="Times New Roman"/>
            </a:endParaRPr>
          </a:p>
        </p:txBody>
      </p:sp>
      <p:sp>
        <p:nvSpPr>
          <p:cNvPr id="1958" name="TextShape 3"/>
          <p:cNvSpPr txBox="1"/>
          <p:nvPr/>
        </p:nvSpPr>
        <p:spPr>
          <a:xfrm>
            <a:off x="3850560" y="0"/>
            <a:ext cx="2945160" cy="497520"/>
          </a:xfrm>
          <a:prstGeom prst="rect">
            <a:avLst/>
          </a:prstGeom>
          <a:noFill/>
          <a:ln>
            <a:noFill/>
          </a:ln>
        </p:spPr>
        <p:txBody>
          <a:bodyPr/>
          <a:lstStyle/>
          <a:p>
            <a:pPr algn="r">
              <a:lnSpc>
                <a:spcPct val="100000"/>
              </a:lnSpc>
            </a:pPr>
            <a:r>
              <a:rPr lang="sv-SE" sz="1200" b="0" strike="noStrike" spc="-1">
                <a:solidFill>
                  <a:srgbClr val="000000"/>
                </a:solidFill>
                <a:uFill>
                  <a:solidFill>
                    <a:srgbClr val="FFFFFF"/>
                  </a:solidFill>
                </a:uFill>
                <a:latin typeface="Ericsson Hilda Light"/>
              </a:rPr>
              <a:t> </a:t>
            </a:r>
            <a:endParaRPr lang="sv-SE" sz="1200" b="0" strike="noStrike" spc="-1">
              <a:solidFill>
                <a:srgbClr val="000000"/>
              </a:solidFill>
              <a:uFill>
                <a:solidFill>
                  <a:srgbClr val="FFFFFF"/>
                </a:solidFill>
              </a:uFill>
              <a:latin typeface="Times New Roman"/>
            </a:endParaRPr>
          </a:p>
        </p:txBody>
      </p:sp>
      <p:sp>
        <p:nvSpPr>
          <p:cNvPr id="1959" name="TextShape 4"/>
          <p:cNvSpPr txBox="1"/>
          <p:nvPr/>
        </p:nvSpPr>
        <p:spPr>
          <a:xfrm>
            <a:off x="0" y="9428760"/>
            <a:ext cx="2945160" cy="497520"/>
          </a:xfrm>
          <a:prstGeom prst="rect">
            <a:avLst/>
          </a:prstGeom>
          <a:noFill/>
          <a:ln>
            <a:noFill/>
          </a:ln>
        </p:spPr>
        <p:txBody>
          <a:bodyPr anchor="b"/>
          <a:lstStyle/>
          <a:p>
            <a:pPr>
              <a:lnSpc>
                <a:spcPct val="100000"/>
              </a:lnSpc>
            </a:pPr>
            <a:r>
              <a:rPr lang="sv-SE" sz="1200" b="0" strike="noStrike" spc="-1">
                <a:solidFill>
                  <a:srgbClr val="000000"/>
                </a:solidFill>
                <a:uFill>
                  <a:solidFill>
                    <a:srgbClr val="FFFFFF"/>
                  </a:solidFill>
                </a:uFill>
                <a:latin typeface="Ericsson Hilda Light"/>
              </a:rPr>
              <a:t>1551-192072 Uen, Rev PA1 </a:t>
            </a:r>
            <a:endParaRPr lang="sv-SE" sz="1200" b="0" strike="noStrike" spc="-1">
              <a:solidFill>
                <a:srgbClr val="000000"/>
              </a:solidFill>
              <a:uFill>
                <a:solidFill>
                  <a:srgbClr val="FFFFFF"/>
                </a:solidFill>
              </a:uFill>
              <a:latin typeface="Times New Roman"/>
            </a:endParaRPr>
          </a:p>
        </p:txBody>
      </p:sp>
      <p:sp>
        <p:nvSpPr>
          <p:cNvPr id="1960" name="TextShape 5"/>
          <p:cNvSpPr txBox="1"/>
          <p:nvPr/>
        </p:nvSpPr>
        <p:spPr>
          <a:xfrm>
            <a:off x="3850560" y="9428760"/>
            <a:ext cx="2945160" cy="497520"/>
          </a:xfrm>
          <a:prstGeom prst="rect">
            <a:avLst/>
          </a:prstGeom>
          <a:noFill/>
          <a:ln>
            <a:noFill/>
          </a:ln>
        </p:spPr>
        <p:txBody>
          <a:bodyPr anchor="b"/>
          <a:lstStyle/>
          <a:p>
            <a:pPr algn="r">
              <a:lnSpc>
                <a:spcPct val="100000"/>
              </a:lnSpc>
            </a:pPr>
            <a:fld id="{C532C928-DE79-4445-BD3B-F63D66FBD765}" type="slidenum">
              <a:rPr lang="sv-SE" sz="1200" b="0" strike="noStrike" spc="-1">
                <a:solidFill>
                  <a:srgbClr val="000000"/>
                </a:solidFill>
                <a:uFill>
                  <a:solidFill>
                    <a:srgbClr val="FFFFFF"/>
                  </a:solidFill>
                </a:uFill>
                <a:latin typeface="Ericsson Hilda Light"/>
              </a:rPr>
              <a:t>2</a:t>
            </a:fld>
            <a:endParaRPr lang="sv-SE" sz="1200" b="0" strike="noStrike" spc="-1">
              <a:solidFill>
                <a:srgbClr val="000000"/>
              </a:solidFill>
              <a:uFill>
                <a:solidFill>
                  <a:srgbClr val="FFFFFF"/>
                </a:solidFill>
              </a:uFill>
              <a:latin typeface="Times New Roman"/>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21</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39646216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22</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32003391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24</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21449543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sv-SE" dirty="0"/>
              <a:t>Pihl &amp; Martin</a:t>
            </a:r>
            <a:endParaRPr lang="en-SE" dirty="0"/>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30</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32194759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sv-SE" dirty="0"/>
              <a:t>Aidin:</a:t>
            </a:r>
          </a:p>
          <a:p>
            <a:endParaRPr lang="sv-SE" dirty="0"/>
          </a:p>
          <a:p>
            <a:pPr marL="344170" indent="-343535">
              <a:lnSpc>
                <a:spcPct val="100000"/>
              </a:lnSpc>
              <a:buClr>
                <a:srgbClr val="181818"/>
              </a:buClr>
              <a:buFont typeface="Ericsson Hilda Light"/>
              <a:buChar char="—"/>
            </a:pPr>
            <a:r>
              <a:rPr lang="sv-SE" sz="2000" b="0" strike="noStrike" spc="-1" dirty="0">
                <a:solidFill>
                  <a:srgbClr val="181818"/>
                </a:solidFill>
                <a:uFill>
                  <a:solidFill>
                    <a:srgbClr val="FFFFFF"/>
                  </a:solidFill>
                </a:uFill>
                <a:latin typeface="Ericsson Hilda" panose="00000500000000000000" pitchFamily="2" charset="0"/>
              </a:rPr>
              <a:t>Hårdvarumiljö med färdigmonterade komponenter</a:t>
            </a:r>
          </a:p>
          <a:p>
            <a:pPr marL="344170" indent="-343535">
              <a:lnSpc>
                <a:spcPct val="100000"/>
              </a:lnSpc>
              <a:buClr>
                <a:srgbClr val="181818"/>
              </a:buClr>
              <a:buFont typeface="Ericsson Hilda Light"/>
              <a:buChar char="—"/>
            </a:pPr>
            <a:r>
              <a:rPr lang="sv-SE" sz="2000" spc="-1" dirty="0">
                <a:solidFill>
                  <a:srgbClr val="181818"/>
                </a:solidFill>
                <a:uFill>
                  <a:solidFill>
                    <a:srgbClr val="FFFFFF"/>
                  </a:solidFill>
                </a:uFill>
                <a:latin typeface="Ericsson Hilda" panose="00000500000000000000" pitchFamily="2" charset="0"/>
              </a:rPr>
              <a:t>Styrs av en Arduino Uno</a:t>
            </a:r>
          </a:p>
          <a:p>
            <a:pPr marL="801370" lvl="1" indent="-343535">
              <a:buClr>
                <a:srgbClr val="181818"/>
              </a:buClr>
              <a:buFont typeface="Ericsson Hilda Light"/>
              <a:buChar char="—"/>
            </a:pPr>
            <a:r>
              <a:rPr lang="sv-SE" sz="2000" b="0" strike="noStrike" spc="-1" dirty="0">
                <a:solidFill>
                  <a:srgbClr val="181818"/>
                </a:solidFill>
                <a:uFill>
                  <a:solidFill>
                    <a:srgbClr val="FFFFFF"/>
                  </a:solidFill>
                </a:uFill>
                <a:latin typeface="Ericsson Hilda" panose="00000500000000000000" pitchFamily="2" charset="0"/>
              </a:rPr>
              <a:t>mikrokontrollerkort</a:t>
            </a:r>
          </a:p>
          <a:p>
            <a:pPr marL="344170" indent="-343535">
              <a:lnSpc>
                <a:spcPct val="100000"/>
              </a:lnSpc>
              <a:buClr>
                <a:srgbClr val="181818"/>
              </a:buClr>
              <a:buFont typeface="Ericsson Hilda Light"/>
              <a:buChar char="—"/>
            </a:pPr>
            <a:r>
              <a:rPr lang="sv-SE" sz="2000" spc="-1" dirty="0">
                <a:solidFill>
                  <a:srgbClr val="000000"/>
                </a:solidFill>
                <a:uFill>
                  <a:solidFill>
                    <a:srgbClr val="FFFFFF"/>
                  </a:solidFill>
                </a:uFill>
                <a:latin typeface="Ericsson Hilda" panose="00000500000000000000" pitchFamily="2" charset="0"/>
              </a:rPr>
              <a:t>möjliggör en strukturerad mjukvaruutveckling</a:t>
            </a:r>
          </a:p>
          <a:p>
            <a:pPr marL="344170" indent="-343535">
              <a:lnSpc>
                <a:spcPct val="100000"/>
              </a:lnSpc>
              <a:buClr>
                <a:srgbClr val="181818"/>
              </a:buClr>
              <a:buFont typeface="Ericsson Hilda Light"/>
              <a:buChar char="—"/>
            </a:pPr>
            <a:endParaRPr lang="sv-SE" sz="2000" spc="-1" dirty="0">
              <a:solidFill>
                <a:srgbClr val="000000"/>
              </a:solidFill>
              <a:uFill>
                <a:solidFill>
                  <a:srgbClr val="FFFFFF"/>
                </a:solidFill>
              </a:uFill>
              <a:latin typeface="Ericsson Hilda" panose="00000500000000000000" pitchFamily="2" charset="0"/>
            </a:endParaRPr>
          </a:p>
          <a:p>
            <a:endParaRPr lang="en-SE" dirty="0"/>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31</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10809503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3825" y="509588"/>
            <a:ext cx="6789738" cy="3819525"/>
          </a:xfrm>
        </p:spPr>
      </p:sp>
      <p:sp>
        <p:nvSpPr>
          <p:cNvPr id="3" name="Notes Placeholder 2"/>
          <p:cNvSpPr>
            <a:spLocks noGrp="1"/>
          </p:cNvSpPr>
          <p:nvPr>
            <p:ph type="body" idx="1"/>
          </p:nvPr>
        </p:nvSpPr>
        <p:spPr/>
        <p:txBody>
          <a:bodyPr/>
          <a:lstStyle/>
          <a:p>
            <a:pPr defTabSz="482940" eaLnBrk="0" hangingPunct="0">
              <a:defRPr/>
            </a:pPr>
            <a:r>
              <a:rPr lang="en-US"/>
              <a:t>Martin</a:t>
            </a:r>
          </a:p>
        </p:txBody>
      </p:sp>
      <p:sp>
        <p:nvSpPr>
          <p:cNvPr id="4" name="Slide Number Placeholder 3"/>
          <p:cNvSpPr>
            <a:spLocks noGrp="1"/>
          </p:cNvSpPr>
          <p:nvPr>
            <p:ph type="sldNum" sz="quarter" idx="10"/>
          </p:nvPr>
        </p:nvSpPr>
        <p:spPr/>
        <p:txBody>
          <a:bodyPr/>
          <a:lstStyle/>
          <a:p>
            <a:pPr>
              <a:defRPr/>
            </a:pPr>
            <a:fld id="{C0F31F9F-4215-4B40-A49E-AF839AF07B12}" type="slidenum">
              <a:rPr lang="en-US" smtClean="0">
                <a:solidFill>
                  <a:prstClr val="black"/>
                </a:solidFill>
              </a:rPr>
              <a:t>32</a:t>
            </a:fld>
            <a:endParaRPr lang="en-US">
              <a:solidFill>
                <a:prstClr val="black"/>
              </a:solidFill>
            </a:endParaRPr>
          </a:p>
        </p:txBody>
      </p:sp>
      <p:sp>
        <p:nvSpPr>
          <p:cNvPr id="5" name="Header Placeholder 4"/>
          <p:cNvSpPr>
            <a:spLocks noGrp="1"/>
          </p:cNvSpPr>
          <p:nvPr>
            <p:ph type="hdr" sz="quarter"/>
          </p:nvPr>
        </p:nvSpPr>
        <p:spPr/>
        <p:txBody>
          <a:bodyPr/>
          <a:lstStyle/>
          <a:p>
            <a:r>
              <a:rPr lang="en-US"/>
              <a:t>Talent Acquisition MOAI </a:t>
            </a:r>
          </a:p>
        </p:txBody>
      </p:sp>
      <p:sp>
        <p:nvSpPr>
          <p:cNvPr id="6" name="Footer Placeholder 5"/>
          <p:cNvSpPr>
            <a:spLocks noGrp="1"/>
          </p:cNvSpPr>
          <p:nvPr>
            <p:ph type="ftr" sz="quarter" idx="4"/>
          </p:nvPr>
        </p:nvSpPr>
        <p:spPr/>
        <p:txBody>
          <a:bodyPr/>
          <a:lstStyle/>
          <a:p>
            <a:r>
              <a:rPr lang="en-US"/>
              <a:t> </a:t>
            </a:r>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6626963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3825" y="509588"/>
            <a:ext cx="6789738" cy="3819525"/>
          </a:xfrm>
        </p:spPr>
      </p:sp>
      <p:sp>
        <p:nvSpPr>
          <p:cNvPr id="3" name="Notes Placeholder 2"/>
          <p:cNvSpPr>
            <a:spLocks noGrp="1"/>
          </p:cNvSpPr>
          <p:nvPr>
            <p:ph type="body" idx="1"/>
          </p:nvPr>
        </p:nvSpPr>
        <p:spPr/>
        <p:txBody>
          <a:bodyPr/>
          <a:lstStyle/>
          <a:p>
            <a:pPr defTabSz="482940" eaLnBrk="0" hangingPunct="0">
              <a:defRPr/>
            </a:pPr>
            <a:r>
              <a:rPr lang="en-US"/>
              <a:t>Emil tar</a:t>
            </a:r>
          </a:p>
        </p:txBody>
      </p:sp>
      <p:sp>
        <p:nvSpPr>
          <p:cNvPr id="4" name="Slide Number Placeholder 3"/>
          <p:cNvSpPr>
            <a:spLocks noGrp="1"/>
          </p:cNvSpPr>
          <p:nvPr>
            <p:ph type="sldNum" sz="quarter" idx="10"/>
          </p:nvPr>
        </p:nvSpPr>
        <p:spPr/>
        <p:txBody>
          <a:bodyPr/>
          <a:lstStyle/>
          <a:p>
            <a:pPr>
              <a:defRPr/>
            </a:pPr>
            <a:fld id="{C0F31F9F-4215-4B40-A49E-AF839AF07B12}" type="slidenum">
              <a:rPr lang="en-US" smtClean="0">
                <a:solidFill>
                  <a:prstClr val="black"/>
                </a:solidFill>
              </a:rPr>
              <a:t>33</a:t>
            </a:fld>
            <a:endParaRPr lang="en-US">
              <a:solidFill>
                <a:prstClr val="black"/>
              </a:solidFill>
            </a:endParaRPr>
          </a:p>
        </p:txBody>
      </p:sp>
      <p:sp>
        <p:nvSpPr>
          <p:cNvPr id="5" name="Header Placeholder 4"/>
          <p:cNvSpPr>
            <a:spLocks noGrp="1"/>
          </p:cNvSpPr>
          <p:nvPr>
            <p:ph type="hdr" sz="quarter"/>
          </p:nvPr>
        </p:nvSpPr>
        <p:spPr/>
        <p:txBody>
          <a:bodyPr/>
          <a:lstStyle/>
          <a:p>
            <a:r>
              <a:rPr lang="en-US"/>
              <a:t>Talent Acquisition MOAI </a:t>
            </a:r>
          </a:p>
        </p:txBody>
      </p:sp>
      <p:sp>
        <p:nvSpPr>
          <p:cNvPr id="6" name="Footer Placeholder 5"/>
          <p:cNvSpPr>
            <a:spLocks noGrp="1"/>
          </p:cNvSpPr>
          <p:nvPr>
            <p:ph type="ftr" sz="quarter" idx="4"/>
          </p:nvPr>
        </p:nvSpPr>
        <p:spPr/>
        <p:txBody>
          <a:bodyPr/>
          <a:lstStyle/>
          <a:p>
            <a:r>
              <a:rPr lang="en-US"/>
              <a:t> </a:t>
            </a:r>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1200694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3825" y="509588"/>
            <a:ext cx="6789738" cy="3819525"/>
          </a:xfrm>
        </p:spPr>
      </p:sp>
      <p:sp>
        <p:nvSpPr>
          <p:cNvPr id="3" name="Notes Placeholder 2"/>
          <p:cNvSpPr>
            <a:spLocks noGrp="1"/>
          </p:cNvSpPr>
          <p:nvPr>
            <p:ph type="body" idx="1"/>
          </p:nvPr>
        </p:nvSpPr>
        <p:spPr/>
        <p:txBody>
          <a:bodyPr/>
          <a:lstStyle/>
          <a:p>
            <a:pPr defTabSz="482940" eaLnBrk="0" hangingPunct="0">
              <a:defRPr/>
            </a:pPr>
            <a:r>
              <a:rPr lang="en-US" dirty="0"/>
              <a:t>Emil tar</a:t>
            </a:r>
          </a:p>
        </p:txBody>
      </p:sp>
      <p:sp>
        <p:nvSpPr>
          <p:cNvPr id="4" name="Slide Number Placeholder 3"/>
          <p:cNvSpPr>
            <a:spLocks noGrp="1"/>
          </p:cNvSpPr>
          <p:nvPr>
            <p:ph type="sldNum" sz="quarter" idx="10"/>
          </p:nvPr>
        </p:nvSpPr>
        <p:spPr/>
        <p:txBody>
          <a:bodyPr/>
          <a:lstStyle/>
          <a:p>
            <a:pPr>
              <a:defRPr/>
            </a:pPr>
            <a:fld id="{C0F31F9F-4215-4B40-A49E-AF839AF07B12}" type="slidenum">
              <a:rPr lang="en-US" smtClean="0">
                <a:solidFill>
                  <a:prstClr val="black"/>
                </a:solidFill>
              </a:rPr>
              <a:t>34</a:t>
            </a:fld>
            <a:endParaRPr lang="en-US">
              <a:solidFill>
                <a:prstClr val="black"/>
              </a:solidFill>
            </a:endParaRPr>
          </a:p>
        </p:txBody>
      </p:sp>
      <p:sp>
        <p:nvSpPr>
          <p:cNvPr id="5" name="Header Placeholder 4"/>
          <p:cNvSpPr>
            <a:spLocks noGrp="1"/>
          </p:cNvSpPr>
          <p:nvPr>
            <p:ph type="hdr" sz="quarter"/>
          </p:nvPr>
        </p:nvSpPr>
        <p:spPr/>
        <p:txBody>
          <a:bodyPr/>
          <a:lstStyle/>
          <a:p>
            <a:r>
              <a:rPr lang="en-US"/>
              <a:t>Talent Acquisition MOAI </a:t>
            </a:r>
          </a:p>
        </p:txBody>
      </p:sp>
      <p:sp>
        <p:nvSpPr>
          <p:cNvPr id="6" name="Footer Placeholder 5"/>
          <p:cNvSpPr>
            <a:spLocks noGrp="1"/>
          </p:cNvSpPr>
          <p:nvPr>
            <p:ph type="ftr" sz="quarter" idx="4"/>
          </p:nvPr>
        </p:nvSpPr>
        <p:spPr/>
        <p:txBody>
          <a:bodyPr/>
          <a:lstStyle/>
          <a:p>
            <a:r>
              <a:rPr lang="en-US"/>
              <a:t> </a:t>
            </a:r>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5165221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sv-SE"/>
              <a:t>Pille och K</a:t>
            </a:r>
            <a:endParaRPr lang="en-SE"/>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35</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13245458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a:t>Pille och K</a:t>
            </a:r>
            <a:endParaRPr lang="en-SE"/>
          </a:p>
          <a:p>
            <a:endParaRPr lang="en-SE"/>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36</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42192845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sv-SE" dirty="0"/>
              <a:t>Martyn tar:</a:t>
            </a:r>
          </a:p>
          <a:p>
            <a:endParaRPr lang="en-GB" dirty="0"/>
          </a:p>
          <a:p>
            <a:pPr marL="344170" indent="-343535">
              <a:lnSpc>
                <a:spcPct val="100000"/>
              </a:lnSpc>
              <a:buClr>
                <a:srgbClr val="181818"/>
              </a:buClr>
              <a:buFont typeface="Ericsson Hilda Light"/>
              <a:buChar char="—"/>
            </a:pPr>
            <a:r>
              <a:rPr lang="sv-SE" sz="1200" spc="-1" dirty="0">
                <a:solidFill>
                  <a:srgbClr val="181818"/>
                </a:solidFill>
                <a:uFill>
                  <a:solidFill>
                    <a:srgbClr val="FFFFFF"/>
                  </a:solidFill>
                </a:uFill>
                <a:latin typeface="Ericsson Hilda" panose="00000500000000000000" pitchFamily="2" charset="0"/>
              </a:rPr>
              <a:t>Sidoscrollande Enspelarspel</a:t>
            </a:r>
            <a:endParaRPr lang="sv-SE" sz="1200" b="0" strike="noStrike" spc="-1" dirty="0">
              <a:solidFill>
                <a:srgbClr val="000000"/>
              </a:solidFill>
              <a:uFill>
                <a:solidFill>
                  <a:srgbClr val="FFFFFF"/>
                </a:solidFill>
              </a:uFill>
              <a:latin typeface="Ericsson Hilda" panose="00000500000000000000" pitchFamily="2" charset="0"/>
            </a:endParaRPr>
          </a:p>
          <a:p>
            <a:pPr marL="344170" indent="-343535">
              <a:lnSpc>
                <a:spcPct val="100000"/>
              </a:lnSpc>
              <a:buClr>
                <a:srgbClr val="181818"/>
              </a:buClr>
              <a:buFont typeface="Ericsson Hilda Light"/>
              <a:buChar char="—"/>
            </a:pPr>
            <a:r>
              <a:rPr lang="sv-SE" sz="1200" b="0" strike="noStrike" spc="-1" dirty="0">
                <a:solidFill>
                  <a:srgbClr val="000000"/>
                </a:solidFill>
                <a:uFill>
                  <a:solidFill>
                    <a:srgbClr val="FFFFFF"/>
                  </a:solidFill>
                </a:uFill>
                <a:latin typeface="Ericsson Hilda" panose="00000500000000000000" pitchFamily="2" charset="0"/>
              </a:rPr>
              <a:t>Spelare undviker hinder för högre poäng</a:t>
            </a:r>
            <a:endParaRPr lang="sv-SE" sz="1200" spc="-1" dirty="0">
              <a:solidFill>
                <a:srgbClr val="000000"/>
              </a:solidFill>
              <a:uFill>
                <a:solidFill>
                  <a:srgbClr val="FFFFFF"/>
                </a:solidFill>
              </a:uFill>
              <a:latin typeface="Ericsson Hilda" panose="00000500000000000000" pitchFamily="2" charset="0"/>
            </a:endParaRPr>
          </a:p>
          <a:p>
            <a:pPr marL="344170" indent="-343535">
              <a:lnSpc>
                <a:spcPct val="100000"/>
              </a:lnSpc>
              <a:buClr>
                <a:srgbClr val="181818"/>
              </a:buClr>
              <a:buFont typeface="Ericsson Hilda Light"/>
              <a:buChar char="—"/>
            </a:pPr>
            <a:r>
              <a:rPr lang="sv-SE" sz="1200" b="0" strike="noStrike" spc="-1" dirty="0">
                <a:solidFill>
                  <a:srgbClr val="000000"/>
                </a:solidFill>
                <a:uFill>
                  <a:solidFill>
                    <a:srgbClr val="FFFFFF"/>
                  </a:solidFill>
                </a:uFill>
                <a:latin typeface="Ericsson Hilda" panose="00000500000000000000" pitchFamily="2" charset="0"/>
              </a:rPr>
              <a:t>Inspirerat av Google:s </a:t>
            </a:r>
            <a:r>
              <a:rPr lang="sv-SE" sz="1200" i="1" spc="-1" dirty="0">
                <a:solidFill>
                  <a:srgbClr val="000000"/>
                </a:solidFill>
                <a:uFill>
                  <a:solidFill>
                    <a:srgbClr val="FFFFFF"/>
                  </a:solidFill>
                </a:uFill>
                <a:latin typeface="Ericsson Hilda" panose="00000500000000000000" pitchFamily="2" charset="0"/>
              </a:rPr>
              <a:t>Dinosaur Game</a:t>
            </a:r>
          </a:p>
          <a:p>
            <a:pPr marL="344170" indent="-343535">
              <a:lnSpc>
                <a:spcPct val="100000"/>
              </a:lnSpc>
              <a:buClr>
                <a:srgbClr val="181818"/>
              </a:buClr>
              <a:buFont typeface="Ericsson Hilda Light"/>
              <a:buChar char="—"/>
            </a:pPr>
            <a:endParaRPr lang="sv-SE" sz="1200" b="0" strike="noStrike" spc="-1" dirty="0">
              <a:solidFill>
                <a:srgbClr val="000000"/>
              </a:solidFill>
              <a:uFill>
                <a:solidFill>
                  <a:srgbClr val="FFFFFF"/>
                </a:solidFill>
              </a:uFill>
              <a:latin typeface="Ericsson Hilda" panose="00000500000000000000" pitchFamily="2" charset="0"/>
            </a:endParaRPr>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3</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18115182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sv-SE"/>
              <a:t>Aidin</a:t>
            </a:r>
            <a:endParaRPr lang="en-SE"/>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37</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3708354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en-SE">
                <a:cs typeface="Arial"/>
              </a:rPr>
              <a:t>Martin </a:t>
            </a:r>
            <a:endParaRPr lang="en-SE"/>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38</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17761654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1" name="PlaceHolder 1"/>
          <p:cNvSpPr>
            <a:spLocks noGrp="1"/>
          </p:cNvSpPr>
          <p:nvPr>
            <p:ph type="body"/>
          </p:nvPr>
        </p:nvSpPr>
        <p:spPr>
          <a:xfrm>
            <a:off x="679680" y="4777200"/>
            <a:ext cx="5437800" cy="3908160"/>
          </a:xfrm>
          <a:prstGeom prst="rect">
            <a:avLst/>
          </a:prstGeom>
        </p:spPr>
        <p:txBody>
          <a:bodyPr/>
          <a:lstStyle/>
          <a:p>
            <a:endParaRPr lang="sv-SE" sz="2000" b="0" strike="noStrike" spc="-1">
              <a:solidFill>
                <a:srgbClr val="000000"/>
              </a:solidFill>
              <a:uFill>
                <a:solidFill>
                  <a:srgbClr val="FFFFFF"/>
                </a:solidFill>
              </a:uFill>
              <a:latin typeface="Arial"/>
            </a:endParaRPr>
          </a:p>
        </p:txBody>
      </p:sp>
      <p:sp>
        <p:nvSpPr>
          <p:cNvPr id="1962" name="TextShape 2"/>
          <p:cNvSpPr txBox="1"/>
          <p:nvPr/>
        </p:nvSpPr>
        <p:spPr>
          <a:xfrm>
            <a:off x="0" y="0"/>
            <a:ext cx="2945160" cy="497520"/>
          </a:xfrm>
          <a:prstGeom prst="rect">
            <a:avLst/>
          </a:prstGeom>
          <a:noFill/>
          <a:ln>
            <a:noFill/>
          </a:ln>
        </p:spPr>
        <p:txBody>
          <a:bodyPr/>
          <a:lstStyle/>
          <a:p>
            <a:pPr>
              <a:lnSpc>
                <a:spcPct val="100000"/>
              </a:lnSpc>
            </a:pPr>
            <a:r>
              <a:rPr lang="sv-SE" sz="1200" b="0" strike="noStrike" spc="-1">
                <a:solidFill>
                  <a:srgbClr val="000000"/>
                </a:solidFill>
                <a:uFill>
                  <a:solidFill>
                    <a:srgbClr val="FFFFFF"/>
                  </a:solidFill>
                </a:uFill>
                <a:latin typeface="Ericsson Hilda Light"/>
                <a:ea typeface="+mn-ea"/>
              </a:rPr>
              <a:t>Test document 2 </a:t>
            </a:r>
            <a:endParaRPr lang="sv-SE" sz="1200" b="0" strike="noStrike" spc="-1">
              <a:solidFill>
                <a:srgbClr val="000000"/>
              </a:solidFill>
              <a:uFill>
                <a:solidFill>
                  <a:srgbClr val="FFFFFF"/>
                </a:solidFill>
              </a:uFill>
              <a:latin typeface="Times New Roman"/>
            </a:endParaRPr>
          </a:p>
        </p:txBody>
      </p:sp>
      <p:sp>
        <p:nvSpPr>
          <p:cNvPr id="1963" name="TextShape 3"/>
          <p:cNvSpPr txBox="1"/>
          <p:nvPr/>
        </p:nvSpPr>
        <p:spPr>
          <a:xfrm>
            <a:off x="3850560" y="0"/>
            <a:ext cx="2945160" cy="497520"/>
          </a:xfrm>
          <a:prstGeom prst="rect">
            <a:avLst/>
          </a:prstGeom>
          <a:noFill/>
          <a:ln>
            <a:noFill/>
          </a:ln>
        </p:spPr>
        <p:txBody>
          <a:bodyPr/>
          <a:lstStyle/>
          <a:p>
            <a:pPr algn="r">
              <a:lnSpc>
                <a:spcPct val="100000"/>
              </a:lnSpc>
            </a:pPr>
            <a:r>
              <a:rPr lang="sv-SE" sz="1200" b="0" strike="noStrike" spc="-1">
                <a:solidFill>
                  <a:srgbClr val="000000"/>
                </a:solidFill>
                <a:uFill>
                  <a:solidFill>
                    <a:srgbClr val="FFFFFF"/>
                  </a:solidFill>
                </a:uFill>
                <a:latin typeface="Ericsson Hilda Light"/>
              </a:rPr>
              <a:t> </a:t>
            </a:r>
            <a:endParaRPr lang="sv-SE" sz="1200" b="0" strike="noStrike" spc="-1">
              <a:solidFill>
                <a:srgbClr val="000000"/>
              </a:solidFill>
              <a:uFill>
                <a:solidFill>
                  <a:srgbClr val="FFFFFF"/>
                </a:solidFill>
              </a:uFill>
              <a:latin typeface="Times New Roman"/>
            </a:endParaRPr>
          </a:p>
        </p:txBody>
      </p:sp>
      <p:sp>
        <p:nvSpPr>
          <p:cNvPr id="1964" name="TextShape 4"/>
          <p:cNvSpPr txBox="1"/>
          <p:nvPr/>
        </p:nvSpPr>
        <p:spPr>
          <a:xfrm>
            <a:off x="0" y="9428760"/>
            <a:ext cx="2945160" cy="497520"/>
          </a:xfrm>
          <a:prstGeom prst="rect">
            <a:avLst/>
          </a:prstGeom>
          <a:noFill/>
          <a:ln>
            <a:noFill/>
          </a:ln>
        </p:spPr>
        <p:txBody>
          <a:bodyPr anchor="b"/>
          <a:lstStyle/>
          <a:p>
            <a:pPr>
              <a:lnSpc>
                <a:spcPct val="100000"/>
              </a:lnSpc>
            </a:pPr>
            <a:r>
              <a:rPr lang="sv-SE" sz="1200" b="0" strike="noStrike" spc="-1">
                <a:solidFill>
                  <a:srgbClr val="000000"/>
                </a:solidFill>
                <a:uFill>
                  <a:solidFill>
                    <a:srgbClr val="FFFFFF"/>
                  </a:solidFill>
                </a:uFill>
                <a:latin typeface="Ericsson Hilda Light"/>
              </a:rPr>
              <a:t>1551-192072 Uen, Rev PA1 </a:t>
            </a:r>
            <a:endParaRPr lang="sv-SE" sz="1200" b="0" strike="noStrike" spc="-1">
              <a:solidFill>
                <a:srgbClr val="000000"/>
              </a:solidFill>
              <a:uFill>
                <a:solidFill>
                  <a:srgbClr val="FFFFFF"/>
                </a:solidFill>
              </a:uFill>
              <a:latin typeface="Times New Roman"/>
            </a:endParaRPr>
          </a:p>
        </p:txBody>
      </p:sp>
      <p:sp>
        <p:nvSpPr>
          <p:cNvPr id="1965" name="TextShape 5"/>
          <p:cNvSpPr txBox="1"/>
          <p:nvPr/>
        </p:nvSpPr>
        <p:spPr>
          <a:xfrm>
            <a:off x="3850560" y="9428760"/>
            <a:ext cx="2945160" cy="497520"/>
          </a:xfrm>
          <a:prstGeom prst="rect">
            <a:avLst/>
          </a:prstGeom>
          <a:noFill/>
          <a:ln>
            <a:noFill/>
          </a:ln>
        </p:spPr>
        <p:txBody>
          <a:bodyPr anchor="b"/>
          <a:lstStyle/>
          <a:p>
            <a:pPr algn="r">
              <a:lnSpc>
                <a:spcPct val="100000"/>
              </a:lnSpc>
            </a:pPr>
            <a:fld id="{1E61D748-8479-4BBE-87EC-C52053095ECD}" type="slidenum">
              <a:rPr lang="sv-SE" sz="1200" b="0" strike="noStrike" spc="-1">
                <a:solidFill>
                  <a:srgbClr val="000000"/>
                </a:solidFill>
                <a:uFill>
                  <a:solidFill>
                    <a:srgbClr val="FFFFFF"/>
                  </a:solidFill>
                </a:uFill>
                <a:latin typeface="Ericsson Hilda Light"/>
              </a:rPr>
              <a:t>40</a:t>
            </a:fld>
            <a:endParaRPr lang="sv-SE" sz="12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36684683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SE"/>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41</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26772497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SE"/>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42</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10438838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SE"/>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43</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15666021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1" name="PlaceHolder 1"/>
          <p:cNvSpPr>
            <a:spLocks noGrp="1"/>
          </p:cNvSpPr>
          <p:nvPr>
            <p:ph type="body"/>
          </p:nvPr>
        </p:nvSpPr>
        <p:spPr>
          <a:xfrm>
            <a:off x="679680" y="4777200"/>
            <a:ext cx="5437800" cy="3908160"/>
          </a:xfrm>
          <a:prstGeom prst="rect">
            <a:avLst/>
          </a:prstGeom>
        </p:spPr>
        <p:txBody>
          <a:bodyPr/>
          <a:lstStyle/>
          <a:p>
            <a:endParaRPr lang="sv-SE" sz="2000" b="0" strike="noStrike" spc="-1">
              <a:solidFill>
                <a:srgbClr val="000000"/>
              </a:solidFill>
              <a:uFill>
                <a:solidFill>
                  <a:srgbClr val="FFFFFF"/>
                </a:solidFill>
              </a:uFill>
              <a:latin typeface="Arial"/>
            </a:endParaRPr>
          </a:p>
        </p:txBody>
      </p:sp>
      <p:sp>
        <p:nvSpPr>
          <p:cNvPr id="1962" name="TextShape 2"/>
          <p:cNvSpPr txBox="1"/>
          <p:nvPr/>
        </p:nvSpPr>
        <p:spPr>
          <a:xfrm>
            <a:off x="0" y="0"/>
            <a:ext cx="2945160" cy="497520"/>
          </a:xfrm>
          <a:prstGeom prst="rect">
            <a:avLst/>
          </a:prstGeom>
          <a:noFill/>
          <a:ln>
            <a:noFill/>
          </a:ln>
        </p:spPr>
        <p:txBody>
          <a:bodyPr/>
          <a:lstStyle/>
          <a:p>
            <a:pPr>
              <a:lnSpc>
                <a:spcPct val="100000"/>
              </a:lnSpc>
            </a:pPr>
            <a:r>
              <a:rPr lang="sv-SE" sz="1200" b="0" strike="noStrike" spc="-1">
                <a:solidFill>
                  <a:srgbClr val="000000"/>
                </a:solidFill>
                <a:uFill>
                  <a:solidFill>
                    <a:srgbClr val="FFFFFF"/>
                  </a:solidFill>
                </a:uFill>
                <a:latin typeface="Ericsson Hilda Light"/>
                <a:ea typeface="+mn-ea"/>
              </a:rPr>
              <a:t>Test document 2 </a:t>
            </a:r>
            <a:endParaRPr lang="sv-SE" sz="1200" b="0" strike="noStrike" spc="-1">
              <a:solidFill>
                <a:srgbClr val="000000"/>
              </a:solidFill>
              <a:uFill>
                <a:solidFill>
                  <a:srgbClr val="FFFFFF"/>
                </a:solidFill>
              </a:uFill>
              <a:latin typeface="Times New Roman"/>
            </a:endParaRPr>
          </a:p>
        </p:txBody>
      </p:sp>
      <p:sp>
        <p:nvSpPr>
          <p:cNvPr id="1963" name="TextShape 3"/>
          <p:cNvSpPr txBox="1"/>
          <p:nvPr/>
        </p:nvSpPr>
        <p:spPr>
          <a:xfrm>
            <a:off x="3850560" y="0"/>
            <a:ext cx="2945160" cy="497520"/>
          </a:xfrm>
          <a:prstGeom prst="rect">
            <a:avLst/>
          </a:prstGeom>
          <a:noFill/>
          <a:ln>
            <a:noFill/>
          </a:ln>
        </p:spPr>
        <p:txBody>
          <a:bodyPr/>
          <a:lstStyle/>
          <a:p>
            <a:pPr algn="r">
              <a:lnSpc>
                <a:spcPct val="100000"/>
              </a:lnSpc>
            </a:pPr>
            <a:r>
              <a:rPr lang="sv-SE" sz="1200" b="0" strike="noStrike" spc="-1">
                <a:solidFill>
                  <a:srgbClr val="000000"/>
                </a:solidFill>
                <a:uFill>
                  <a:solidFill>
                    <a:srgbClr val="FFFFFF"/>
                  </a:solidFill>
                </a:uFill>
                <a:latin typeface="Ericsson Hilda Light"/>
              </a:rPr>
              <a:t> </a:t>
            </a:r>
            <a:endParaRPr lang="sv-SE" sz="1200" b="0" strike="noStrike" spc="-1">
              <a:solidFill>
                <a:srgbClr val="000000"/>
              </a:solidFill>
              <a:uFill>
                <a:solidFill>
                  <a:srgbClr val="FFFFFF"/>
                </a:solidFill>
              </a:uFill>
              <a:latin typeface="Times New Roman"/>
            </a:endParaRPr>
          </a:p>
        </p:txBody>
      </p:sp>
      <p:sp>
        <p:nvSpPr>
          <p:cNvPr id="1964" name="TextShape 4"/>
          <p:cNvSpPr txBox="1"/>
          <p:nvPr/>
        </p:nvSpPr>
        <p:spPr>
          <a:xfrm>
            <a:off x="0" y="9428760"/>
            <a:ext cx="2945160" cy="497520"/>
          </a:xfrm>
          <a:prstGeom prst="rect">
            <a:avLst/>
          </a:prstGeom>
          <a:noFill/>
          <a:ln>
            <a:noFill/>
          </a:ln>
        </p:spPr>
        <p:txBody>
          <a:bodyPr anchor="b"/>
          <a:lstStyle/>
          <a:p>
            <a:pPr>
              <a:lnSpc>
                <a:spcPct val="100000"/>
              </a:lnSpc>
            </a:pPr>
            <a:r>
              <a:rPr lang="sv-SE" sz="1200" b="0" strike="noStrike" spc="-1">
                <a:solidFill>
                  <a:srgbClr val="000000"/>
                </a:solidFill>
                <a:uFill>
                  <a:solidFill>
                    <a:srgbClr val="FFFFFF"/>
                  </a:solidFill>
                </a:uFill>
                <a:latin typeface="Ericsson Hilda Light"/>
              </a:rPr>
              <a:t>1551-192072 Uen, Rev PA1 </a:t>
            </a:r>
            <a:endParaRPr lang="sv-SE" sz="1200" b="0" strike="noStrike" spc="-1">
              <a:solidFill>
                <a:srgbClr val="000000"/>
              </a:solidFill>
              <a:uFill>
                <a:solidFill>
                  <a:srgbClr val="FFFFFF"/>
                </a:solidFill>
              </a:uFill>
              <a:latin typeface="Times New Roman"/>
            </a:endParaRPr>
          </a:p>
        </p:txBody>
      </p:sp>
      <p:sp>
        <p:nvSpPr>
          <p:cNvPr id="1965" name="TextShape 5"/>
          <p:cNvSpPr txBox="1"/>
          <p:nvPr/>
        </p:nvSpPr>
        <p:spPr>
          <a:xfrm>
            <a:off x="3850560" y="9428760"/>
            <a:ext cx="2945160" cy="497520"/>
          </a:xfrm>
          <a:prstGeom prst="rect">
            <a:avLst/>
          </a:prstGeom>
          <a:noFill/>
          <a:ln>
            <a:noFill/>
          </a:ln>
        </p:spPr>
        <p:txBody>
          <a:bodyPr anchor="b"/>
          <a:lstStyle/>
          <a:p>
            <a:pPr algn="r">
              <a:lnSpc>
                <a:spcPct val="100000"/>
              </a:lnSpc>
            </a:pPr>
            <a:fld id="{1E61D748-8479-4BBE-87EC-C52053095ECD}" type="slidenum">
              <a:rPr lang="sv-SE" sz="1200" b="0" strike="noStrike" spc="-1">
                <a:solidFill>
                  <a:srgbClr val="000000"/>
                </a:solidFill>
                <a:uFill>
                  <a:solidFill>
                    <a:srgbClr val="FFFFFF"/>
                  </a:solidFill>
                </a:uFill>
                <a:latin typeface="Ericsson Hilda Light"/>
              </a:rPr>
              <a:t>44</a:t>
            </a:fld>
            <a:endParaRPr lang="sv-SE" sz="12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42591125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115"/>
        <p:cNvGrpSpPr/>
        <p:nvPr/>
      </p:nvGrpSpPr>
      <p:grpSpPr>
        <a:xfrm>
          <a:off x="0" y="0"/>
          <a:ext cx="0" cy="0"/>
          <a:chOff x="0" y="0"/>
          <a:chExt cx="0" cy="0"/>
        </a:xfrm>
      </p:grpSpPr>
      <p:sp>
        <p:nvSpPr>
          <p:cNvPr id="25116" name="Shape 25116"/>
          <p:cNvSpPr txBox="1">
            <a:spLocks noGrp="1"/>
          </p:cNvSpPr>
          <p:nvPr>
            <p:ph type="body" idx="1"/>
          </p:nvPr>
        </p:nvSpPr>
        <p:spPr>
          <a:xfrm>
            <a:off x="673577" y="4748163"/>
            <a:ext cx="5388610" cy="3885023"/>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a:p>
        </p:txBody>
      </p:sp>
      <p:sp>
        <p:nvSpPr>
          <p:cNvPr id="25117" name="Shape 25117"/>
          <p:cNvSpPr>
            <a:spLocks noGrp="1" noRot="1" noChangeAspect="1"/>
          </p:cNvSpPr>
          <p:nvPr>
            <p:ph type="sldImg" idx="2"/>
          </p:nvPr>
        </p:nvSpPr>
        <p:spPr>
          <a:xfrm>
            <a:off x="409575" y="1233488"/>
            <a:ext cx="5916613" cy="3328987"/>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818712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55</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3489425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1" name="PlaceHolder 1"/>
          <p:cNvSpPr>
            <a:spLocks noGrp="1"/>
          </p:cNvSpPr>
          <p:nvPr>
            <p:ph type="body"/>
          </p:nvPr>
        </p:nvSpPr>
        <p:spPr>
          <a:xfrm>
            <a:off x="679680" y="4777200"/>
            <a:ext cx="5437800" cy="3908160"/>
          </a:xfrm>
          <a:prstGeom prst="rect">
            <a:avLst/>
          </a:prstGeom>
        </p:spPr>
        <p:txBody>
          <a:bodyPr/>
          <a:lstStyle/>
          <a:p>
            <a:endParaRPr lang="sv-SE" sz="2000" b="0" strike="noStrike" spc="-1">
              <a:solidFill>
                <a:srgbClr val="000000"/>
              </a:solidFill>
              <a:uFill>
                <a:solidFill>
                  <a:srgbClr val="FFFFFF"/>
                </a:solidFill>
              </a:uFill>
              <a:latin typeface="Arial"/>
            </a:endParaRPr>
          </a:p>
        </p:txBody>
      </p:sp>
      <p:sp>
        <p:nvSpPr>
          <p:cNvPr id="1962" name="TextShape 2"/>
          <p:cNvSpPr txBox="1"/>
          <p:nvPr/>
        </p:nvSpPr>
        <p:spPr>
          <a:xfrm>
            <a:off x="0" y="0"/>
            <a:ext cx="2945160" cy="497520"/>
          </a:xfrm>
          <a:prstGeom prst="rect">
            <a:avLst/>
          </a:prstGeom>
          <a:noFill/>
          <a:ln>
            <a:noFill/>
          </a:ln>
        </p:spPr>
        <p:txBody>
          <a:bodyPr/>
          <a:lstStyle/>
          <a:p>
            <a:pPr>
              <a:lnSpc>
                <a:spcPct val="100000"/>
              </a:lnSpc>
            </a:pPr>
            <a:r>
              <a:rPr lang="sv-SE" sz="1200" b="0" strike="noStrike" spc="-1">
                <a:solidFill>
                  <a:srgbClr val="000000"/>
                </a:solidFill>
                <a:uFill>
                  <a:solidFill>
                    <a:srgbClr val="FFFFFF"/>
                  </a:solidFill>
                </a:uFill>
                <a:latin typeface="Ericsson Hilda Light"/>
                <a:ea typeface="+mn-ea"/>
              </a:rPr>
              <a:t>Test document 2 </a:t>
            </a:r>
            <a:endParaRPr lang="sv-SE" sz="1200" b="0" strike="noStrike" spc="-1">
              <a:solidFill>
                <a:srgbClr val="000000"/>
              </a:solidFill>
              <a:uFill>
                <a:solidFill>
                  <a:srgbClr val="FFFFFF"/>
                </a:solidFill>
              </a:uFill>
              <a:latin typeface="Times New Roman"/>
            </a:endParaRPr>
          </a:p>
        </p:txBody>
      </p:sp>
      <p:sp>
        <p:nvSpPr>
          <p:cNvPr id="1963" name="TextShape 3"/>
          <p:cNvSpPr txBox="1"/>
          <p:nvPr/>
        </p:nvSpPr>
        <p:spPr>
          <a:xfrm>
            <a:off x="3850560" y="0"/>
            <a:ext cx="2945160" cy="497520"/>
          </a:xfrm>
          <a:prstGeom prst="rect">
            <a:avLst/>
          </a:prstGeom>
          <a:noFill/>
          <a:ln>
            <a:noFill/>
          </a:ln>
        </p:spPr>
        <p:txBody>
          <a:bodyPr/>
          <a:lstStyle/>
          <a:p>
            <a:pPr algn="r">
              <a:lnSpc>
                <a:spcPct val="100000"/>
              </a:lnSpc>
            </a:pPr>
            <a:r>
              <a:rPr lang="sv-SE" sz="1200" b="0" strike="noStrike" spc="-1">
                <a:solidFill>
                  <a:srgbClr val="000000"/>
                </a:solidFill>
                <a:uFill>
                  <a:solidFill>
                    <a:srgbClr val="FFFFFF"/>
                  </a:solidFill>
                </a:uFill>
                <a:latin typeface="Ericsson Hilda Light"/>
              </a:rPr>
              <a:t> </a:t>
            </a:r>
            <a:endParaRPr lang="sv-SE" sz="1200" b="0" strike="noStrike" spc="-1">
              <a:solidFill>
                <a:srgbClr val="000000"/>
              </a:solidFill>
              <a:uFill>
                <a:solidFill>
                  <a:srgbClr val="FFFFFF"/>
                </a:solidFill>
              </a:uFill>
              <a:latin typeface="Times New Roman"/>
            </a:endParaRPr>
          </a:p>
        </p:txBody>
      </p:sp>
      <p:sp>
        <p:nvSpPr>
          <p:cNvPr id="1964" name="TextShape 4"/>
          <p:cNvSpPr txBox="1"/>
          <p:nvPr/>
        </p:nvSpPr>
        <p:spPr>
          <a:xfrm>
            <a:off x="0" y="9428760"/>
            <a:ext cx="2945160" cy="497520"/>
          </a:xfrm>
          <a:prstGeom prst="rect">
            <a:avLst/>
          </a:prstGeom>
          <a:noFill/>
          <a:ln>
            <a:noFill/>
          </a:ln>
        </p:spPr>
        <p:txBody>
          <a:bodyPr anchor="b"/>
          <a:lstStyle/>
          <a:p>
            <a:pPr>
              <a:lnSpc>
                <a:spcPct val="100000"/>
              </a:lnSpc>
            </a:pPr>
            <a:r>
              <a:rPr lang="sv-SE" sz="1200" b="0" strike="noStrike" spc="-1">
                <a:solidFill>
                  <a:srgbClr val="000000"/>
                </a:solidFill>
                <a:uFill>
                  <a:solidFill>
                    <a:srgbClr val="FFFFFF"/>
                  </a:solidFill>
                </a:uFill>
                <a:latin typeface="Ericsson Hilda Light"/>
              </a:rPr>
              <a:t>1551-192072 Uen, Rev PA1 </a:t>
            </a:r>
            <a:endParaRPr lang="sv-SE" sz="1200" b="0" strike="noStrike" spc="-1">
              <a:solidFill>
                <a:srgbClr val="000000"/>
              </a:solidFill>
              <a:uFill>
                <a:solidFill>
                  <a:srgbClr val="FFFFFF"/>
                </a:solidFill>
              </a:uFill>
              <a:latin typeface="Times New Roman"/>
            </a:endParaRPr>
          </a:p>
        </p:txBody>
      </p:sp>
      <p:sp>
        <p:nvSpPr>
          <p:cNvPr id="1965" name="TextShape 5"/>
          <p:cNvSpPr txBox="1"/>
          <p:nvPr/>
        </p:nvSpPr>
        <p:spPr>
          <a:xfrm>
            <a:off x="3850560" y="9428760"/>
            <a:ext cx="2945160" cy="497520"/>
          </a:xfrm>
          <a:prstGeom prst="rect">
            <a:avLst/>
          </a:prstGeom>
          <a:noFill/>
          <a:ln>
            <a:noFill/>
          </a:ln>
        </p:spPr>
        <p:txBody>
          <a:bodyPr anchor="b"/>
          <a:lstStyle/>
          <a:p>
            <a:pPr algn="r">
              <a:lnSpc>
                <a:spcPct val="100000"/>
              </a:lnSpc>
            </a:pPr>
            <a:fld id="{1E61D748-8479-4BBE-87EC-C52053095ECD}" type="slidenum">
              <a:rPr lang="sv-SE" sz="1200" b="0" strike="noStrike" spc="-1">
                <a:solidFill>
                  <a:srgbClr val="000000"/>
                </a:solidFill>
                <a:uFill>
                  <a:solidFill>
                    <a:srgbClr val="FFFFFF"/>
                  </a:solidFill>
                </a:uFill>
                <a:latin typeface="Ericsson Hilda Light"/>
              </a:rPr>
              <a:t>4</a:t>
            </a:fld>
            <a:endParaRPr lang="sv-SE" sz="1200" b="0" strike="noStrike" spc="-1">
              <a:solidFill>
                <a:srgbClr val="000000"/>
              </a:solidFill>
              <a:uFill>
                <a:solidFill>
                  <a:srgbClr val="FFFFFF"/>
                </a:solidFill>
              </a:uFill>
              <a:latin typeface="Times New Roman"/>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sv-SE" dirty="0"/>
              <a:t>Martyn tar:</a:t>
            </a:r>
          </a:p>
          <a:p>
            <a:endParaRPr lang="en-GB" dirty="0"/>
          </a:p>
          <a:p>
            <a:pPr marL="344170" indent="-343535">
              <a:lnSpc>
                <a:spcPct val="100000"/>
              </a:lnSpc>
              <a:buClr>
                <a:srgbClr val="181818"/>
              </a:buClr>
              <a:buFont typeface="Ericsson Hilda Light"/>
              <a:buChar char="—"/>
            </a:pPr>
            <a:r>
              <a:rPr lang="sv-SE" sz="1200" spc="-1" dirty="0">
                <a:solidFill>
                  <a:srgbClr val="181818"/>
                </a:solidFill>
                <a:uFill>
                  <a:solidFill>
                    <a:srgbClr val="FFFFFF"/>
                  </a:solidFill>
                </a:uFill>
                <a:latin typeface="Ericsson Hilda" panose="00000500000000000000" pitchFamily="2" charset="0"/>
              </a:rPr>
              <a:t>Sidoscrollande Enspelarspel</a:t>
            </a:r>
            <a:endParaRPr lang="sv-SE" sz="1200" b="0" strike="noStrike" spc="-1" dirty="0">
              <a:solidFill>
                <a:srgbClr val="000000"/>
              </a:solidFill>
              <a:uFill>
                <a:solidFill>
                  <a:srgbClr val="FFFFFF"/>
                </a:solidFill>
              </a:uFill>
              <a:latin typeface="Ericsson Hilda" panose="00000500000000000000" pitchFamily="2" charset="0"/>
            </a:endParaRPr>
          </a:p>
          <a:p>
            <a:pPr marL="344170" indent="-343535">
              <a:lnSpc>
                <a:spcPct val="100000"/>
              </a:lnSpc>
              <a:buClr>
                <a:srgbClr val="181818"/>
              </a:buClr>
              <a:buFont typeface="Ericsson Hilda Light"/>
              <a:buChar char="—"/>
            </a:pPr>
            <a:r>
              <a:rPr lang="sv-SE" sz="1200" b="0" strike="noStrike" spc="-1" dirty="0">
                <a:solidFill>
                  <a:srgbClr val="000000"/>
                </a:solidFill>
                <a:uFill>
                  <a:solidFill>
                    <a:srgbClr val="FFFFFF"/>
                  </a:solidFill>
                </a:uFill>
                <a:latin typeface="Ericsson Hilda" panose="00000500000000000000" pitchFamily="2" charset="0"/>
              </a:rPr>
              <a:t>Spelare undviker hinder för högre poäng</a:t>
            </a:r>
            <a:endParaRPr lang="sv-SE" sz="1200" spc="-1" dirty="0">
              <a:solidFill>
                <a:srgbClr val="000000"/>
              </a:solidFill>
              <a:uFill>
                <a:solidFill>
                  <a:srgbClr val="FFFFFF"/>
                </a:solidFill>
              </a:uFill>
              <a:latin typeface="Ericsson Hilda" panose="00000500000000000000" pitchFamily="2" charset="0"/>
            </a:endParaRPr>
          </a:p>
          <a:p>
            <a:pPr marL="344170" indent="-343535">
              <a:lnSpc>
                <a:spcPct val="100000"/>
              </a:lnSpc>
              <a:buClr>
                <a:srgbClr val="181818"/>
              </a:buClr>
              <a:buFont typeface="Ericsson Hilda Light"/>
              <a:buChar char="—"/>
            </a:pPr>
            <a:r>
              <a:rPr lang="sv-SE" sz="1200" b="0" strike="noStrike" spc="-1" dirty="0">
                <a:solidFill>
                  <a:srgbClr val="000000"/>
                </a:solidFill>
                <a:uFill>
                  <a:solidFill>
                    <a:srgbClr val="FFFFFF"/>
                  </a:solidFill>
                </a:uFill>
                <a:latin typeface="Ericsson Hilda" panose="00000500000000000000" pitchFamily="2" charset="0"/>
              </a:rPr>
              <a:t>Inspirerat av Google:s </a:t>
            </a:r>
            <a:r>
              <a:rPr lang="sv-SE" sz="1200" i="1" spc="-1" dirty="0">
                <a:solidFill>
                  <a:srgbClr val="000000"/>
                </a:solidFill>
                <a:uFill>
                  <a:solidFill>
                    <a:srgbClr val="FFFFFF"/>
                  </a:solidFill>
                </a:uFill>
                <a:latin typeface="Ericsson Hilda" panose="00000500000000000000" pitchFamily="2" charset="0"/>
              </a:rPr>
              <a:t>Dinosaur Game</a:t>
            </a:r>
          </a:p>
          <a:p>
            <a:pPr marL="344170" indent="-343535">
              <a:lnSpc>
                <a:spcPct val="100000"/>
              </a:lnSpc>
              <a:buClr>
                <a:srgbClr val="181818"/>
              </a:buClr>
              <a:buFont typeface="Ericsson Hilda Light"/>
              <a:buChar char="—"/>
            </a:pPr>
            <a:endParaRPr lang="sv-SE" sz="1200" b="0" strike="noStrike" spc="-1" dirty="0">
              <a:solidFill>
                <a:srgbClr val="000000"/>
              </a:solidFill>
              <a:uFill>
                <a:solidFill>
                  <a:srgbClr val="FFFFFF"/>
                </a:solidFill>
              </a:uFill>
              <a:latin typeface="Ericsson Hilda" panose="00000500000000000000" pitchFamily="2" charset="0"/>
            </a:endParaRPr>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5</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1084993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1" name="PlaceHolder 1"/>
          <p:cNvSpPr>
            <a:spLocks noGrp="1"/>
          </p:cNvSpPr>
          <p:nvPr>
            <p:ph type="body"/>
          </p:nvPr>
        </p:nvSpPr>
        <p:spPr>
          <a:xfrm>
            <a:off x="679680" y="4777200"/>
            <a:ext cx="5437800" cy="3908160"/>
          </a:xfrm>
          <a:prstGeom prst="rect">
            <a:avLst/>
          </a:prstGeom>
        </p:spPr>
        <p:txBody>
          <a:bodyPr/>
          <a:lstStyle/>
          <a:p>
            <a:endParaRPr lang="sv-SE" sz="2000" b="0" strike="noStrike" spc="-1">
              <a:solidFill>
                <a:srgbClr val="000000"/>
              </a:solidFill>
              <a:uFill>
                <a:solidFill>
                  <a:srgbClr val="FFFFFF"/>
                </a:solidFill>
              </a:uFill>
              <a:latin typeface="Arial"/>
            </a:endParaRPr>
          </a:p>
        </p:txBody>
      </p:sp>
      <p:sp>
        <p:nvSpPr>
          <p:cNvPr id="1942" name="TextShape 2"/>
          <p:cNvSpPr txBox="1"/>
          <p:nvPr/>
        </p:nvSpPr>
        <p:spPr>
          <a:xfrm>
            <a:off x="0" y="0"/>
            <a:ext cx="2945160" cy="497520"/>
          </a:xfrm>
          <a:prstGeom prst="rect">
            <a:avLst/>
          </a:prstGeom>
          <a:noFill/>
          <a:ln>
            <a:noFill/>
          </a:ln>
        </p:spPr>
        <p:txBody>
          <a:bodyPr/>
          <a:lstStyle/>
          <a:p>
            <a:pPr>
              <a:lnSpc>
                <a:spcPct val="100000"/>
              </a:lnSpc>
            </a:pPr>
            <a:r>
              <a:rPr lang="sv-SE" sz="1200" b="0" strike="noStrike" spc="-1">
                <a:solidFill>
                  <a:srgbClr val="000000"/>
                </a:solidFill>
                <a:uFill>
                  <a:solidFill>
                    <a:srgbClr val="FFFFFF"/>
                  </a:solidFill>
                </a:uFill>
                <a:latin typeface="Ericsson Hilda Light"/>
                <a:ea typeface="+mn-ea"/>
              </a:rPr>
              <a:t>Test document 2 </a:t>
            </a:r>
            <a:endParaRPr lang="sv-SE" sz="1200" b="0" strike="noStrike" spc="-1">
              <a:solidFill>
                <a:srgbClr val="000000"/>
              </a:solidFill>
              <a:uFill>
                <a:solidFill>
                  <a:srgbClr val="FFFFFF"/>
                </a:solidFill>
              </a:uFill>
              <a:latin typeface="Times New Roman"/>
            </a:endParaRPr>
          </a:p>
        </p:txBody>
      </p:sp>
      <p:sp>
        <p:nvSpPr>
          <p:cNvPr id="1943" name="TextShape 3"/>
          <p:cNvSpPr txBox="1"/>
          <p:nvPr/>
        </p:nvSpPr>
        <p:spPr>
          <a:xfrm>
            <a:off x="3850560" y="0"/>
            <a:ext cx="2945160" cy="497520"/>
          </a:xfrm>
          <a:prstGeom prst="rect">
            <a:avLst/>
          </a:prstGeom>
          <a:noFill/>
          <a:ln>
            <a:noFill/>
          </a:ln>
        </p:spPr>
        <p:txBody>
          <a:bodyPr/>
          <a:lstStyle/>
          <a:p>
            <a:pPr algn="r">
              <a:lnSpc>
                <a:spcPct val="100000"/>
              </a:lnSpc>
            </a:pPr>
            <a:r>
              <a:rPr lang="sv-SE" sz="1200" b="0" strike="noStrike" spc="-1">
                <a:solidFill>
                  <a:srgbClr val="000000"/>
                </a:solidFill>
                <a:uFill>
                  <a:solidFill>
                    <a:srgbClr val="FFFFFF"/>
                  </a:solidFill>
                </a:uFill>
                <a:latin typeface="Ericsson Hilda Light"/>
              </a:rPr>
              <a:t> </a:t>
            </a:r>
            <a:endParaRPr lang="sv-SE" sz="1200" b="0" strike="noStrike" spc="-1">
              <a:solidFill>
                <a:srgbClr val="000000"/>
              </a:solidFill>
              <a:uFill>
                <a:solidFill>
                  <a:srgbClr val="FFFFFF"/>
                </a:solidFill>
              </a:uFill>
              <a:latin typeface="Times New Roman"/>
            </a:endParaRPr>
          </a:p>
        </p:txBody>
      </p:sp>
      <p:sp>
        <p:nvSpPr>
          <p:cNvPr id="1944" name="TextShape 4"/>
          <p:cNvSpPr txBox="1"/>
          <p:nvPr/>
        </p:nvSpPr>
        <p:spPr>
          <a:xfrm>
            <a:off x="0" y="9428760"/>
            <a:ext cx="2945160" cy="497520"/>
          </a:xfrm>
          <a:prstGeom prst="rect">
            <a:avLst/>
          </a:prstGeom>
          <a:noFill/>
          <a:ln>
            <a:noFill/>
          </a:ln>
        </p:spPr>
        <p:txBody>
          <a:bodyPr anchor="b"/>
          <a:lstStyle/>
          <a:p>
            <a:pPr>
              <a:lnSpc>
                <a:spcPct val="100000"/>
              </a:lnSpc>
            </a:pPr>
            <a:r>
              <a:rPr lang="sv-SE" sz="1200" b="0" strike="noStrike" spc="-1">
                <a:solidFill>
                  <a:srgbClr val="000000"/>
                </a:solidFill>
                <a:uFill>
                  <a:solidFill>
                    <a:srgbClr val="FFFFFF"/>
                  </a:solidFill>
                </a:uFill>
                <a:latin typeface="Ericsson Hilda Light"/>
              </a:rPr>
              <a:t>1551-192072 Uen, Rev PA1 </a:t>
            </a:r>
            <a:endParaRPr lang="sv-SE" sz="1200" b="0" strike="noStrike" spc="-1">
              <a:solidFill>
                <a:srgbClr val="000000"/>
              </a:solidFill>
              <a:uFill>
                <a:solidFill>
                  <a:srgbClr val="FFFFFF"/>
                </a:solidFill>
              </a:uFill>
              <a:latin typeface="Times New Roman"/>
            </a:endParaRPr>
          </a:p>
        </p:txBody>
      </p:sp>
      <p:sp>
        <p:nvSpPr>
          <p:cNvPr id="1945" name="TextShape 5"/>
          <p:cNvSpPr txBox="1"/>
          <p:nvPr/>
        </p:nvSpPr>
        <p:spPr>
          <a:xfrm>
            <a:off x="3850560" y="9428760"/>
            <a:ext cx="2945160" cy="497520"/>
          </a:xfrm>
          <a:prstGeom prst="rect">
            <a:avLst/>
          </a:prstGeom>
          <a:noFill/>
          <a:ln>
            <a:noFill/>
          </a:ln>
        </p:spPr>
        <p:txBody>
          <a:bodyPr anchor="b"/>
          <a:lstStyle/>
          <a:p>
            <a:pPr algn="r">
              <a:lnSpc>
                <a:spcPct val="100000"/>
              </a:lnSpc>
            </a:pPr>
            <a:fld id="{BF380F55-514F-4064-9B8F-6BABE410AE09}" type="slidenum">
              <a:rPr lang="sv-SE" sz="1200" b="0" strike="noStrike" spc="-1">
                <a:solidFill>
                  <a:srgbClr val="000000"/>
                </a:solidFill>
                <a:uFill>
                  <a:solidFill>
                    <a:srgbClr val="FFFFFF"/>
                  </a:solidFill>
                </a:uFill>
                <a:latin typeface="Ericsson Hilda Light"/>
              </a:rPr>
              <a:t>6</a:t>
            </a:fld>
            <a:endParaRPr lang="sv-SE" sz="1200" b="0" strike="noStrike" spc="-1">
              <a:solidFill>
                <a:srgbClr val="000000"/>
              </a:solidFill>
              <a:uFill>
                <a:solidFill>
                  <a:srgbClr val="FFFFFF"/>
                </a:solidFill>
              </a:uFill>
              <a:latin typeface="Times New Roman"/>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 sz="1800">
                <a:effectLst/>
                <a:latin typeface="Times New Roman" panose="02020603050405020304" pitchFamily="18" charset="0"/>
                <a:ea typeface="Times New Roman" panose="02020603050405020304" pitchFamily="18" charset="0"/>
              </a:rPr>
              <a:t>Kebba tar denna slide</a:t>
            </a:r>
            <a:endParaRPr lang="sv" sz="1800" b="0" strike="noStrike" spc="-1">
              <a:solidFill>
                <a:srgbClr val="000000"/>
              </a:solidFill>
              <a:effectLst/>
              <a:uFill>
                <a:solidFill>
                  <a:srgbClr val="FFFFFF"/>
                </a:solidFill>
              </a:uFill>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 sz="1800" b="0" strike="noStrike" spc="-1">
              <a:solidFill>
                <a:srgbClr val="000000"/>
              </a:solidFill>
              <a:effectLst/>
              <a:uFill>
                <a:solidFill>
                  <a:srgbClr val="FFFFFF"/>
                </a:solidFill>
              </a:uFill>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 sz="1800" b="0" strike="noStrike" spc="-1">
                <a:solidFill>
                  <a:srgbClr val="000000"/>
                </a:solidFill>
                <a:effectLst/>
                <a:uFill>
                  <a:solidFill>
                    <a:srgbClr val="FFFFFF"/>
                  </a:solidFill>
                </a:uFill>
                <a:latin typeface="Times New Roman" panose="02020603050405020304" pitchFamily="18" charset="0"/>
              </a:rPr>
              <a:t>Under projektets inledning höll vi i gruppen interna möten för idestorma olika förslag,  därefter analyserades dessa förslag, där </a:t>
            </a:r>
            <a:r>
              <a:rPr lang="sv-SE" sz="1800" b="0" i="0" strike="noStrike" spc="-1">
                <a:solidFill>
                  <a:srgbClr val="000000"/>
                </a:solidFill>
                <a:effectLst/>
                <a:uFill>
                  <a:solidFill>
                    <a:srgbClr val="FFFFFF"/>
                  </a:solidFill>
                </a:uFill>
                <a:latin typeface="Ericsson Hilda" panose="00000500000000000000" pitchFamily="2" charset="0"/>
              </a:rPr>
              <a:t>s</a:t>
            </a:r>
            <a:r>
              <a:rPr lang="sv-SE" sz="1800" b="0" i="0">
                <a:effectLst/>
                <a:latin typeface="Ericsson Hilda" panose="00000500000000000000" pitchFamily="2" charset="0"/>
              </a:rPr>
              <a:t>yftet framförallt var för att få bättre förståelse för förslagen, se om det är genomförbart, hur tidsintensivt det är osv för att slutligen kunna att skapa en produkt som var både rimlig i arbetsbörda och i svårighetsgrad. Innan det slutgiltig valet gjordes så presenterades dessa förslag för kursledarna. Till slut bestämdes det göra ….</a:t>
            </a:r>
            <a:endParaRPr lang="sv-SE"/>
          </a:p>
        </p:txBody>
      </p:sp>
      <p:sp>
        <p:nvSpPr>
          <p:cNvPr id="4" name="Date Placeholder 3"/>
          <p:cNvSpPr>
            <a:spLocks noGrp="1"/>
          </p:cNvSpPr>
          <p:nvPr>
            <p:ph type="dt" idx="1"/>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2018-01-19 </a:t>
            </a: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fld id="{5852353D-F306-481A-B3D0-C36CE0BF9563}"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50000"/>
                </a:spcBef>
                <a:spcAft>
                  <a:spcPct val="0"/>
                </a:spcAft>
                <a:buClrTx/>
                <a:buSzTx/>
                <a:buFontTx/>
                <a:buNone/>
                <a:tabLst/>
                <a:defRPr/>
              </a:pPr>
              <a:t>7</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 name="Header Placeholder 5"/>
          <p:cNvSpPr>
            <a:spLocks noGrp="1"/>
          </p:cNvSpPr>
          <p:nvPr>
            <p:ph type="hdr" sz="quarter"/>
          </p:nvPr>
        </p:nvSpPr>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 </a:t>
            </a:r>
          </a:p>
        </p:txBody>
      </p:sp>
      <p:sp>
        <p:nvSpPr>
          <p:cNvPr id="7" name="Footer Placeholder 6"/>
          <p:cNvSpPr>
            <a:spLocks noGrp="1"/>
          </p:cNvSpPr>
          <p:nvPr>
            <p:ph type="ftr" sz="quarter" idx="4"/>
          </p:nvPr>
        </p:nvSpPr>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 </a:t>
            </a:r>
          </a:p>
        </p:txBody>
      </p:sp>
    </p:spTree>
    <p:extLst>
      <p:ext uri="{BB962C8B-B14F-4D97-AF65-F5344CB8AC3E}">
        <p14:creationId xmlns:p14="http://schemas.microsoft.com/office/powerpoint/2010/main" val="22762490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6" name="PlaceHolder 1"/>
          <p:cNvSpPr>
            <a:spLocks noGrp="1"/>
          </p:cNvSpPr>
          <p:nvPr>
            <p:ph type="body"/>
          </p:nvPr>
        </p:nvSpPr>
        <p:spPr>
          <a:xfrm>
            <a:off x="679680" y="4777200"/>
            <a:ext cx="5437800" cy="3908160"/>
          </a:xfrm>
          <a:prstGeom prst="rect">
            <a:avLst/>
          </a:prstGeom>
        </p:spPr>
        <p:txBody>
          <a:bodyPr/>
          <a:lstStyle/>
          <a:p>
            <a:endParaRPr lang="sv-SE" sz="2000" b="0" strike="noStrike" spc="-1">
              <a:solidFill>
                <a:srgbClr val="000000"/>
              </a:solidFill>
              <a:uFill>
                <a:solidFill>
                  <a:srgbClr val="FFFFFF"/>
                </a:solidFill>
              </a:uFill>
              <a:latin typeface="Arial"/>
            </a:endParaRPr>
          </a:p>
        </p:txBody>
      </p:sp>
      <p:sp>
        <p:nvSpPr>
          <p:cNvPr id="1957" name="TextShape 2"/>
          <p:cNvSpPr txBox="1"/>
          <p:nvPr/>
        </p:nvSpPr>
        <p:spPr>
          <a:xfrm>
            <a:off x="0" y="0"/>
            <a:ext cx="2945160" cy="497520"/>
          </a:xfrm>
          <a:prstGeom prst="rect">
            <a:avLst/>
          </a:prstGeom>
          <a:noFill/>
          <a:ln>
            <a:noFill/>
          </a:ln>
        </p:spPr>
        <p:txBody>
          <a:bodyPr/>
          <a:lstStyle/>
          <a:p>
            <a:pPr>
              <a:lnSpc>
                <a:spcPct val="100000"/>
              </a:lnSpc>
            </a:pPr>
            <a:r>
              <a:rPr lang="sv-SE" sz="1200" b="0" strike="noStrike" spc="-1">
                <a:solidFill>
                  <a:srgbClr val="000000"/>
                </a:solidFill>
                <a:uFill>
                  <a:solidFill>
                    <a:srgbClr val="FFFFFF"/>
                  </a:solidFill>
                </a:uFill>
                <a:latin typeface="Ericsson Hilda Light"/>
                <a:ea typeface="+mn-ea"/>
              </a:rPr>
              <a:t>Test document 2 </a:t>
            </a:r>
            <a:endParaRPr lang="sv-SE" sz="1200" b="0" strike="noStrike" spc="-1">
              <a:solidFill>
                <a:srgbClr val="000000"/>
              </a:solidFill>
              <a:uFill>
                <a:solidFill>
                  <a:srgbClr val="FFFFFF"/>
                </a:solidFill>
              </a:uFill>
              <a:latin typeface="Times New Roman"/>
            </a:endParaRPr>
          </a:p>
        </p:txBody>
      </p:sp>
      <p:sp>
        <p:nvSpPr>
          <p:cNvPr id="1958" name="TextShape 3"/>
          <p:cNvSpPr txBox="1"/>
          <p:nvPr/>
        </p:nvSpPr>
        <p:spPr>
          <a:xfrm>
            <a:off x="3850560" y="0"/>
            <a:ext cx="2945160" cy="497520"/>
          </a:xfrm>
          <a:prstGeom prst="rect">
            <a:avLst/>
          </a:prstGeom>
          <a:noFill/>
          <a:ln>
            <a:noFill/>
          </a:ln>
        </p:spPr>
        <p:txBody>
          <a:bodyPr/>
          <a:lstStyle/>
          <a:p>
            <a:pPr algn="r">
              <a:lnSpc>
                <a:spcPct val="100000"/>
              </a:lnSpc>
            </a:pPr>
            <a:r>
              <a:rPr lang="sv-SE" sz="1200" b="0" strike="noStrike" spc="-1">
                <a:solidFill>
                  <a:srgbClr val="000000"/>
                </a:solidFill>
                <a:uFill>
                  <a:solidFill>
                    <a:srgbClr val="FFFFFF"/>
                  </a:solidFill>
                </a:uFill>
                <a:latin typeface="Ericsson Hilda Light"/>
              </a:rPr>
              <a:t> </a:t>
            </a:r>
            <a:endParaRPr lang="sv-SE" sz="1200" b="0" strike="noStrike" spc="-1">
              <a:solidFill>
                <a:srgbClr val="000000"/>
              </a:solidFill>
              <a:uFill>
                <a:solidFill>
                  <a:srgbClr val="FFFFFF"/>
                </a:solidFill>
              </a:uFill>
              <a:latin typeface="Times New Roman"/>
            </a:endParaRPr>
          </a:p>
        </p:txBody>
      </p:sp>
      <p:sp>
        <p:nvSpPr>
          <p:cNvPr id="1959" name="TextShape 4"/>
          <p:cNvSpPr txBox="1"/>
          <p:nvPr/>
        </p:nvSpPr>
        <p:spPr>
          <a:xfrm>
            <a:off x="0" y="9428760"/>
            <a:ext cx="2945160" cy="497520"/>
          </a:xfrm>
          <a:prstGeom prst="rect">
            <a:avLst/>
          </a:prstGeom>
          <a:noFill/>
          <a:ln>
            <a:noFill/>
          </a:ln>
        </p:spPr>
        <p:txBody>
          <a:bodyPr anchor="b"/>
          <a:lstStyle/>
          <a:p>
            <a:pPr>
              <a:lnSpc>
                <a:spcPct val="100000"/>
              </a:lnSpc>
            </a:pPr>
            <a:r>
              <a:rPr lang="sv-SE" sz="1200" b="0" strike="noStrike" spc="-1">
                <a:solidFill>
                  <a:srgbClr val="000000"/>
                </a:solidFill>
                <a:uFill>
                  <a:solidFill>
                    <a:srgbClr val="FFFFFF"/>
                  </a:solidFill>
                </a:uFill>
                <a:latin typeface="Ericsson Hilda Light"/>
              </a:rPr>
              <a:t>1551-192072 Uen, Rev PA1 </a:t>
            </a:r>
            <a:endParaRPr lang="sv-SE" sz="1200" b="0" strike="noStrike" spc="-1">
              <a:solidFill>
                <a:srgbClr val="000000"/>
              </a:solidFill>
              <a:uFill>
                <a:solidFill>
                  <a:srgbClr val="FFFFFF"/>
                </a:solidFill>
              </a:uFill>
              <a:latin typeface="Times New Roman"/>
            </a:endParaRPr>
          </a:p>
        </p:txBody>
      </p:sp>
      <p:sp>
        <p:nvSpPr>
          <p:cNvPr id="1960" name="TextShape 5"/>
          <p:cNvSpPr txBox="1"/>
          <p:nvPr/>
        </p:nvSpPr>
        <p:spPr>
          <a:xfrm>
            <a:off x="3850560" y="9428760"/>
            <a:ext cx="2945160" cy="497520"/>
          </a:xfrm>
          <a:prstGeom prst="rect">
            <a:avLst/>
          </a:prstGeom>
          <a:noFill/>
          <a:ln>
            <a:noFill/>
          </a:ln>
        </p:spPr>
        <p:txBody>
          <a:bodyPr anchor="b"/>
          <a:lstStyle/>
          <a:p>
            <a:pPr algn="r">
              <a:lnSpc>
                <a:spcPct val="100000"/>
              </a:lnSpc>
            </a:pPr>
            <a:fld id="{C532C928-DE79-4445-BD3B-F63D66FBD765}" type="slidenum">
              <a:rPr lang="sv-SE" sz="1200" b="0" strike="noStrike" spc="-1">
                <a:solidFill>
                  <a:srgbClr val="000000"/>
                </a:solidFill>
                <a:uFill>
                  <a:solidFill>
                    <a:srgbClr val="FFFFFF"/>
                  </a:solidFill>
                </a:uFill>
                <a:latin typeface="Ericsson Hilda Light"/>
              </a:rPr>
              <a:t>8</a:t>
            </a:fld>
            <a:endParaRPr lang="sv-SE" sz="12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25643478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sv-SE" dirty="0"/>
              <a:t>Martin &amp; Kebba tar slide 8 &amp; 9:</a:t>
            </a:r>
          </a:p>
          <a:p>
            <a:endParaRPr lang="en-GB" dirty="0"/>
          </a:p>
          <a:p>
            <a:pPr marL="344170" indent="-343535">
              <a:lnSpc>
                <a:spcPct val="100000"/>
              </a:lnSpc>
              <a:buClr>
                <a:srgbClr val="181818"/>
              </a:buClr>
              <a:buFont typeface="Ericsson Hilda Light"/>
              <a:buChar char="—"/>
            </a:pPr>
            <a:r>
              <a:rPr lang="sv-SE" b="0" strike="noStrike" spc="-1" dirty="0">
                <a:solidFill>
                  <a:srgbClr val="181818"/>
                </a:solidFill>
                <a:uFill>
                  <a:solidFill>
                    <a:srgbClr val="FFFFFF"/>
                  </a:solidFill>
                </a:uFill>
                <a:latin typeface="Ericsson Hilda" panose="00000500000000000000" pitchFamily="2" charset="0"/>
              </a:rPr>
              <a:t>Spelet startas från en LCD display</a:t>
            </a:r>
          </a:p>
          <a:p>
            <a:pPr marL="344170" indent="-343535">
              <a:lnSpc>
                <a:spcPct val="100000"/>
              </a:lnSpc>
              <a:buClr>
                <a:srgbClr val="181818"/>
              </a:buClr>
              <a:buFont typeface="Ericsson Hilda Light"/>
              <a:buChar char="—"/>
            </a:pPr>
            <a:r>
              <a:rPr lang="sv-SE" b="0" strike="noStrike" spc="-1" dirty="0">
                <a:solidFill>
                  <a:srgbClr val="181818"/>
                </a:solidFill>
                <a:uFill>
                  <a:solidFill>
                    <a:srgbClr val="FFFFFF"/>
                  </a:solidFill>
                </a:uFill>
                <a:latin typeface="Ericsson Hilda" panose="00000500000000000000" pitchFamily="2" charset="0"/>
              </a:rPr>
              <a:t>S</a:t>
            </a:r>
            <a:r>
              <a:rPr lang="sv-SE" spc="-1" dirty="0">
                <a:solidFill>
                  <a:srgbClr val="181818"/>
                </a:solidFill>
                <a:uFill>
                  <a:solidFill>
                    <a:srgbClr val="FFFFFF"/>
                  </a:solidFill>
                </a:uFill>
                <a:latin typeface="Ericsson Hilda" panose="00000500000000000000" pitchFamily="2" charset="0"/>
              </a:rPr>
              <a:t>pelplanen ses från ett sidoperspektiv</a:t>
            </a:r>
          </a:p>
          <a:p>
            <a:pPr marL="344170" indent="-343535">
              <a:lnSpc>
                <a:spcPct val="100000"/>
              </a:lnSpc>
              <a:buClr>
                <a:srgbClr val="181818"/>
              </a:buClr>
              <a:buFont typeface="Ericsson Hilda Light"/>
              <a:buChar char="—"/>
            </a:pPr>
            <a:r>
              <a:rPr lang="sv-SE" spc="-1" dirty="0">
                <a:solidFill>
                  <a:srgbClr val="181818"/>
                </a:solidFill>
                <a:uFill>
                  <a:solidFill>
                    <a:srgbClr val="FFFFFF"/>
                  </a:solidFill>
                </a:uFill>
                <a:latin typeface="Ericsson Hilda" panose="00000500000000000000" pitchFamily="2" charset="0"/>
              </a:rPr>
              <a:t>Statisk spelkaraktär</a:t>
            </a:r>
          </a:p>
          <a:p>
            <a:pPr marL="344170" indent="-343535">
              <a:lnSpc>
                <a:spcPct val="100000"/>
              </a:lnSpc>
              <a:buClr>
                <a:srgbClr val="181818"/>
              </a:buClr>
              <a:buFont typeface="Ericsson Hilda Light"/>
              <a:buChar char="—"/>
            </a:pPr>
            <a:r>
              <a:rPr lang="sv-SE" spc="-1" dirty="0">
                <a:solidFill>
                  <a:srgbClr val="181818"/>
                </a:solidFill>
                <a:uFill>
                  <a:solidFill>
                    <a:srgbClr val="FFFFFF"/>
                  </a:solidFill>
                </a:uFill>
                <a:latin typeface="Ericsson Hilda" panose="00000500000000000000" pitchFamily="2" charset="0"/>
              </a:rPr>
              <a:t>Hinder flyttas från väster till höger för att ge en illusion av en springande karaktär</a:t>
            </a:r>
            <a:endParaRPr lang="sv-SE" b="0" strike="noStrike" spc="-1" dirty="0">
              <a:solidFill>
                <a:srgbClr val="000000"/>
              </a:solidFill>
              <a:uFill>
                <a:solidFill>
                  <a:srgbClr val="FFFFFF"/>
                </a:solidFill>
              </a:uFill>
              <a:latin typeface="Ericsson Hilda" panose="00000500000000000000" pitchFamily="2" charset="0"/>
            </a:endParaRPr>
          </a:p>
          <a:p>
            <a:pPr marL="344170" indent="-343535">
              <a:lnSpc>
                <a:spcPct val="100000"/>
              </a:lnSpc>
              <a:buClr>
                <a:srgbClr val="181818"/>
              </a:buClr>
              <a:buFont typeface="Ericsson Hilda Light"/>
              <a:buChar char="—"/>
            </a:pPr>
            <a:r>
              <a:rPr lang="sv-SE" b="0" strike="noStrike" spc="-1" dirty="0">
                <a:solidFill>
                  <a:srgbClr val="000000"/>
                </a:solidFill>
                <a:uFill>
                  <a:solidFill>
                    <a:srgbClr val="FFFFFF"/>
                  </a:solidFill>
                </a:uFill>
                <a:latin typeface="Ericsson Hilda" panose="00000500000000000000" pitchFamily="2" charset="0"/>
              </a:rPr>
              <a:t>Spelare undviker hinder för högre poäng</a:t>
            </a:r>
          </a:p>
          <a:p>
            <a:pPr marL="801370" lvl="1" indent="-343535">
              <a:buClr>
                <a:srgbClr val="181818"/>
              </a:buClr>
              <a:buFont typeface="Ericsson Hilda Light"/>
              <a:buChar char="—"/>
            </a:pPr>
            <a:r>
              <a:rPr lang="sv-SE" spc="-1" dirty="0">
                <a:solidFill>
                  <a:srgbClr val="000000"/>
                </a:solidFill>
                <a:uFill>
                  <a:solidFill>
                    <a:srgbClr val="FFFFFF"/>
                  </a:solidFill>
                </a:uFill>
                <a:latin typeface="Ericsson Hilda" panose="00000500000000000000" pitchFamily="2" charset="0"/>
              </a:rPr>
              <a:t>Poäng visas på 2st sjusegmentsdisplays</a:t>
            </a:r>
            <a:endParaRPr lang="sv-SE" b="0" strike="noStrike" spc="-1" dirty="0">
              <a:solidFill>
                <a:srgbClr val="000000"/>
              </a:solidFill>
              <a:uFill>
                <a:solidFill>
                  <a:srgbClr val="FFFFFF"/>
                </a:solidFill>
              </a:uFill>
              <a:latin typeface="Ericsson Hilda" panose="00000500000000000000" pitchFamily="2" charset="0"/>
            </a:endParaRPr>
          </a:p>
          <a:p>
            <a:pPr marL="801370" lvl="1" indent="-343535">
              <a:buClr>
                <a:srgbClr val="181818"/>
              </a:buClr>
              <a:buFont typeface="Ericsson Hilda Light"/>
              <a:buChar char="—"/>
            </a:pPr>
            <a:r>
              <a:rPr lang="sv-SE" b="0" strike="noStrike" spc="-1" dirty="0">
                <a:solidFill>
                  <a:srgbClr val="000000"/>
                </a:solidFill>
                <a:uFill>
                  <a:solidFill>
                    <a:srgbClr val="FFFFFF"/>
                  </a:solidFill>
                </a:uFill>
                <a:latin typeface="Ericsson Hilda" panose="00000500000000000000" pitchFamily="2" charset="0"/>
              </a:rPr>
              <a:t>2 typer av hinder:</a:t>
            </a:r>
          </a:p>
          <a:p>
            <a:pPr marL="1258570" lvl="2" indent="-343535">
              <a:buClr>
                <a:srgbClr val="181818"/>
              </a:buClr>
              <a:buFont typeface="Ericsson Hilda Light"/>
              <a:buChar char="—"/>
            </a:pPr>
            <a:r>
              <a:rPr lang="sv-SE" spc="-1" dirty="0">
                <a:solidFill>
                  <a:srgbClr val="000000"/>
                </a:solidFill>
                <a:uFill>
                  <a:solidFill>
                    <a:srgbClr val="FFFFFF"/>
                  </a:solidFill>
                </a:uFill>
                <a:latin typeface="Ericsson Hilda" panose="00000500000000000000" pitchFamily="2" charset="0"/>
              </a:rPr>
              <a:t>Moln</a:t>
            </a:r>
          </a:p>
          <a:p>
            <a:pPr marL="1258570" lvl="2" indent="-343535">
              <a:buClr>
                <a:srgbClr val="181818"/>
              </a:buClr>
              <a:buFont typeface="Ericsson Hilda Light"/>
              <a:buChar char="—"/>
            </a:pPr>
            <a:r>
              <a:rPr lang="sv-SE" spc="-1" dirty="0">
                <a:solidFill>
                  <a:srgbClr val="000000"/>
                </a:solidFill>
                <a:uFill>
                  <a:solidFill>
                    <a:srgbClr val="FFFFFF"/>
                  </a:solidFill>
                </a:uFill>
                <a:latin typeface="Ericsson Hilda" panose="00000500000000000000" pitchFamily="2" charset="0"/>
              </a:rPr>
              <a:t>Träd</a:t>
            </a:r>
            <a:endParaRPr lang="sv-SE" b="0" strike="noStrike" spc="-1" dirty="0">
              <a:solidFill>
                <a:srgbClr val="000000"/>
              </a:solidFill>
              <a:uFill>
                <a:solidFill>
                  <a:srgbClr val="FFFFFF"/>
                </a:solidFill>
              </a:uFill>
              <a:latin typeface="Ericsson Hilda" panose="00000500000000000000" pitchFamily="2" charset="0"/>
            </a:endParaRPr>
          </a:p>
          <a:p>
            <a:pPr marL="344170" indent="-343535">
              <a:lnSpc>
                <a:spcPct val="100000"/>
              </a:lnSpc>
              <a:buClr>
                <a:srgbClr val="181818"/>
              </a:buClr>
              <a:buFont typeface="Ericsson Hilda Light"/>
              <a:buChar char="—"/>
            </a:pPr>
            <a:r>
              <a:rPr lang="sv-SE" spc="-1" dirty="0">
                <a:solidFill>
                  <a:srgbClr val="000000"/>
                </a:solidFill>
                <a:uFill>
                  <a:solidFill>
                    <a:srgbClr val="FFFFFF"/>
                  </a:solidFill>
                </a:uFill>
                <a:latin typeface="Ericsson Hilda" panose="00000500000000000000" pitchFamily="2" charset="0"/>
              </a:rPr>
              <a:t>Misslyckande att undvika hinder resulterar i förlust av liv och tillslut förlust</a:t>
            </a:r>
          </a:p>
          <a:p>
            <a:endParaRPr lang="en-SE" dirty="0"/>
          </a:p>
          <a:p>
            <a:endParaRPr lang="en-SE" dirty="0"/>
          </a:p>
        </p:txBody>
      </p:sp>
      <p:sp>
        <p:nvSpPr>
          <p:cNvPr id="4" name="Slide Number Placeholder 3"/>
          <p:cNvSpPr>
            <a:spLocks noGrp="1"/>
          </p:cNvSpPr>
          <p:nvPr>
            <p:ph type="sldNum"/>
          </p:nvPr>
        </p:nvSpPr>
        <p:spPr/>
        <p:txBody>
          <a:bodyPr/>
          <a:lstStyle/>
          <a:p>
            <a:pPr algn="r"/>
            <a:fld id="{D1CB46C8-135A-47B0-B504-322235719586}" type="slidenum">
              <a:rPr lang="sv-SE" sz="1400" b="0" strike="noStrike" spc="-1" smtClean="0">
                <a:solidFill>
                  <a:srgbClr val="000000"/>
                </a:solidFill>
                <a:uFill>
                  <a:solidFill>
                    <a:srgbClr val="FFFFFF"/>
                  </a:solidFill>
                </a:uFill>
                <a:latin typeface="Times New Roman"/>
              </a:rPr>
              <a:t>9</a:t>
            </a:fld>
            <a:endParaRPr lang="sv-SE" sz="1400" b="0" strike="noStrike" spc="-1">
              <a:solidFill>
                <a:srgbClr val="000000"/>
              </a:solidFill>
              <a:uFill>
                <a:solidFill>
                  <a:srgbClr val="FFFFFF"/>
                </a:solidFill>
              </a:uFill>
              <a:latin typeface="Times New Roman"/>
            </a:endParaRPr>
          </a:p>
        </p:txBody>
      </p:sp>
    </p:spTree>
    <p:extLst>
      <p:ext uri="{BB962C8B-B14F-4D97-AF65-F5344CB8AC3E}">
        <p14:creationId xmlns:p14="http://schemas.microsoft.com/office/powerpoint/2010/main" val="29265296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27"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28" name="PlaceHolder 2"/>
          <p:cNvSpPr>
            <a:spLocks noGrp="1"/>
          </p:cNvSpPr>
          <p:nvPr>
            <p:ph type="body"/>
          </p:nvPr>
        </p:nvSpPr>
        <p:spPr>
          <a:xfrm>
            <a:off x="609480" y="1604520"/>
            <a:ext cx="109724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9" name="PlaceHolder 3"/>
          <p:cNvSpPr>
            <a:spLocks noGrp="1"/>
          </p:cNvSpPr>
          <p:nvPr>
            <p:ph type="body"/>
          </p:nvPr>
        </p:nvSpPr>
        <p:spPr>
          <a:xfrm>
            <a:off x="609480" y="3682080"/>
            <a:ext cx="109724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30"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31"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32"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33" name="PlaceHolder 4"/>
          <p:cNvSpPr>
            <a:spLocks noGrp="1"/>
          </p:cNvSpPr>
          <p:nvPr>
            <p:ph type="body"/>
          </p:nvPr>
        </p:nvSpPr>
        <p:spPr>
          <a:xfrm>
            <a:off x="6231960" y="368208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34" name="PlaceHolder 5"/>
          <p:cNvSpPr>
            <a:spLocks noGrp="1"/>
          </p:cNvSpPr>
          <p:nvPr>
            <p:ph type="body"/>
          </p:nvPr>
        </p:nvSpPr>
        <p:spPr>
          <a:xfrm>
            <a:off x="609480" y="368208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35"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36" name="PlaceHolder 2"/>
          <p:cNvSpPr>
            <a:spLocks noGrp="1"/>
          </p:cNvSpPr>
          <p:nvPr>
            <p:ph type="body"/>
          </p:nvPr>
        </p:nvSpPr>
        <p:spPr>
          <a:xfrm>
            <a:off x="609480" y="160452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37" name="PlaceHolder 3"/>
          <p:cNvSpPr>
            <a:spLocks noGrp="1"/>
          </p:cNvSpPr>
          <p:nvPr>
            <p:ph type="body"/>
          </p:nvPr>
        </p:nvSpPr>
        <p:spPr>
          <a:xfrm>
            <a:off x="4319640" y="160452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38" name="PlaceHolder 4"/>
          <p:cNvSpPr>
            <a:spLocks noGrp="1"/>
          </p:cNvSpPr>
          <p:nvPr>
            <p:ph type="body"/>
          </p:nvPr>
        </p:nvSpPr>
        <p:spPr>
          <a:xfrm>
            <a:off x="8029800" y="160452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39" name="PlaceHolder 5"/>
          <p:cNvSpPr>
            <a:spLocks noGrp="1"/>
          </p:cNvSpPr>
          <p:nvPr>
            <p:ph type="body"/>
          </p:nvPr>
        </p:nvSpPr>
        <p:spPr>
          <a:xfrm>
            <a:off x="8029800" y="368208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40" name="PlaceHolder 6"/>
          <p:cNvSpPr>
            <a:spLocks noGrp="1"/>
          </p:cNvSpPr>
          <p:nvPr>
            <p:ph type="body"/>
          </p:nvPr>
        </p:nvSpPr>
        <p:spPr>
          <a:xfrm>
            <a:off x="4319640" y="368208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41" name="PlaceHolder 7"/>
          <p:cNvSpPr>
            <a:spLocks noGrp="1"/>
          </p:cNvSpPr>
          <p:nvPr>
            <p:ph type="body"/>
          </p:nvPr>
        </p:nvSpPr>
        <p:spPr>
          <a:xfrm>
            <a:off x="609480" y="368208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88"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89" name="PlaceHolder 2"/>
          <p:cNvSpPr>
            <a:spLocks noGrp="1"/>
          </p:cNvSpPr>
          <p:nvPr>
            <p:ph type="subTitle"/>
          </p:nvPr>
        </p:nvSpPr>
        <p:spPr>
          <a:xfrm>
            <a:off x="609480" y="1604520"/>
            <a:ext cx="10972440" cy="3977280"/>
          </a:xfrm>
          <a:prstGeom prst="rect">
            <a:avLst/>
          </a:prstGeom>
        </p:spPr>
        <p:txBody>
          <a:bodyPr lIns="0" tIns="0" rIns="0" bIns="0" anchor="ctr"/>
          <a:lstStyle/>
          <a:p>
            <a:pPr algn="ctr"/>
            <a:endParaRPr lang="sv-SE" sz="3200" b="0" strike="noStrike" spc="-1">
              <a:solidFill>
                <a:srgbClr val="000000"/>
              </a:solidFill>
              <a:uFill>
                <a:solidFill>
                  <a:srgbClr val="FFFFFF"/>
                </a:solidFill>
              </a:uFill>
              <a:latin typeface="Aria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90"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91" name="PlaceHolder 2"/>
          <p:cNvSpPr>
            <a:spLocks noGrp="1"/>
          </p:cNvSpPr>
          <p:nvPr>
            <p:ph type="body"/>
          </p:nvPr>
        </p:nvSpPr>
        <p:spPr>
          <a:xfrm>
            <a:off x="609480" y="1604520"/>
            <a:ext cx="1097244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92"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93"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94" name="PlaceHolder 3"/>
          <p:cNvSpPr>
            <a:spLocks noGrp="1"/>
          </p:cNvSpPr>
          <p:nvPr>
            <p:ph type="body"/>
          </p:nvPr>
        </p:nvSpPr>
        <p:spPr>
          <a:xfrm>
            <a:off x="6231960" y="1604520"/>
            <a:ext cx="535428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95"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96" name="PlaceHolder 1"/>
          <p:cNvSpPr>
            <a:spLocks noGrp="1"/>
          </p:cNvSpPr>
          <p:nvPr>
            <p:ph type="subTitle"/>
          </p:nvPr>
        </p:nvSpPr>
        <p:spPr>
          <a:xfrm>
            <a:off x="479520" y="1631160"/>
            <a:ext cx="8353080" cy="13716000"/>
          </a:xfrm>
          <a:prstGeom prst="rect">
            <a:avLst/>
          </a:prstGeom>
        </p:spPr>
        <p:txBody>
          <a:bodyPr lIns="0" tIns="0" rIns="0" bIns="0" anchor="ctr"/>
          <a:lstStyle/>
          <a:p>
            <a:pPr algn="ctr"/>
            <a:endParaRPr lang="sv-SE" sz="3200" b="0" strike="noStrike" spc="-1">
              <a:solidFill>
                <a:srgbClr val="000000"/>
              </a:solidFill>
              <a:uFill>
                <a:solidFill>
                  <a:srgbClr val="FFFFFF"/>
                </a:solidFill>
              </a:uFill>
              <a:latin typeface="Aria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97"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98"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99" name="PlaceHolder 3"/>
          <p:cNvSpPr>
            <a:spLocks noGrp="1"/>
          </p:cNvSpPr>
          <p:nvPr>
            <p:ph type="body"/>
          </p:nvPr>
        </p:nvSpPr>
        <p:spPr>
          <a:xfrm>
            <a:off x="609480" y="368208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00" name="PlaceHolder 4"/>
          <p:cNvSpPr>
            <a:spLocks noGrp="1"/>
          </p:cNvSpPr>
          <p:nvPr>
            <p:ph type="body"/>
          </p:nvPr>
        </p:nvSpPr>
        <p:spPr>
          <a:xfrm>
            <a:off x="6231960" y="1604520"/>
            <a:ext cx="535428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6"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7" name="PlaceHolder 2"/>
          <p:cNvSpPr>
            <a:spLocks noGrp="1"/>
          </p:cNvSpPr>
          <p:nvPr>
            <p:ph type="subTitle"/>
          </p:nvPr>
        </p:nvSpPr>
        <p:spPr>
          <a:xfrm>
            <a:off x="609480" y="1604520"/>
            <a:ext cx="10972440" cy="3977280"/>
          </a:xfrm>
          <a:prstGeom prst="rect">
            <a:avLst/>
          </a:prstGeom>
        </p:spPr>
        <p:txBody>
          <a:bodyPr lIns="0" tIns="0" rIns="0" bIns="0" anchor="ctr"/>
          <a:lstStyle/>
          <a:p>
            <a:pPr algn="ctr"/>
            <a:endParaRPr lang="sv-SE" sz="3200" b="0" strike="noStrike" spc="-1">
              <a:solidFill>
                <a:srgbClr val="000000"/>
              </a:solidFill>
              <a:uFill>
                <a:solidFill>
                  <a:srgbClr val="FFFFFF"/>
                </a:solidFill>
              </a:uFill>
              <a:latin typeface="Aria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01"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02"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03"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04" name="PlaceHolder 4"/>
          <p:cNvSpPr>
            <a:spLocks noGrp="1"/>
          </p:cNvSpPr>
          <p:nvPr>
            <p:ph type="body"/>
          </p:nvPr>
        </p:nvSpPr>
        <p:spPr>
          <a:xfrm>
            <a:off x="6231960" y="368208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105"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06"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07"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08" name="PlaceHolder 4"/>
          <p:cNvSpPr>
            <a:spLocks noGrp="1"/>
          </p:cNvSpPr>
          <p:nvPr>
            <p:ph type="body"/>
          </p:nvPr>
        </p:nvSpPr>
        <p:spPr>
          <a:xfrm>
            <a:off x="609480" y="3682080"/>
            <a:ext cx="109724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109"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10" name="PlaceHolder 2"/>
          <p:cNvSpPr>
            <a:spLocks noGrp="1"/>
          </p:cNvSpPr>
          <p:nvPr>
            <p:ph type="body"/>
          </p:nvPr>
        </p:nvSpPr>
        <p:spPr>
          <a:xfrm>
            <a:off x="609480" y="1604520"/>
            <a:ext cx="109724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11" name="PlaceHolder 3"/>
          <p:cNvSpPr>
            <a:spLocks noGrp="1"/>
          </p:cNvSpPr>
          <p:nvPr>
            <p:ph type="body"/>
          </p:nvPr>
        </p:nvSpPr>
        <p:spPr>
          <a:xfrm>
            <a:off x="609480" y="3682080"/>
            <a:ext cx="109724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112"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13"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14"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15" name="PlaceHolder 4"/>
          <p:cNvSpPr>
            <a:spLocks noGrp="1"/>
          </p:cNvSpPr>
          <p:nvPr>
            <p:ph type="body"/>
          </p:nvPr>
        </p:nvSpPr>
        <p:spPr>
          <a:xfrm>
            <a:off x="6231960" y="368208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16" name="PlaceHolder 5"/>
          <p:cNvSpPr>
            <a:spLocks noGrp="1"/>
          </p:cNvSpPr>
          <p:nvPr>
            <p:ph type="body"/>
          </p:nvPr>
        </p:nvSpPr>
        <p:spPr>
          <a:xfrm>
            <a:off x="609480" y="368208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117"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18" name="PlaceHolder 2"/>
          <p:cNvSpPr>
            <a:spLocks noGrp="1"/>
          </p:cNvSpPr>
          <p:nvPr>
            <p:ph type="body"/>
          </p:nvPr>
        </p:nvSpPr>
        <p:spPr>
          <a:xfrm>
            <a:off x="609480" y="160452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19" name="PlaceHolder 3"/>
          <p:cNvSpPr>
            <a:spLocks noGrp="1"/>
          </p:cNvSpPr>
          <p:nvPr>
            <p:ph type="body"/>
          </p:nvPr>
        </p:nvSpPr>
        <p:spPr>
          <a:xfrm>
            <a:off x="4319640" y="160452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20" name="PlaceHolder 4"/>
          <p:cNvSpPr>
            <a:spLocks noGrp="1"/>
          </p:cNvSpPr>
          <p:nvPr>
            <p:ph type="body"/>
          </p:nvPr>
        </p:nvSpPr>
        <p:spPr>
          <a:xfrm>
            <a:off x="8029800" y="160452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21" name="PlaceHolder 5"/>
          <p:cNvSpPr>
            <a:spLocks noGrp="1"/>
          </p:cNvSpPr>
          <p:nvPr>
            <p:ph type="body"/>
          </p:nvPr>
        </p:nvSpPr>
        <p:spPr>
          <a:xfrm>
            <a:off x="8029800" y="368208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22" name="PlaceHolder 6"/>
          <p:cNvSpPr>
            <a:spLocks noGrp="1"/>
          </p:cNvSpPr>
          <p:nvPr>
            <p:ph type="body"/>
          </p:nvPr>
        </p:nvSpPr>
        <p:spPr>
          <a:xfrm>
            <a:off x="4319640" y="368208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23" name="PlaceHolder 7"/>
          <p:cNvSpPr>
            <a:spLocks noGrp="1"/>
          </p:cNvSpPr>
          <p:nvPr>
            <p:ph type="body"/>
          </p:nvPr>
        </p:nvSpPr>
        <p:spPr>
          <a:xfrm>
            <a:off x="609480" y="368208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129"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30" name="PlaceHolder 2"/>
          <p:cNvSpPr>
            <a:spLocks noGrp="1"/>
          </p:cNvSpPr>
          <p:nvPr>
            <p:ph type="subTitle"/>
          </p:nvPr>
        </p:nvSpPr>
        <p:spPr>
          <a:xfrm>
            <a:off x="609480" y="1604520"/>
            <a:ext cx="10972440" cy="3977280"/>
          </a:xfrm>
          <a:prstGeom prst="rect">
            <a:avLst/>
          </a:prstGeom>
        </p:spPr>
        <p:txBody>
          <a:bodyPr lIns="0" tIns="0" rIns="0" bIns="0" anchor="ctr"/>
          <a:lstStyle/>
          <a:p>
            <a:pPr algn="ctr"/>
            <a:endParaRPr lang="sv-SE" sz="3200" b="0" strike="noStrike" spc="-1">
              <a:solidFill>
                <a:srgbClr val="000000"/>
              </a:solidFill>
              <a:uFill>
                <a:solidFill>
                  <a:srgbClr val="FFFFFF"/>
                </a:solidFill>
              </a:uFill>
              <a:latin typeface="Arial"/>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131"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32" name="PlaceHolder 2"/>
          <p:cNvSpPr>
            <a:spLocks noGrp="1"/>
          </p:cNvSpPr>
          <p:nvPr>
            <p:ph type="body"/>
          </p:nvPr>
        </p:nvSpPr>
        <p:spPr>
          <a:xfrm>
            <a:off x="609480" y="1604520"/>
            <a:ext cx="1097244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133"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34"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35" name="PlaceHolder 3"/>
          <p:cNvSpPr>
            <a:spLocks noGrp="1"/>
          </p:cNvSpPr>
          <p:nvPr>
            <p:ph type="body"/>
          </p:nvPr>
        </p:nvSpPr>
        <p:spPr>
          <a:xfrm>
            <a:off x="6231960" y="1604520"/>
            <a:ext cx="535428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36"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8"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9" name="PlaceHolder 2"/>
          <p:cNvSpPr>
            <a:spLocks noGrp="1"/>
          </p:cNvSpPr>
          <p:nvPr>
            <p:ph type="body"/>
          </p:nvPr>
        </p:nvSpPr>
        <p:spPr>
          <a:xfrm>
            <a:off x="609480" y="1604520"/>
            <a:ext cx="1097244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37" name="PlaceHolder 1"/>
          <p:cNvSpPr>
            <a:spLocks noGrp="1"/>
          </p:cNvSpPr>
          <p:nvPr>
            <p:ph type="subTitle"/>
          </p:nvPr>
        </p:nvSpPr>
        <p:spPr>
          <a:xfrm>
            <a:off x="479520" y="1631160"/>
            <a:ext cx="8353080" cy="13716000"/>
          </a:xfrm>
          <a:prstGeom prst="rect">
            <a:avLst/>
          </a:prstGeom>
        </p:spPr>
        <p:txBody>
          <a:bodyPr lIns="0" tIns="0" rIns="0" bIns="0" anchor="ctr"/>
          <a:lstStyle/>
          <a:p>
            <a:pPr algn="ctr"/>
            <a:endParaRPr lang="sv-SE" sz="3200" b="0" strike="noStrike" spc="-1">
              <a:solidFill>
                <a:srgbClr val="000000"/>
              </a:solidFill>
              <a:uFill>
                <a:solidFill>
                  <a:srgbClr val="FFFFFF"/>
                </a:solidFill>
              </a:uFill>
              <a:latin typeface="Aria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38"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39"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40" name="PlaceHolder 3"/>
          <p:cNvSpPr>
            <a:spLocks noGrp="1"/>
          </p:cNvSpPr>
          <p:nvPr>
            <p:ph type="body"/>
          </p:nvPr>
        </p:nvSpPr>
        <p:spPr>
          <a:xfrm>
            <a:off x="609480" y="368208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41" name="PlaceHolder 4"/>
          <p:cNvSpPr>
            <a:spLocks noGrp="1"/>
          </p:cNvSpPr>
          <p:nvPr>
            <p:ph type="body"/>
          </p:nvPr>
        </p:nvSpPr>
        <p:spPr>
          <a:xfrm>
            <a:off x="6231960" y="1604520"/>
            <a:ext cx="535428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42"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43"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44"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45" name="PlaceHolder 4"/>
          <p:cNvSpPr>
            <a:spLocks noGrp="1"/>
          </p:cNvSpPr>
          <p:nvPr>
            <p:ph type="body"/>
          </p:nvPr>
        </p:nvSpPr>
        <p:spPr>
          <a:xfrm>
            <a:off x="6231960" y="368208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146"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47"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48"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49" name="PlaceHolder 4"/>
          <p:cNvSpPr>
            <a:spLocks noGrp="1"/>
          </p:cNvSpPr>
          <p:nvPr>
            <p:ph type="body"/>
          </p:nvPr>
        </p:nvSpPr>
        <p:spPr>
          <a:xfrm>
            <a:off x="609480" y="3682080"/>
            <a:ext cx="109724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150"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51" name="PlaceHolder 2"/>
          <p:cNvSpPr>
            <a:spLocks noGrp="1"/>
          </p:cNvSpPr>
          <p:nvPr>
            <p:ph type="body"/>
          </p:nvPr>
        </p:nvSpPr>
        <p:spPr>
          <a:xfrm>
            <a:off x="609480" y="1604520"/>
            <a:ext cx="109724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52" name="PlaceHolder 3"/>
          <p:cNvSpPr>
            <a:spLocks noGrp="1"/>
          </p:cNvSpPr>
          <p:nvPr>
            <p:ph type="body"/>
          </p:nvPr>
        </p:nvSpPr>
        <p:spPr>
          <a:xfrm>
            <a:off x="609480" y="3682080"/>
            <a:ext cx="109724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153"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54"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55"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56" name="PlaceHolder 4"/>
          <p:cNvSpPr>
            <a:spLocks noGrp="1"/>
          </p:cNvSpPr>
          <p:nvPr>
            <p:ph type="body"/>
          </p:nvPr>
        </p:nvSpPr>
        <p:spPr>
          <a:xfrm>
            <a:off x="6231960" y="368208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57" name="PlaceHolder 5"/>
          <p:cNvSpPr>
            <a:spLocks noGrp="1"/>
          </p:cNvSpPr>
          <p:nvPr>
            <p:ph type="body"/>
          </p:nvPr>
        </p:nvSpPr>
        <p:spPr>
          <a:xfrm>
            <a:off x="609480" y="368208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158"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59" name="PlaceHolder 2"/>
          <p:cNvSpPr>
            <a:spLocks noGrp="1"/>
          </p:cNvSpPr>
          <p:nvPr>
            <p:ph type="body"/>
          </p:nvPr>
        </p:nvSpPr>
        <p:spPr>
          <a:xfrm>
            <a:off x="609480" y="160452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60" name="PlaceHolder 3"/>
          <p:cNvSpPr>
            <a:spLocks noGrp="1"/>
          </p:cNvSpPr>
          <p:nvPr>
            <p:ph type="body"/>
          </p:nvPr>
        </p:nvSpPr>
        <p:spPr>
          <a:xfrm>
            <a:off x="4319640" y="160452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61" name="PlaceHolder 4"/>
          <p:cNvSpPr>
            <a:spLocks noGrp="1"/>
          </p:cNvSpPr>
          <p:nvPr>
            <p:ph type="body"/>
          </p:nvPr>
        </p:nvSpPr>
        <p:spPr>
          <a:xfrm>
            <a:off x="8029800" y="160452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62" name="PlaceHolder 5"/>
          <p:cNvSpPr>
            <a:spLocks noGrp="1"/>
          </p:cNvSpPr>
          <p:nvPr>
            <p:ph type="body"/>
          </p:nvPr>
        </p:nvSpPr>
        <p:spPr>
          <a:xfrm>
            <a:off x="8029800" y="368208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63" name="PlaceHolder 6"/>
          <p:cNvSpPr>
            <a:spLocks noGrp="1"/>
          </p:cNvSpPr>
          <p:nvPr>
            <p:ph type="body"/>
          </p:nvPr>
        </p:nvSpPr>
        <p:spPr>
          <a:xfrm>
            <a:off x="4319640" y="368208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64" name="PlaceHolder 7"/>
          <p:cNvSpPr>
            <a:spLocks noGrp="1"/>
          </p:cNvSpPr>
          <p:nvPr>
            <p:ph type="body"/>
          </p:nvPr>
        </p:nvSpPr>
        <p:spPr>
          <a:xfrm>
            <a:off x="609480" y="368208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3"/>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GB">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GB"/>
              <a:t>Slide title, Ericsson Hilda Light 40pt, Ericsson Black, max 2-lines</a:t>
            </a:r>
          </a:p>
        </p:txBody>
      </p:sp>
      <p:pic>
        <p:nvPicPr>
          <p:cNvPr id="6" name="Graphic 5">
            <a:extLst>
              <a:ext uri="{FF2B5EF4-FFF2-40B4-BE49-F238E27FC236}">
                <a16:creationId xmlns:a16="http://schemas.microsoft.com/office/drawing/2014/main" id="{A44C7C5B-04BF-4F0E-888E-CE87D0EF1DA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
        <p:nvSpPr>
          <p:cNvPr id="5"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128B6DA1-0170-4C5B-ABCB-83F1E4B0ECBB}"/>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GB" sz="800" b="0" i="0" u="none">
              <a:solidFill>
                <a:schemeClr val="bg1"/>
              </a:solidFill>
              <a:latin typeface="+mn-lt"/>
            </a:endParaRPr>
          </a:p>
        </p:txBody>
      </p:sp>
      <p:sp>
        <p:nvSpPr>
          <p:cNvPr id="7" name="FirstDividerHider">
            <a:extLst>
              <a:ext uri="{FF2B5EF4-FFF2-40B4-BE49-F238E27FC236}">
                <a16:creationId xmlns:a16="http://schemas.microsoft.com/office/drawing/2014/main" id="{1DDC2944-9064-423F-8989-C84E9A8FA793}"/>
              </a:ext>
            </a:extLst>
          </p:cNvPr>
          <p:cNvSpPr/>
          <p:nvPr userDrawn="1"/>
        </p:nvSpPr>
        <p:spPr bwMode="auto">
          <a:xfrm>
            <a:off x="396000" y="6408751"/>
            <a:ext cx="79513" cy="262393"/>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GB" sz="2000" b="0" i="0" u="none" strike="noStrike" cap="none" normalizeH="0" baseline="0" err="1">
              <a:ln>
                <a:noFill/>
              </a:ln>
              <a:solidFill>
                <a:schemeClr val="bg1"/>
              </a:solidFill>
              <a:effectLst/>
              <a:latin typeface="+mn-lt"/>
            </a:endParaRPr>
          </a:p>
        </p:txBody>
      </p:sp>
    </p:spTree>
    <p:extLst>
      <p:ext uri="{BB962C8B-B14F-4D97-AF65-F5344CB8AC3E}">
        <p14:creationId xmlns:p14="http://schemas.microsoft.com/office/powerpoint/2010/main" val="19152326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172"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73" name="PlaceHolder 2"/>
          <p:cNvSpPr>
            <a:spLocks noGrp="1"/>
          </p:cNvSpPr>
          <p:nvPr>
            <p:ph type="subTitle"/>
          </p:nvPr>
        </p:nvSpPr>
        <p:spPr>
          <a:xfrm>
            <a:off x="609480" y="1604520"/>
            <a:ext cx="10972440" cy="3977280"/>
          </a:xfrm>
          <a:prstGeom prst="rect">
            <a:avLst/>
          </a:prstGeom>
        </p:spPr>
        <p:txBody>
          <a:bodyPr lIns="0" tIns="0" rIns="0" bIns="0" anchor="ctr"/>
          <a:lstStyle/>
          <a:p>
            <a:pPr algn="ctr"/>
            <a:endParaRPr lang="sv-SE" sz="3200" b="0" strike="noStrike" spc="-1">
              <a:solidFill>
                <a:srgbClr val="000000"/>
              </a:solidFill>
              <a:uFill>
                <a:solidFill>
                  <a:srgbClr val="FFFFFF"/>
                </a:solidFill>
              </a:uFill>
              <a:latin typeface="Aria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10"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1"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2" name="PlaceHolder 3"/>
          <p:cNvSpPr>
            <a:spLocks noGrp="1"/>
          </p:cNvSpPr>
          <p:nvPr>
            <p:ph type="body"/>
          </p:nvPr>
        </p:nvSpPr>
        <p:spPr>
          <a:xfrm>
            <a:off x="6231960" y="1604520"/>
            <a:ext cx="535428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174"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75" name="PlaceHolder 2"/>
          <p:cNvSpPr>
            <a:spLocks noGrp="1"/>
          </p:cNvSpPr>
          <p:nvPr>
            <p:ph type="body"/>
          </p:nvPr>
        </p:nvSpPr>
        <p:spPr>
          <a:xfrm>
            <a:off x="609480" y="1604520"/>
            <a:ext cx="1097244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176"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77"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78" name="PlaceHolder 3"/>
          <p:cNvSpPr>
            <a:spLocks noGrp="1"/>
          </p:cNvSpPr>
          <p:nvPr>
            <p:ph type="body"/>
          </p:nvPr>
        </p:nvSpPr>
        <p:spPr>
          <a:xfrm>
            <a:off x="6231960" y="1604520"/>
            <a:ext cx="535428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79"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80" name="PlaceHolder 1"/>
          <p:cNvSpPr>
            <a:spLocks noGrp="1"/>
          </p:cNvSpPr>
          <p:nvPr>
            <p:ph type="subTitle"/>
          </p:nvPr>
        </p:nvSpPr>
        <p:spPr>
          <a:xfrm>
            <a:off x="479520" y="1631160"/>
            <a:ext cx="8353080" cy="13716000"/>
          </a:xfrm>
          <a:prstGeom prst="rect">
            <a:avLst/>
          </a:prstGeom>
        </p:spPr>
        <p:txBody>
          <a:bodyPr lIns="0" tIns="0" rIns="0" bIns="0" anchor="ctr"/>
          <a:lstStyle/>
          <a:p>
            <a:pPr algn="ctr"/>
            <a:endParaRPr lang="sv-SE" sz="3200" b="0" strike="noStrike" spc="-1">
              <a:solidFill>
                <a:srgbClr val="000000"/>
              </a:solidFill>
              <a:uFill>
                <a:solidFill>
                  <a:srgbClr val="FFFFFF"/>
                </a:solidFill>
              </a:uFill>
              <a:latin typeface="Aria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81"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82"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83" name="PlaceHolder 3"/>
          <p:cNvSpPr>
            <a:spLocks noGrp="1"/>
          </p:cNvSpPr>
          <p:nvPr>
            <p:ph type="body"/>
          </p:nvPr>
        </p:nvSpPr>
        <p:spPr>
          <a:xfrm>
            <a:off x="609480" y="368208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84" name="PlaceHolder 4"/>
          <p:cNvSpPr>
            <a:spLocks noGrp="1"/>
          </p:cNvSpPr>
          <p:nvPr>
            <p:ph type="body"/>
          </p:nvPr>
        </p:nvSpPr>
        <p:spPr>
          <a:xfrm>
            <a:off x="6231960" y="1604520"/>
            <a:ext cx="535428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85"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86"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87"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88" name="PlaceHolder 4"/>
          <p:cNvSpPr>
            <a:spLocks noGrp="1"/>
          </p:cNvSpPr>
          <p:nvPr>
            <p:ph type="body"/>
          </p:nvPr>
        </p:nvSpPr>
        <p:spPr>
          <a:xfrm>
            <a:off x="6231960" y="368208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189"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90"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91"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92" name="PlaceHolder 4"/>
          <p:cNvSpPr>
            <a:spLocks noGrp="1"/>
          </p:cNvSpPr>
          <p:nvPr>
            <p:ph type="body"/>
          </p:nvPr>
        </p:nvSpPr>
        <p:spPr>
          <a:xfrm>
            <a:off x="609480" y="3682080"/>
            <a:ext cx="109724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193"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94" name="PlaceHolder 2"/>
          <p:cNvSpPr>
            <a:spLocks noGrp="1"/>
          </p:cNvSpPr>
          <p:nvPr>
            <p:ph type="body"/>
          </p:nvPr>
        </p:nvSpPr>
        <p:spPr>
          <a:xfrm>
            <a:off x="609480" y="1604520"/>
            <a:ext cx="109724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95" name="PlaceHolder 3"/>
          <p:cNvSpPr>
            <a:spLocks noGrp="1"/>
          </p:cNvSpPr>
          <p:nvPr>
            <p:ph type="body"/>
          </p:nvPr>
        </p:nvSpPr>
        <p:spPr>
          <a:xfrm>
            <a:off x="609480" y="3682080"/>
            <a:ext cx="109724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196"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97"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98"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99" name="PlaceHolder 4"/>
          <p:cNvSpPr>
            <a:spLocks noGrp="1"/>
          </p:cNvSpPr>
          <p:nvPr>
            <p:ph type="body"/>
          </p:nvPr>
        </p:nvSpPr>
        <p:spPr>
          <a:xfrm>
            <a:off x="6231960" y="368208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00" name="PlaceHolder 5"/>
          <p:cNvSpPr>
            <a:spLocks noGrp="1"/>
          </p:cNvSpPr>
          <p:nvPr>
            <p:ph type="body"/>
          </p:nvPr>
        </p:nvSpPr>
        <p:spPr>
          <a:xfrm>
            <a:off x="609480" y="368208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201"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202" name="PlaceHolder 2"/>
          <p:cNvSpPr>
            <a:spLocks noGrp="1"/>
          </p:cNvSpPr>
          <p:nvPr>
            <p:ph type="body"/>
          </p:nvPr>
        </p:nvSpPr>
        <p:spPr>
          <a:xfrm>
            <a:off x="609480" y="160452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03" name="PlaceHolder 3"/>
          <p:cNvSpPr>
            <a:spLocks noGrp="1"/>
          </p:cNvSpPr>
          <p:nvPr>
            <p:ph type="body"/>
          </p:nvPr>
        </p:nvSpPr>
        <p:spPr>
          <a:xfrm>
            <a:off x="4319640" y="160452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04" name="PlaceHolder 4"/>
          <p:cNvSpPr>
            <a:spLocks noGrp="1"/>
          </p:cNvSpPr>
          <p:nvPr>
            <p:ph type="body"/>
          </p:nvPr>
        </p:nvSpPr>
        <p:spPr>
          <a:xfrm>
            <a:off x="8029800" y="160452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05" name="PlaceHolder 5"/>
          <p:cNvSpPr>
            <a:spLocks noGrp="1"/>
          </p:cNvSpPr>
          <p:nvPr>
            <p:ph type="body"/>
          </p:nvPr>
        </p:nvSpPr>
        <p:spPr>
          <a:xfrm>
            <a:off x="8029800" y="368208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06" name="PlaceHolder 6"/>
          <p:cNvSpPr>
            <a:spLocks noGrp="1"/>
          </p:cNvSpPr>
          <p:nvPr>
            <p:ph type="body"/>
          </p:nvPr>
        </p:nvSpPr>
        <p:spPr>
          <a:xfrm>
            <a:off x="4319640" y="368208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07" name="PlaceHolder 7"/>
          <p:cNvSpPr>
            <a:spLocks noGrp="1"/>
          </p:cNvSpPr>
          <p:nvPr>
            <p:ph type="body"/>
          </p:nvPr>
        </p:nvSpPr>
        <p:spPr>
          <a:xfrm>
            <a:off x="609480" y="368208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3"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214"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215" name="PlaceHolder 2"/>
          <p:cNvSpPr>
            <a:spLocks noGrp="1"/>
          </p:cNvSpPr>
          <p:nvPr>
            <p:ph type="subTitle"/>
          </p:nvPr>
        </p:nvSpPr>
        <p:spPr>
          <a:xfrm>
            <a:off x="609480" y="1604520"/>
            <a:ext cx="10972440" cy="3977280"/>
          </a:xfrm>
          <a:prstGeom prst="rect">
            <a:avLst/>
          </a:prstGeom>
        </p:spPr>
        <p:txBody>
          <a:bodyPr lIns="0" tIns="0" rIns="0" bIns="0" anchor="ctr"/>
          <a:lstStyle/>
          <a:p>
            <a:pPr algn="ctr"/>
            <a:endParaRPr lang="sv-SE" sz="3200" b="0" strike="noStrike" spc="-1">
              <a:solidFill>
                <a:srgbClr val="000000"/>
              </a:solidFill>
              <a:uFill>
                <a:solidFill>
                  <a:srgbClr val="FFFFFF"/>
                </a:solidFill>
              </a:uFill>
              <a:latin typeface="Arial"/>
            </a:endParaRP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216"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217" name="PlaceHolder 2"/>
          <p:cNvSpPr>
            <a:spLocks noGrp="1"/>
          </p:cNvSpPr>
          <p:nvPr>
            <p:ph type="body"/>
          </p:nvPr>
        </p:nvSpPr>
        <p:spPr>
          <a:xfrm>
            <a:off x="609480" y="1604520"/>
            <a:ext cx="1097244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218"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219"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20" name="PlaceHolder 3"/>
          <p:cNvSpPr>
            <a:spLocks noGrp="1"/>
          </p:cNvSpPr>
          <p:nvPr>
            <p:ph type="body"/>
          </p:nvPr>
        </p:nvSpPr>
        <p:spPr>
          <a:xfrm>
            <a:off x="6231960" y="1604520"/>
            <a:ext cx="535428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21"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222" name="PlaceHolder 1"/>
          <p:cNvSpPr>
            <a:spLocks noGrp="1"/>
          </p:cNvSpPr>
          <p:nvPr>
            <p:ph type="subTitle"/>
          </p:nvPr>
        </p:nvSpPr>
        <p:spPr>
          <a:xfrm>
            <a:off x="479520" y="1631160"/>
            <a:ext cx="8353080" cy="13716000"/>
          </a:xfrm>
          <a:prstGeom prst="rect">
            <a:avLst/>
          </a:prstGeom>
        </p:spPr>
        <p:txBody>
          <a:bodyPr lIns="0" tIns="0" rIns="0" bIns="0" anchor="ctr"/>
          <a:lstStyle/>
          <a:p>
            <a:pPr algn="ctr"/>
            <a:endParaRPr lang="sv-SE" sz="3200" b="0" strike="noStrike" spc="-1">
              <a:solidFill>
                <a:srgbClr val="000000"/>
              </a:solidFill>
              <a:uFill>
                <a:solidFill>
                  <a:srgbClr val="FFFFFF"/>
                </a:solidFill>
              </a:uFill>
              <a:latin typeface="Arial"/>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23"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224"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25" name="PlaceHolder 3"/>
          <p:cNvSpPr>
            <a:spLocks noGrp="1"/>
          </p:cNvSpPr>
          <p:nvPr>
            <p:ph type="body"/>
          </p:nvPr>
        </p:nvSpPr>
        <p:spPr>
          <a:xfrm>
            <a:off x="609480" y="368208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26" name="PlaceHolder 4"/>
          <p:cNvSpPr>
            <a:spLocks noGrp="1"/>
          </p:cNvSpPr>
          <p:nvPr>
            <p:ph type="body"/>
          </p:nvPr>
        </p:nvSpPr>
        <p:spPr>
          <a:xfrm>
            <a:off x="6231960" y="1604520"/>
            <a:ext cx="535428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27"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228"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29"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30" name="PlaceHolder 4"/>
          <p:cNvSpPr>
            <a:spLocks noGrp="1"/>
          </p:cNvSpPr>
          <p:nvPr>
            <p:ph type="body"/>
          </p:nvPr>
        </p:nvSpPr>
        <p:spPr>
          <a:xfrm>
            <a:off x="6231960" y="368208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231"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232"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33"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34" name="PlaceHolder 4"/>
          <p:cNvSpPr>
            <a:spLocks noGrp="1"/>
          </p:cNvSpPr>
          <p:nvPr>
            <p:ph type="body"/>
          </p:nvPr>
        </p:nvSpPr>
        <p:spPr>
          <a:xfrm>
            <a:off x="609480" y="3682080"/>
            <a:ext cx="109724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235"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236" name="PlaceHolder 2"/>
          <p:cNvSpPr>
            <a:spLocks noGrp="1"/>
          </p:cNvSpPr>
          <p:nvPr>
            <p:ph type="body"/>
          </p:nvPr>
        </p:nvSpPr>
        <p:spPr>
          <a:xfrm>
            <a:off x="609480" y="1604520"/>
            <a:ext cx="109724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37" name="PlaceHolder 3"/>
          <p:cNvSpPr>
            <a:spLocks noGrp="1"/>
          </p:cNvSpPr>
          <p:nvPr>
            <p:ph type="body"/>
          </p:nvPr>
        </p:nvSpPr>
        <p:spPr>
          <a:xfrm>
            <a:off x="609480" y="3682080"/>
            <a:ext cx="109724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4" name="PlaceHolder 1"/>
          <p:cNvSpPr>
            <a:spLocks noGrp="1"/>
          </p:cNvSpPr>
          <p:nvPr>
            <p:ph type="subTitle"/>
          </p:nvPr>
        </p:nvSpPr>
        <p:spPr>
          <a:xfrm>
            <a:off x="479520" y="1631160"/>
            <a:ext cx="8353080" cy="13716000"/>
          </a:xfrm>
          <a:prstGeom prst="rect">
            <a:avLst/>
          </a:prstGeom>
        </p:spPr>
        <p:txBody>
          <a:bodyPr lIns="0" tIns="0" rIns="0" bIns="0" anchor="ctr"/>
          <a:lstStyle/>
          <a:p>
            <a:pPr algn="ctr"/>
            <a:endParaRPr lang="sv-SE" sz="3200" b="0" strike="noStrike" spc="-1">
              <a:solidFill>
                <a:srgbClr val="000000"/>
              </a:solidFill>
              <a:uFill>
                <a:solidFill>
                  <a:srgbClr val="FFFFFF"/>
                </a:solidFill>
              </a:uFill>
              <a:latin typeface="Arial"/>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238"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239"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40"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41" name="PlaceHolder 4"/>
          <p:cNvSpPr>
            <a:spLocks noGrp="1"/>
          </p:cNvSpPr>
          <p:nvPr>
            <p:ph type="body"/>
          </p:nvPr>
        </p:nvSpPr>
        <p:spPr>
          <a:xfrm>
            <a:off x="6231960" y="368208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42" name="PlaceHolder 5"/>
          <p:cNvSpPr>
            <a:spLocks noGrp="1"/>
          </p:cNvSpPr>
          <p:nvPr>
            <p:ph type="body"/>
          </p:nvPr>
        </p:nvSpPr>
        <p:spPr>
          <a:xfrm>
            <a:off x="609480" y="368208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243"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244" name="PlaceHolder 2"/>
          <p:cNvSpPr>
            <a:spLocks noGrp="1"/>
          </p:cNvSpPr>
          <p:nvPr>
            <p:ph type="body"/>
          </p:nvPr>
        </p:nvSpPr>
        <p:spPr>
          <a:xfrm>
            <a:off x="609480" y="160452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45" name="PlaceHolder 3"/>
          <p:cNvSpPr>
            <a:spLocks noGrp="1"/>
          </p:cNvSpPr>
          <p:nvPr>
            <p:ph type="body"/>
          </p:nvPr>
        </p:nvSpPr>
        <p:spPr>
          <a:xfrm>
            <a:off x="4319640" y="160452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46" name="PlaceHolder 4"/>
          <p:cNvSpPr>
            <a:spLocks noGrp="1"/>
          </p:cNvSpPr>
          <p:nvPr>
            <p:ph type="body"/>
          </p:nvPr>
        </p:nvSpPr>
        <p:spPr>
          <a:xfrm>
            <a:off x="8029800" y="160452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47" name="PlaceHolder 5"/>
          <p:cNvSpPr>
            <a:spLocks noGrp="1"/>
          </p:cNvSpPr>
          <p:nvPr>
            <p:ph type="body"/>
          </p:nvPr>
        </p:nvSpPr>
        <p:spPr>
          <a:xfrm>
            <a:off x="8029800" y="368208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48" name="PlaceHolder 6"/>
          <p:cNvSpPr>
            <a:spLocks noGrp="1"/>
          </p:cNvSpPr>
          <p:nvPr>
            <p:ph type="body"/>
          </p:nvPr>
        </p:nvSpPr>
        <p:spPr>
          <a:xfrm>
            <a:off x="4319640" y="368208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49" name="PlaceHolder 7"/>
          <p:cNvSpPr>
            <a:spLocks noGrp="1"/>
          </p:cNvSpPr>
          <p:nvPr>
            <p:ph type="body"/>
          </p:nvPr>
        </p:nvSpPr>
        <p:spPr>
          <a:xfrm>
            <a:off x="609480" y="3682080"/>
            <a:ext cx="35330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5"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16"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7" name="PlaceHolder 3"/>
          <p:cNvSpPr>
            <a:spLocks noGrp="1"/>
          </p:cNvSpPr>
          <p:nvPr>
            <p:ph type="body"/>
          </p:nvPr>
        </p:nvSpPr>
        <p:spPr>
          <a:xfrm>
            <a:off x="609480" y="368208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18" name="PlaceHolder 4"/>
          <p:cNvSpPr>
            <a:spLocks noGrp="1"/>
          </p:cNvSpPr>
          <p:nvPr>
            <p:ph type="body"/>
          </p:nvPr>
        </p:nvSpPr>
        <p:spPr>
          <a:xfrm>
            <a:off x="6231960" y="1604520"/>
            <a:ext cx="535428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9"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20"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1"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2" name="PlaceHolder 4"/>
          <p:cNvSpPr>
            <a:spLocks noGrp="1"/>
          </p:cNvSpPr>
          <p:nvPr>
            <p:ph type="body"/>
          </p:nvPr>
        </p:nvSpPr>
        <p:spPr>
          <a:xfrm>
            <a:off x="6231960" y="368208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23" name="PlaceHolder 1"/>
          <p:cNvSpPr>
            <a:spLocks noGrp="1"/>
          </p:cNvSpPr>
          <p:nvPr>
            <p:ph type="title"/>
          </p:nvPr>
        </p:nvSpPr>
        <p:spPr>
          <a:xfrm>
            <a:off x="479520" y="476280"/>
            <a:ext cx="8353080" cy="3457080"/>
          </a:xfrm>
          <a:prstGeom prst="rect">
            <a:avLst/>
          </a:prstGeom>
        </p:spPr>
        <p:txBody>
          <a:bodyPr lIns="0" tIns="0" rIns="0" bIns="0" anchor="ctr"/>
          <a:lstStyle/>
          <a:p>
            <a:endParaRPr lang="en-US" sz="1800" b="0" strike="noStrike" spc="-1">
              <a:solidFill>
                <a:srgbClr val="181818"/>
              </a:solidFill>
              <a:uFill>
                <a:solidFill>
                  <a:srgbClr val="FFFFFF"/>
                </a:solidFill>
              </a:uFill>
              <a:latin typeface="Ericsson Hilda"/>
            </a:endParaRPr>
          </a:p>
        </p:txBody>
      </p:sp>
      <p:sp>
        <p:nvSpPr>
          <p:cNvPr id="24"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5"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
        <p:nvSpPr>
          <p:cNvPr id="26" name="PlaceHolder 4"/>
          <p:cNvSpPr>
            <a:spLocks noGrp="1"/>
          </p:cNvSpPr>
          <p:nvPr>
            <p:ph type="body"/>
          </p:nvPr>
        </p:nvSpPr>
        <p:spPr>
          <a:xfrm>
            <a:off x="609480" y="3682080"/>
            <a:ext cx="10972440" cy="1896840"/>
          </a:xfrm>
          <a:prstGeom prst="rect">
            <a:avLst/>
          </a:prstGeom>
        </p:spPr>
        <p:txBody>
          <a:bodyPr lIns="0" tIns="0" rIns="0" bIns="0">
            <a:normAutofit/>
          </a:bodyPr>
          <a:lstStyle/>
          <a:p>
            <a:endParaRPr lang="en-US" sz="2000" b="0" strike="noStrike" spc="-29">
              <a:solidFill>
                <a:srgbClr val="181818"/>
              </a:solidFill>
              <a:uFill>
                <a:solidFill>
                  <a:srgbClr val="FFFFFF"/>
                </a:solidFill>
              </a:uFill>
              <a:latin typeface="Ericsson Hilda"/>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2.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1.pn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4.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5.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image" Target="../media/image2.png"/><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 name="CustomShape 1"/>
          <p:cNvSpPr/>
          <p:nvPr/>
        </p:nvSpPr>
        <p:spPr>
          <a:xfrm>
            <a:off x="527040" y="6524640"/>
            <a:ext cx="9865440" cy="215640"/>
          </a:xfrm>
          <a:prstGeom prst="rect">
            <a:avLst/>
          </a:prstGeom>
          <a:noFill/>
          <a:ln>
            <a:noFill/>
          </a:ln>
        </p:spPr>
        <p:style>
          <a:lnRef idx="0">
            <a:scrgbClr r="0" g="0" b="0"/>
          </a:lnRef>
          <a:fillRef idx="0">
            <a:scrgbClr r="0" g="0" b="0"/>
          </a:fillRef>
          <a:effectRef idx="0">
            <a:scrgbClr r="0" g="0" b="0"/>
          </a:effectRef>
          <a:fontRef idx="minor"/>
        </p:style>
        <p:txBody>
          <a:bodyPr wrap="none" lIns="0" tIns="0" rIns="0" bIns="0"/>
          <a:lstStyle/>
          <a:p>
            <a:pPr>
              <a:lnSpc>
                <a:spcPct val="100000"/>
              </a:lnSpc>
            </a:pPr>
            <a:r>
              <a:rPr lang="sv-SE" sz="800" b="0" strike="noStrike" spc="-1">
                <a:solidFill>
                  <a:srgbClr val="FFFFFF"/>
                </a:solidFill>
                <a:uFill>
                  <a:solidFill>
                    <a:srgbClr val="FFFFFF"/>
                  </a:solidFill>
                </a:uFill>
                <a:latin typeface="Ericsson Hilda"/>
              </a:rPr>
              <a:t>Ericsson Internal  |  2018-02-21</a:t>
            </a:r>
            <a:endParaRPr lang="sv-SE" sz="800" b="0" strike="noStrike" spc="-1">
              <a:solidFill>
                <a:srgbClr val="000000"/>
              </a:solidFill>
              <a:uFill>
                <a:solidFill>
                  <a:srgbClr val="FFFFFF"/>
                </a:solidFill>
              </a:uFill>
              <a:latin typeface="Arial"/>
            </a:endParaRPr>
          </a:p>
        </p:txBody>
      </p:sp>
      <p:pic>
        <p:nvPicPr>
          <p:cNvPr id="7" name="Graphic 5"/>
          <p:cNvPicPr/>
          <p:nvPr/>
        </p:nvPicPr>
        <p:blipFill>
          <a:blip r:embed="rId14"/>
          <a:stretch/>
        </p:blipFill>
        <p:spPr>
          <a:xfrm>
            <a:off x="11490480" y="476280"/>
            <a:ext cx="255600" cy="255600"/>
          </a:xfrm>
          <a:prstGeom prst="rect">
            <a:avLst/>
          </a:prstGeom>
          <a:ln>
            <a:noFill/>
          </a:ln>
        </p:spPr>
      </p:pic>
      <p:sp>
        <p:nvSpPr>
          <p:cNvPr id="2" name="PlaceHolder 2"/>
          <p:cNvSpPr>
            <a:spLocks noGrp="1"/>
          </p:cNvSpPr>
          <p:nvPr>
            <p:ph type="title"/>
          </p:nvPr>
        </p:nvSpPr>
        <p:spPr>
          <a:xfrm>
            <a:off x="479520" y="476280"/>
            <a:ext cx="8353080" cy="3457080"/>
          </a:xfrm>
          <a:prstGeom prst="rect">
            <a:avLst/>
          </a:prstGeom>
        </p:spPr>
        <p:txBody>
          <a:bodyPr lIns="72000" tIns="36000" rIns="73080" bIns="36720"/>
          <a:lstStyle/>
          <a:p>
            <a:pPr>
              <a:lnSpc>
                <a:spcPct val="85000"/>
              </a:lnSpc>
              <a:spcBef>
                <a:spcPts val="300"/>
              </a:spcBef>
            </a:pPr>
            <a:r>
              <a:rPr lang="en-US" sz="6000" b="0" strike="noStrike" spc="-157">
                <a:solidFill>
                  <a:srgbClr val="181818"/>
                </a:solidFill>
                <a:uFill>
                  <a:solidFill>
                    <a:srgbClr val="FFFFFF"/>
                  </a:solidFill>
                </a:uFill>
                <a:latin typeface="Ericsson Hilda Light"/>
              </a:rPr>
              <a:t>Presentation title,</a:t>
            </a:r>
            <a:br/>
            <a:r>
              <a:rPr lang="en-US" sz="6000" b="0" strike="noStrike" spc="-157">
                <a:solidFill>
                  <a:srgbClr val="181818"/>
                </a:solidFill>
                <a:uFill>
                  <a:solidFill>
                    <a:srgbClr val="FFFFFF"/>
                  </a:solidFill>
                </a:uFill>
                <a:latin typeface="Ericsson Hilda Light"/>
              </a:rPr>
              <a:t>Ericsson Hilda Light 60pt,</a:t>
            </a:r>
            <a:br/>
            <a:r>
              <a:rPr lang="en-US" sz="6000" b="0" strike="noStrike" spc="-157">
                <a:solidFill>
                  <a:srgbClr val="181818"/>
                </a:solidFill>
                <a:uFill>
                  <a:solidFill>
                    <a:srgbClr val="FFFFFF"/>
                  </a:solidFill>
                </a:uFill>
                <a:latin typeface="Ericsson Hilda Light"/>
              </a:rPr>
              <a:t>Ericsson Black,</a:t>
            </a:r>
            <a:br/>
            <a:r>
              <a:rPr lang="en-US" sz="6000" b="0" strike="noStrike" spc="-157">
                <a:solidFill>
                  <a:srgbClr val="181818"/>
                </a:solidFill>
                <a:uFill>
                  <a:solidFill>
                    <a:srgbClr val="FFFFFF"/>
                  </a:solidFill>
                </a:uFill>
                <a:latin typeface="Ericsson Hilda Light"/>
              </a:rPr>
              <a:t>max 4-lines</a:t>
            </a:r>
            <a:endParaRPr lang="en-US" sz="6000" b="0" strike="noStrike" spc="-1">
              <a:solidFill>
                <a:srgbClr val="181818"/>
              </a:solidFill>
              <a:uFill>
                <a:solidFill>
                  <a:srgbClr val="FFFFFF"/>
                </a:solidFill>
              </a:uFill>
              <a:latin typeface="Ericsson Hilda"/>
            </a:endParaRPr>
          </a:p>
        </p:txBody>
      </p:sp>
      <p:sp>
        <p:nvSpPr>
          <p:cNvPr id="3" name="PlaceHolder 3"/>
          <p:cNvSpPr>
            <a:spLocks noGrp="1"/>
          </p:cNvSpPr>
          <p:nvPr>
            <p:ph type="body"/>
          </p:nvPr>
        </p:nvSpPr>
        <p:spPr>
          <a:xfrm>
            <a:off x="6240600" y="6237360"/>
            <a:ext cx="1910160" cy="286920"/>
          </a:xfrm>
          <a:prstGeom prst="rect">
            <a:avLst/>
          </a:prstGeom>
        </p:spPr>
        <p:txBody>
          <a:bodyPr lIns="72000" tIns="36000" rIns="73080" bIns="36720" anchor="b"/>
          <a:lstStyle/>
          <a:p>
            <a:pPr algn="r">
              <a:lnSpc>
                <a:spcPct val="100000"/>
              </a:lnSpc>
              <a:spcBef>
                <a:spcPts val="300"/>
              </a:spcBef>
            </a:pPr>
            <a:r>
              <a:rPr lang="en-US" sz="1200" b="0" strike="noStrike" spc="-29">
                <a:solidFill>
                  <a:srgbClr val="181818"/>
                </a:solidFill>
                <a:uFill>
                  <a:solidFill>
                    <a:srgbClr val="FFFFFF"/>
                  </a:solidFill>
                </a:uFill>
                <a:latin typeface="Ericsson Hilda"/>
              </a:rPr>
              <a:t>Speaker name</a:t>
            </a:r>
          </a:p>
        </p:txBody>
      </p:sp>
      <p:sp>
        <p:nvSpPr>
          <p:cNvPr id="4" name="PlaceHolder 4"/>
          <p:cNvSpPr>
            <a:spLocks noGrp="1"/>
          </p:cNvSpPr>
          <p:nvPr>
            <p:ph type="body"/>
          </p:nvPr>
        </p:nvSpPr>
        <p:spPr>
          <a:xfrm>
            <a:off x="8229600" y="6237360"/>
            <a:ext cx="2514600" cy="286920"/>
          </a:xfrm>
          <a:prstGeom prst="rect">
            <a:avLst/>
          </a:prstGeom>
        </p:spPr>
        <p:txBody>
          <a:bodyPr lIns="72000" tIns="0" rIns="0" bIns="36720" anchor="b"/>
          <a:lstStyle/>
          <a:p>
            <a:pPr algn="ctr">
              <a:lnSpc>
                <a:spcPct val="100000"/>
              </a:lnSpc>
              <a:spcBef>
                <a:spcPts val="300"/>
              </a:spcBef>
            </a:pPr>
            <a:r>
              <a:rPr lang="en-US" sz="1200" b="0" strike="noStrike" spc="-29">
                <a:solidFill>
                  <a:srgbClr val="181818"/>
                </a:solidFill>
                <a:uFill>
                  <a:solidFill>
                    <a:srgbClr val="FFFFFF"/>
                  </a:solidFill>
                </a:uFill>
                <a:latin typeface="Ericsson Hilda"/>
              </a:rPr>
              <a:t>Organization</a:t>
            </a:r>
          </a:p>
        </p:txBody>
      </p:sp>
      <p:sp>
        <p:nvSpPr>
          <p:cNvPr id="5" name="PlaceHolder 5"/>
          <p:cNvSpPr>
            <a:spLocks noGrp="1"/>
          </p:cNvSpPr>
          <p:nvPr>
            <p:ph type="body"/>
          </p:nvPr>
        </p:nvSpPr>
        <p:spPr>
          <a:xfrm>
            <a:off x="10811880" y="6237360"/>
            <a:ext cx="897120" cy="286920"/>
          </a:xfrm>
          <a:prstGeom prst="rect">
            <a:avLst/>
          </a:prstGeom>
        </p:spPr>
        <p:txBody>
          <a:bodyPr lIns="72000" tIns="0" rIns="0" bIns="36720" anchor="b"/>
          <a:lstStyle/>
          <a:p>
            <a:pPr algn="ctr">
              <a:lnSpc>
                <a:spcPct val="100000"/>
              </a:lnSpc>
              <a:spcBef>
                <a:spcPts val="300"/>
              </a:spcBef>
            </a:pPr>
            <a:r>
              <a:rPr lang="en-US" sz="1200" b="0" strike="noStrike" spc="-29">
                <a:solidFill>
                  <a:srgbClr val="181818"/>
                </a:solidFill>
                <a:uFill>
                  <a:solidFill>
                    <a:srgbClr val="FFFFFF"/>
                  </a:solidFill>
                </a:uFill>
                <a:latin typeface="Ericsson Hilda"/>
              </a:rPr>
              <a:t>YYYY-MM-DD</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82" name="CustomShape 1" hidden="1"/>
          <p:cNvSpPr/>
          <p:nvPr/>
        </p:nvSpPr>
        <p:spPr>
          <a:xfrm>
            <a:off x="527040" y="6524640"/>
            <a:ext cx="9865440" cy="215640"/>
          </a:xfrm>
          <a:prstGeom prst="rect">
            <a:avLst/>
          </a:prstGeom>
          <a:noFill/>
          <a:ln>
            <a:noFill/>
          </a:ln>
        </p:spPr>
        <p:style>
          <a:lnRef idx="0">
            <a:scrgbClr r="0" g="0" b="0"/>
          </a:lnRef>
          <a:fillRef idx="0">
            <a:scrgbClr r="0" g="0" b="0"/>
          </a:fillRef>
          <a:effectRef idx="0">
            <a:scrgbClr r="0" g="0" b="0"/>
          </a:effectRef>
          <a:fontRef idx="minor"/>
        </p:style>
        <p:txBody>
          <a:bodyPr wrap="none" lIns="0" tIns="0" rIns="0" bIns="0"/>
          <a:lstStyle/>
          <a:p>
            <a:pPr>
              <a:lnSpc>
                <a:spcPct val="100000"/>
              </a:lnSpc>
            </a:pPr>
            <a:r>
              <a:rPr lang="sv-SE" sz="800" b="0" strike="noStrike" spc="-1">
                <a:solidFill>
                  <a:srgbClr val="FFFFFF"/>
                </a:solidFill>
                <a:uFill>
                  <a:solidFill>
                    <a:srgbClr val="FFFFFF"/>
                  </a:solidFill>
                </a:uFill>
                <a:latin typeface="Ericsson Hilda"/>
              </a:rPr>
              <a:t>Ericsson Internal  |  2018-02-21</a:t>
            </a:r>
            <a:endParaRPr lang="sv-SE" sz="800" b="0" strike="noStrike" spc="-1">
              <a:solidFill>
                <a:srgbClr val="000000"/>
              </a:solidFill>
              <a:uFill>
                <a:solidFill>
                  <a:srgbClr val="FFFFFF"/>
                </a:solidFill>
              </a:uFill>
              <a:latin typeface="Arial"/>
            </a:endParaRPr>
          </a:p>
        </p:txBody>
      </p:sp>
      <p:pic>
        <p:nvPicPr>
          <p:cNvPr id="83" name="Graphic 5"/>
          <p:cNvPicPr/>
          <p:nvPr/>
        </p:nvPicPr>
        <p:blipFill>
          <a:blip r:embed="rId14"/>
          <a:stretch/>
        </p:blipFill>
        <p:spPr>
          <a:xfrm>
            <a:off x="11490480" y="476280"/>
            <a:ext cx="255600" cy="255600"/>
          </a:xfrm>
          <a:prstGeom prst="rect">
            <a:avLst/>
          </a:prstGeom>
          <a:ln>
            <a:noFill/>
          </a:ln>
        </p:spPr>
      </p:pic>
      <p:sp>
        <p:nvSpPr>
          <p:cNvPr id="84" name="CustomShape 2"/>
          <p:cNvSpPr/>
          <p:nvPr/>
        </p:nvSpPr>
        <p:spPr>
          <a:xfrm>
            <a:off x="0" y="0"/>
            <a:ext cx="12191760" cy="6857640"/>
          </a:xfrm>
          <a:prstGeom prst="rect">
            <a:avLst/>
          </a:prstGeom>
          <a:solidFill>
            <a:schemeClr val="accent5"/>
          </a:solidFill>
          <a:ln>
            <a:noFill/>
          </a:ln>
        </p:spPr>
        <p:style>
          <a:lnRef idx="0">
            <a:scrgbClr r="0" g="0" b="0"/>
          </a:lnRef>
          <a:fillRef idx="0">
            <a:scrgbClr r="0" g="0" b="0"/>
          </a:fillRef>
          <a:effectRef idx="0">
            <a:scrgbClr r="0" g="0" b="0"/>
          </a:effectRef>
          <a:fontRef idx="minor"/>
        </p:style>
      </p:sp>
      <p:sp>
        <p:nvSpPr>
          <p:cNvPr id="85" name="PlaceHolder 3"/>
          <p:cNvSpPr>
            <a:spLocks noGrp="1"/>
          </p:cNvSpPr>
          <p:nvPr>
            <p:ph type="title"/>
          </p:nvPr>
        </p:nvSpPr>
        <p:spPr>
          <a:xfrm>
            <a:off x="479520" y="476280"/>
            <a:ext cx="8353080" cy="3457080"/>
          </a:xfrm>
          <a:prstGeom prst="rect">
            <a:avLst/>
          </a:prstGeom>
        </p:spPr>
        <p:txBody>
          <a:bodyPr lIns="72000" tIns="36000" rIns="73080" bIns="36720"/>
          <a:lstStyle/>
          <a:p>
            <a:pPr>
              <a:lnSpc>
                <a:spcPct val="100000"/>
              </a:lnSpc>
              <a:spcBef>
                <a:spcPts val="300"/>
              </a:spcBef>
            </a:pPr>
            <a:r>
              <a:rPr lang="en-US" sz="6000" b="0" strike="noStrike" spc="-157">
                <a:solidFill>
                  <a:srgbClr val="FFFFFF"/>
                </a:solidFill>
                <a:uFill>
                  <a:solidFill>
                    <a:srgbClr val="FFFFFF"/>
                  </a:solidFill>
                </a:uFill>
                <a:latin typeface="Ericsson Hilda Light"/>
              </a:rPr>
              <a:t>Chapter/section divider or Statement/fact/quote, </a:t>
            </a:r>
            <a:br/>
            <a:r>
              <a:rPr lang="en-US" sz="6000" b="0" strike="noStrike" spc="-157">
                <a:solidFill>
                  <a:srgbClr val="FFFFFF"/>
                </a:solidFill>
                <a:uFill>
                  <a:solidFill>
                    <a:srgbClr val="FFFFFF"/>
                  </a:solidFill>
                </a:uFill>
                <a:latin typeface="Ericsson Hilda Light"/>
              </a:rPr>
              <a:t>Ericsson Hilda Light 60pt, </a:t>
            </a:r>
            <a:br/>
            <a:r>
              <a:rPr lang="en-US" sz="6000" b="0" strike="noStrike" spc="-157">
                <a:solidFill>
                  <a:srgbClr val="FFFFFF"/>
                </a:solidFill>
                <a:uFill>
                  <a:solidFill>
                    <a:srgbClr val="FFFFFF"/>
                  </a:solidFill>
                </a:uFill>
                <a:latin typeface="Ericsson Hilda Light"/>
              </a:rPr>
              <a:t>Ericsson White, </a:t>
            </a:r>
            <a:br/>
            <a:r>
              <a:rPr lang="en-US" sz="6000" b="0" strike="noStrike" spc="-157">
                <a:solidFill>
                  <a:srgbClr val="FFFFFF"/>
                </a:solidFill>
                <a:uFill>
                  <a:solidFill>
                    <a:srgbClr val="FFFFFF"/>
                  </a:solidFill>
                </a:uFill>
                <a:latin typeface="Ericsson Hilda Light"/>
              </a:rPr>
              <a:t>max 5-lines</a:t>
            </a:r>
            <a:endParaRPr lang="en-US" sz="6000" b="0" strike="noStrike" spc="-1">
              <a:solidFill>
                <a:srgbClr val="181818"/>
              </a:solidFill>
              <a:uFill>
                <a:solidFill>
                  <a:srgbClr val="FFFFFF"/>
                </a:solidFill>
              </a:uFill>
              <a:latin typeface="Ericsson Hilda"/>
            </a:endParaRPr>
          </a:p>
        </p:txBody>
      </p:sp>
      <p:pic>
        <p:nvPicPr>
          <p:cNvPr id="86" name="Graphic 5"/>
          <p:cNvPicPr/>
          <p:nvPr/>
        </p:nvPicPr>
        <p:blipFill>
          <a:blip r:embed="rId15"/>
          <a:stretch/>
        </p:blipFill>
        <p:spPr>
          <a:xfrm>
            <a:off x="11487240" y="476280"/>
            <a:ext cx="261000" cy="261000"/>
          </a:xfrm>
          <a:prstGeom prst="rect">
            <a:avLst/>
          </a:prstGeom>
          <a:ln>
            <a:noFill/>
          </a:ln>
        </p:spPr>
      </p:pic>
      <p:sp>
        <p:nvSpPr>
          <p:cNvPr id="87" name="PlaceHolder 4"/>
          <p:cNvSpPr>
            <a:spLocks noGrp="1"/>
          </p:cNvSpPr>
          <p:nvPr>
            <p:ph type="body"/>
          </p:nvPr>
        </p:nvSpPr>
        <p:spPr>
          <a:xfrm>
            <a:off x="609480" y="1604520"/>
            <a:ext cx="10972440" cy="397728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2000" b="0" strike="noStrike" spc="-29">
                <a:solidFill>
                  <a:srgbClr val="181818"/>
                </a:solidFill>
                <a:uFill>
                  <a:solidFill>
                    <a:srgbClr val="FFFFFF"/>
                  </a:solidFill>
                </a:uFill>
                <a:latin typeface="Ericsson Hilda"/>
              </a:rPr>
              <a:t>Click to edit the outline text format</a:t>
            </a:r>
          </a:p>
          <a:p>
            <a:pPr marL="864000" lvl="1" indent="-324000">
              <a:spcBef>
                <a:spcPts val="1134"/>
              </a:spcBef>
              <a:buClr>
                <a:srgbClr val="000000"/>
              </a:buClr>
              <a:buSzPct val="75000"/>
              <a:buFont typeface="Symbol" charset="2"/>
              <a:buChar char=""/>
            </a:pPr>
            <a:r>
              <a:rPr lang="en-US" sz="2000" b="0" strike="noStrike" spc="-29">
                <a:solidFill>
                  <a:srgbClr val="181818"/>
                </a:solidFill>
                <a:uFill>
                  <a:solidFill>
                    <a:srgbClr val="FFFFFF"/>
                  </a:solidFill>
                </a:uFill>
                <a:latin typeface="Ericsson Hilda"/>
              </a:rPr>
              <a:t>Second Outline Level</a:t>
            </a:r>
          </a:p>
          <a:p>
            <a:pPr marL="1296000" lvl="2" indent="-288000">
              <a:spcBef>
                <a:spcPts val="850"/>
              </a:spcBef>
              <a:buClr>
                <a:srgbClr val="000000"/>
              </a:buClr>
              <a:buSzPct val="45000"/>
              <a:buFont typeface="Wingdings" charset="2"/>
              <a:buChar char=""/>
            </a:pPr>
            <a:r>
              <a:rPr lang="en-US" sz="2000" b="0" strike="noStrike" spc="-29">
                <a:solidFill>
                  <a:srgbClr val="181818"/>
                </a:solidFill>
                <a:uFill>
                  <a:solidFill>
                    <a:srgbClr val="FFFFFF"/>
                  </a:solidFill>
                </a:uFill>
                <a:latin typeface="Ericsson Hilda"/>
              </a:rPr>
              <a:t>Third Outline Level</a:t>
            </a:r>
          </a:p>
          <a:p>
            <a:pPr marL="1728000" lvl="3" indent="-216000">
              <a:spcBef>
                <a:spcPts val="567"/>
              </a:spcBef>
              <a:buClr>
                <a:srgbClr val="000000"/>
              </a:buClr>
              <a:buSzPct val="75000"/>
              <a:buFont typeface="Symbol" charset="2"/>
              <a:buChar char=""/>
            </a:pPr>
            <a:r>
              <a:rPr lang="en-US" sz="2000" b="0" strike="noStrike" spc="-29">
                <a:solidFill>
                  <a:srgbClr val="181818"/>
                </a:solidFill>
                <a:uFill>
                  <a:solidFill>
                    <a:srgbClr val="FFFFFF"/>
                  </a:solidFill>
                </a:uFill>
                <a:latin typeface="Ericsson Hilda"/>
              </a:rPr>
              <a:t>Fourth Outline Level</a:t>
            </a:r>
          </a:p>
          <a:p>
            <a:pPr marL="2160000" lvl="4" indent="-216000">
              <a:spcBef>
                <a:spcPts val="283"/>
              </a:spcBef>
              <a:buClr>
                <a:srgbClr val="000000"/>
              </a:buClr>
              <a:buSzPct val="45000"/>
              <a:buFont typeface="Wingdings" charset="2"/>
              <a:buChar char=""/>
            </a:pPr>
            <a:r>
              <a:rPr lang="en-US" sz="2000" b="0" strike="noStrike" spc="-29">
                <a:solidFill>
                  <a:srgbClr val="181818"/>
                </a:solidFill>
                <a:uFill>
                  <a:solidFill>
                    <a:srgbClr val="FFFFFF"/>
                  </a:solidFill>
                </a:uFill>
                <a:latin typeface="Ericsson Hilda"/>
              </a:rPr>
              <a:t>Fifth Outline Level</a:t>
            </a:r>
          </a:p>
          <a:p>
            <a:pPr marL="2592000" lvl="5" indent="-216000">
              <a:spcBef>
                <a:spcPts val="283"/>
              </a:spcBef>
              <a:buClr>
                <a:srgbClr val="000000"/>
              </a:buClr>
              <a:buSzPct val="45000"/>
              <a:buFont typeface="Wingdings" charset="2"/>
              <a:buChar char=""/>
            </a:pPr>
            <a:r>
              <a:rPr lang="en-US" sz="2000" b="0" strike="noStrike" spc="-29">
                <a:solidFill>
                  <a:srgbClr val="181818"/>
                </a:solidFill>
                <a:uFill>
                  <a:solidFill>
                    <a:srgbClr val="FFFFFF"/>
                  </a:solidFill>
                </a:uFill>
                <a:latin typeface="Ericsson Hilda"/>
              </a:rPr>
              <a:t>Sixth Outline Level</a:t>
            </a:r>
          </a:p>
          <a:p>
            <a:pPr marL="3024000" lvl="6" indent="-216000">
              <a:spcBef>
                <a:spcPts val="283"/>
              </a:spcBef>
              <a:buClr>
                <a:srgbClr val="000000"/>
              </a:buClr>
              <a:buSzPct val="45000"/>
              <a:buFont typeface="Wingdings" charset="2"/>
              <a:buChar char=""/>
            </a:pPr>
            <a:r>
              <a:rPr lang="en-US" sz="2000" b="0" strike="noStrike" spc="-29">
                <a:solidFill>
                  <a:srgbClr val="181818"/>
                </a:solidFill>
                <a:uFill>
                  <a:solidFill>
                    <a:srgbClr val="FFFFFF"/>
                  </a:solidFill>
                </a:uFill>
                <a:latin typeface="Ericsson Hilda"/>
              </a:rPr>
              <a:t>Seventh Outline Level</a:t>
            </a:r>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4" name="CustomShape 1"/>
          <p:cNvSpPr/>
          <p:nvPr/>
        </p:nvSpPr>
        <p:spPr>
          <a:xfrm>
            <a:off x="527040" y="6524640"/>
            <a:ext cx="9865440" cy="215640"/>
          </a:xfrm>
          <a:prstGeom prst="rect">
            <a:avLst/>
          </a:prstGeom>
          <a:noFill/>
          <a:ln>
            <a:noFill/>
          </a:ln>
        </p:spPr>
        <p:style>
          <a:lnRef idx="0">
            <a:scrgbClr r="0" g="0" b="0"/>
          </a:lnRef>
          <a:fillRef idx="0">
            <a:scrgbClr r="0" g="0" b="0"/>
          </a:fillRef>
          <a:effectRef idx="0">
            <a:scrgbClr r="0" g="0" b="0"/>
          </a:effectRef>
          <a:fontRef idx="minor"/>
        </p:style>
        <p:txBody>
          <a:bodyPr wrap="none" lIns="0" tIns="0" rIns="0" bIns="0"/>
          <a:lstStyle/>
          <a:p>
            <a:pPr>
              <a:lnSpc>
                <a:spcPct val="100000"/>
              </a:lnSpc>
            </a:pPr>
            <a:r>
              <a:rPr lang="sv-SE" sz="800" b="0" strike="noStrike" spc="-1">
                <a:solidFill>
                  <a:srgbClr val="FFFFFF"/>
                </a:solidFill>
                <a:uFill>
                  <a:solidFill>
                    <a:srgbClr val="FFFFFF"/>
                  </a:solidFill>
                </a:uFill>
                <a:latin typeface="Ericsson Hilda"/>
              </a:rPr>
              <a:t>Ericsson Internal  |  2018-02-21</a:t>
            </a:r>
            <a:endParaRPr lang="sv-SE" sz="800" b="0" strike="noStrike" spc="-1">
              <a:solidFill>
                <a:srgbClr val="000000"/>
              </a:solidFill>
              <a:uFill>
                <a:solidFill>
                  <a:srgbClr val="FFFFFF"/>
                </a:solidFill>
              </a:uFill>
              <a:latin typeface="Arial"/>
            </a:endParaRPr>
          </a:p>
        </p:txBody>
      </p:sp>
      <p:pic>
        <p:nvPicPr>
          <p:cNvPr id="125" name="Graphic 5"/>
          <p:cNvPicPr/>
          <p:nvPr/>
        </p:nvPicPr>
        <p:blipFill>
          <a:blip r:embed="rId15"/>
          <a:stretch/>
        </p:blipFill>
        <p:spPr>
          <a:xfrm>
            <a:off x="11490480" y="476280"/>
            <a:ext cx="255600" cy="255600"/>
          </a:xfrm>
          <a:prstGeom prst="rect">
            <a:avLst/>
          </a:prstGeom>
          <a:ln>
            <a:noFill/>
          </a:ln>
        </p:spPr>
      </p:pic>
      <p:sp>
        <p:nvSpPr>
          <p:cNvPr id="126" name="PlaceHolder 2"/>
          <p:cNvSpPr>
            <a:spLocks noGrp="1"/>
          </p:cNvSpPr>
          <p:nvPr>
            <p:ph type="body"/>
          </p:nvPr>
        </p:nvSpPr>
        <p:spPr>
          <a:xfrm>
            <a:off x="479520" y="1844640"/>
            <a:ext cx="5471640" cy="4392360"/>
          </a:xfrm>
          <a:prstGeom prst="rect">
            <a:avLst/>
          </a:prstGeom>
        </p:spPr>
        <p:txBody>
          <a:bodyPr lIns="72000" tIns="36000" rIns="73080" bIns="36720"/>
          <a:lstStyle/>
          <a:p>
            <a:pPr marL="343080" indent="-342720">
              <a:lnSpc>
                <a:spcPct val="100000"/>
              </a:lnSpc>
              <a:spcBef>
                <a:spcPts val="300"/>
              </a:spcBef>
              <a:buClr>
                <a:srgbClr val="181818"/>
              </a:buClr>
              <a:buFont typeface="Ericsson Hilda Light"/>
              <a:buChar char="—"/>
            </a:pPr>
            <a:r>
              <a:rPr lang="en-US" sz="2000" b="0" strike="noStrike" spc="-29">
                <a:solidFill>
                  <a:srgbClr val="181818"/>
                </a:solidFill>
                <a:uFill>
                  <a:solidFill>
                    <a:srgbClr val="FFFFFF"/>
                  </a:solidFill>
                </a:uFill>
                <a:latin typeface="Ericsson Hilda"/>
              </a:rPr>
              <a:t>For heading, use Ericsson Hilda in bold. For copy and bullets, use Ericsson Hilda.</a:t>
            </a:r>
          </a:p>
          <a:p>
            <a:pPr marL="343080" indent="-342720">
              <a:lnSpc>
                <a:spcPct val="100000"/>
              </a:lnSpc>
              <a:spcBef>
                <a:spcPts val="300"/>
              </a:spcBef>
              <a:buClr>
                <a:srgbClr val="181818"/>
              </a:buClr>
              <a:buFont typeface="Ericsson Hilda Light"/>
              <a:buChar char="—"/>
            </a:pPr>
            <a:r>
              <a:rPr lang="en-US" sz="2000" b="0" strike="noStrike" spc="-29">
                <a:solidFill>
                  <a:srgbClr val="181818"/>
                </a:solidFill>
                <a:uFill>
                  <a:solidFill>
                    <a:srgbClr val="FFFFFF"/>
                  </a:solidFill>
                </a:uFill>
                <a:latin typeface="Ericsson Hilda"/>
              </a:rPr>
              <a:t>First level</a:t>
            </a:r>
          </a:p>
          <a:p>
            <a:pPr marL="712800" lvl="1" indent="-342720">
              <a:lnSpc>
                <a:spcPct val="100000"/>
              </a:lnSpc>
              <a:spcBef>
                <a:spcPts val="300"/>
              </a:spcBef>
              <a:buClr>
                <a:srgbClr val="181818"/>
              </a:buClr>
              <a:buFont typeface="Ericsson Hilda Light"/>
              <a:buChar char="—"/>
            </a:pPr>
            <a:r>
              <a:rPr lang="en-US" sz="2000" b="0" strike="noStrike" spc="-29">
                <a:solidFill>
                  <a:srgbClr val="181818"/>
                </a:solidFill>
                <a:uFill>
                  <a:solidFill>
                    <a:srgbClr val="FFFFFF"/>
                  </a:solidFill>
                </a:uFill>
                <a:latin typeface="Ericsson Hilda"/>
              </a:rPr>
              <a:t>Second level</a:t>
            </a:r>
          </a:p>
          <a:p>
            <a:pPr marL="1079640" lvl="2" indent="-342720">
              <a:lnSpc>
                <a:spcPct val="100000"/>
              </a:lnSpc>
              <a:spcBef>
                <a:spcPts val="300"/>
              </a:spcBef>
              <a:buClr>
                <a:srgbClr val="181818"/>
              </a:buClr>
              <a:buFont typeface="Ericsson Hilda Light"/>
              <a:buChar char="—"/>
            </a:pPr>
            <a:r>
              <a:rPr lang="en-US" sz="2000" b="0" strike="noStrike" spc="-29">
                <a:solidFill>
                  <a:srgbClr val="181818"/>
                </a:solidFill>
                <a:uFill>
                  <a:solidFill>
                    <a:srgbClr val="FFFFFF"/>
                  </a:solidFill>
                </a:uFill>
                <a:latin typeface="Ericsson Hilda"/>
              </a:rPr>
              <a:t>Third level</a:t>
            </a:r>
          </a:p>
          <a:p>
            <a:pPr marL="1434960" lvl="3" indent="-342720">
              <a:lnSpc>
                <a:spcPct val="100000"/>
              </a:lnSpc>
              <a:spcBef>
                <a:spcPts val="300"/>
              </a:spcBef>
              <a:buClr>
                <a:srgbClr val="181818"/>
              </a:buClr>
              <a:buFont typeface="Ericsson Hilda Light"/>
              <a:buChar char="—"/>
            </a:pPr>
            <a:r>
              <a:rPr lang="en-US" sz="2000" b="0" strike="noStrike" spc="-29">
                <a:solidFill>
                  <a:srgbClr val="181818"/>
                </a:solidFill>
                <a:uFill>
                  <a:solidFill>
                    <a:srgbClr val="FFFFFF"/>
                  </a:solidFill>
                </a:uFill>
                <a:latin typeface="Ericsson Hilda"/>
              </a:rPr>
              <a:t>Fourth level</a:t>
            </a:r>
          </a:p>
        </p:txBody>
      </p:sp>
      <p:sp>
        <p:nvSpPr>
          <p:cNvPr id="127" name="PlaceHolder 3"/>
          <p:cNvSpPr>
            <a:spLocks noGrp="1"/>
          </p:cNvSpPr>
          <p:nvPr>
            <p:ph type="title"/>
          </p:nvPr>
        </p:nvSpPr>
        <p:spPr>
          <a:xfrm>
            <a:off x="479520" y="476280"/>
            <a:ext cx="5471640" cy="1080720"/>
          </a:xfrm>
          <a:prstGeom prst="rect">
            <a:avLst/>
          </a:prstGeom>
        </p:spPr>
        <p:txBody>
          <a:bodyPr lIns="72000" tIns="36000" rIns="73080" bIns="36720"/>
          <a:lstStyle/>
          <a:p>
            <a:pPr>
              <a:lnSpc>
                <a:spcPct val="100000"/>
              </a:lnSpc>
              <a:spcBef>
                <a:spcPts val="300"/>
              </a:spcBef>
            </a:pPr>
            <a:r>
              <a:rPr lang="en-US" sz="4000" b="0" strike="noStrike" spc="-157">
                <a:solidFill>
                  <a:srgbClr val="181818"/>
                </a:solidFill>
                <a:uFill>
                  <a:solidFill>
                    <a:srgbClr val="FFFFFF"/>
                  </a:solidFill>
                </a:uFill>
                <a:latin typeface="Ericsson Hilda Light"/>
              </a:rPr>
              <a:t>Slide title, Eric. Hilda Light 40pt, Eri. Black, max 2-lines</a:t>
            </a:r>
            <a:endParaRPr lang="en-US" sz="4000" b="0" strike="noStrike" spc="-1">
              <a:solidFill>
                <a:srgbClr val="181818"/>
              </a:solidFill>
              <a:uFill>
                <a:solidFill>
                  <a:srgbClr val="FFFFFF"/>
                </a:solidFill>
              </a:uFill>
              <a:latin typeface="Ericsson Hilda"/>
            </a:endParaRPr>
          </a:p>
        </p:txBody>
      </p:sp>
      <p:sp>
        <p:nvSpPr>
          <p:cNvPr id="128" name="PlaceHolder 4"/>
          <p:cNvSpPr>
            <a:spLocks noGrp="1"/>
          </p:cNvSpPr>
          <p:nvPr>
            <p:ph type="body"/>
          </p:nvPr>
        </p:nvSpPr>
        <p:spPr>
          <a:xfrm>
            <a:off x="6095880" y="0"/>
            <a:ext cx="6095520" cy="6857640"/>
          </a:xfrm>
          <a:prstGeom prst="rect">
            <a:avLst/>
          </a:prstGeom>
        </p:spPr>
        <p:txBody>
          <a:bodyPr lIns="90000" tIns="45000" rIns="90000" bIns="45000" anchor="ctr"/>
          <a:lstStyle/>
          <a:p>
            <a:pPr>
              <a:lnSpc>
                <a:spcPct val="100000"/>
              </a:lnSpc>
            </a:pPr>
            <a:r>
              <a:rPr lang="en-US" sz="1800" b="0" strike="noStrike" spc="-1">
                <a:solidFill>
                  <a:srgbClr val="181818"/>
                </a:solidFill>
                <a:uFill>
                  <a:solidFill>
                    <a:srgbClr val="FFFFFF"/>
                  </a:solidFill>
                </a:uFill>
                <a:latin typeface="Ericsson Hilda"/>
              </a:rPr>
              <a:t>     Click icon to add picture</a:t>
            </a:r>
            <a:endParaRPr lang="en-US" sz="1800" b="0" strike="noStrike" spc="-29">
              <a:solidFill>
                <a:srgbClr val="181818"/>
              </a:solidFill>
              <a:uFill>
                <a:solidFill>
                  <a:srgbClr val="FFFFFF"/>
                </a:solidFill>
              </a:uFill>
              <a:latin typeface="Ericsson Hilda"/>
            </a:endParaRPr>
          </a:p>
        </p:txBody>
      </p:sp>
    </p:spTree>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80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65" name="CustomShape 1"/>
          <p:cNvSpPr/>
          <p:nvPr/>
        </p:nvSpPr>
        <p:spPr>
          <a:xfrm>
            <a:off x="527040" y="6524640"/>
            <a:ext cx="9865440" cy="215640"/>
          </a:xfrm>
          <a:prstGeom prst="rect">
            <a:avLst/>
          </a:prstGeom>
          <a:noFill/>
          <a:ln>
            <a:noFill/>
          </a:ln>
        </p:spPr>
        <p:style>
          <a:lnRef idx="0">
            <a:scrgbClr r="0" g="0" b="0"/>
          </a:lnRef>
          <a:fillRef idx="0">
            <a:scrgbClr r="0" g="0" b="0"/>
          </a:fillRef>
          <a:effectRef idx="0">
            <a:scrgbClr r="0" g="0" b="0"/>
          </a:effectRef>
          <a:fontRef idx="minor"/>
        </p:style>
        <p:txBody>
          <a:bodyPr wrap="none" lIns="0" tIns="0" rIns="0" bIns="0"/>
          <a:lstStyle/>
          <a:p>
            <a:pPr>
              <a:lnSpc>
                <a:spcPct val="100000"/>
              </a:lnSpc>
            </a:pPr>
            <a:r>
              <a:rPr lang="sv-SE" sz="800" b="0" strike="noStrike" spc="-1">
                <a:solidFill>
                  <a:srgbClr val="FFFFFF"/>
                </a:solidFill>
                <a:uFill>
                  <a:solidFill>
                    <a:srgbClr val="FFFFFF"/>
                  </a:solidFill>
                </a:uFill>
                <a:latin typeface="Ericsson Hilda"/>
              </a:rPr>
              <a:t>Ericsson Internal  |  2018-02-21</a:t>
            </a:r>
            <a:endParaRPr lang="sv-SE" sz="800" b="0" strike="noStrike" spc="-1">
              <a:solidFill>
                <a:srgbClr val="000000"/>
              </a:solidFill>
              <a:uFill>
                <a:solidFill>
                  <a:srgbClr val="FFFFFF"/>
                </a:solidFill>
              </a:uFill>
              <a:latin typeface="Arial"/>
            </a:endParaRPr>
          </a:p>
        </p:txBody>
      </p:sp>
      <p:pic>
        <p:nvPicPr>
          <p:cNvPr id="166" name="Graphic 5"/>
          <p:cNvPicPr/>
          <p:nvPr/>
        </p:nvPicPr>
        <p:blipFill>
          <a:blip r:embed="rId14"/>
          <a:stretch/>
        </p:blipFill>
        <p:spPr>
          <a:xfrm>
            <a:off x="11490480" y="476280"/>
            <a:ext cx="255600" cy="255600"/>
          </a:xfrm>
          <a:prstGeom prst="rect">
            <a:avLst/>
          </a:prstGeom>
          <a:ln>
            <a:noFill/>
          </a:ln>
        </p:spPr>
      </p:pic>
      <p:sp>
        <p:nvSpPr>
          <p:cNvPr id="167" name="PlaceHolder 2"/>
          <p:cNvSpPr>
            <a:spLocks noGrp="1"/>
          </p:cNvSpPr>
          <p:nvPr>
            <p:ph type="title"/>
          </p:nvPr>
        </p:nvSpPr>
        <p:spPr>
          <a:xfrm>
            <a:off x="1523880" y="1122480"/>
            <a:ext cx="9143640" cy="2387160"/>
          </a:xfrm>
          <a:prstGeom prst="rect">
            <a:avLst/>
          </a:prstGeom>
        </p:spPr>
        <p:txBody>
          <a:bodyPr lIns="72000" tIns="36000" rIns="73080" bIns="36720" anchor="b"/>
          <a:lstStyle/>
          <a:p>
            <a:pPr algn="ctr">
              <a:lnSpc>
                <a:spcPct val="100000"/>
              </a:lnSpc>
              <a:spcBef>
                <a:spcPts val="300"/>
              </a:spcBef>
            </a:pPr>
            <a:r>
              <a:rPr lang="en-US" sz="6000" b="0" strike="noStrike" spc="-157">
                <a:solidFill>
                  <a:srgbClr val="181818"/>
                </a:solidFill>
                <a:uFill>
                  <a:solidFill>
                    <a:srgbClr val="FFFFFF"/>
                  </a:solidFill>
                </a:uFill>
                <a:latin typeface="Ericsson Hilda Light"/>
              </a:rPr>
              <a:t>Click to edit Master title style</a:t>
            </a:r>
            <a:endParaRPr lang="en-US" sz="6000" b="0" strike="noStrike" spc="-1">
              <a:solidFill>
                <a:srgbClr val="181818"/>
              </a:solidFill>
              <a:uFill>
                <a:solidFill>
                  <a:srgbClr val="FFFFFF"/>
                </a:solidFill>
              </a:uFill>
              <a:latin typeface="Ericsson Hilda"/>
            </a:endParaRPr>
          </a:p>
        </p:txBody>
      </p:sp>
      <p:sp>
        <p:nvSpPr>
          <p:cNvPr id="168" name="PlaceHolder 3"/>
          <p:cNvSpPr>
            <a:spLocks noGrp="1"/>
          </p:cNvSpPr>
          <p:nvPr>
            <p:ph type="dt"/>
          </p:nvPr>
        </p:nvSpPr>
        <p:spPr>
          <a:xfrm>
            <a:off x="11490480" y="476280"/>
            <a:ext cx="255600" cy="255600"/>
          </a:xfrm>
          <a:prstGeom prst="rect">
            <a:avLst/>
          </a:prstGeom>
        </p:spPr>
        <p:txBody>
          <a:bodyPr lIns="90000" tIns="45000" rIns="90000" bIns="45000"/>
          <a:lstStyle/>
          <a:p>
            <a:pPr>
              <a:lnSpc>
                <a:spcPct val="100000"/>
              </a:lnSpc>
            </a:pPr>
            <a:fld id="{C7A62324-1CC2-420E-8136-110CDD6908C4}" type="datetime">
              <a:rPr lang="sv-SE" sz="1800" b="0" strike="noStrike" spc="-1">
                <a:solidFill>
                  <a:srgbClr val="181818"/>
                </a:solidFill>
                <a:uFill>
                  <a:solidFill>
                    <a:srgbClr val="FFFFFF"/>
                  </a:solidFill>
                </a:uFill>
                <a:latin typeface="Ericsson Hilda"/>
              </a:rPr>
              <a:t>2022-05-21</a:t>
            </a:fld>
            <a:endParaRPr lang="sv-SE" sz="1800" b="0" strike="noStrike" spc="-1">
              <a:solidFill>
                <a:srgbClr val="000000"/>
              </a:solidFill>
              <a:uFill>
                <a:solidFill>
                  <a:srgbClr val="FFFFFF"/>
                </a:solidFill>
              </a:uFill>
              <a:latin typeface="Times New Roman"/>
            </a:endParaRPr>
          </a:p>
        </p:txBody>
      </p:sp>
      <p:sp>
        <p:nvSpPr>
          <p:cNvPr id="169" name="PlaceHolder 4"/>
          <p:cNvSpPr>
            <a:spLocks noGrp="1"/>
          </p:cNvSpPr>
          <p:nvPr>
            <p:ph type="ftr"/>
          </p:nvPr>
        </p:nvSpPr>
        <p:spPr>
          <a:xfrm>
            <a:off x="11490480" y="476280"/>
            <a:ext cx="255600" cy="255600"/>
          </a:xfrm>
          <a:prstGeom prst="rect">
            <a:avLst/>
          </a:prstGeom>
        </p:spPr>
        <p:txBody>
          <a:bodyPr lIns="90000" tIns="45000" rIns="90000" bIns="45000"/>
          <a:lstStyle/>
          <a:p>
            <a:endParaRPr lang="sv-SE" sz="2400" b="0" strike="noStrike" spc="-1">
              <a:solidFill>
                <a:srgbClr val="000000"/>
              </a:solidFill>
              <a:uFill>
                <a:solidFill>
                  <a:srgbClr val="FFFFFF"/>
                </a:solidFill>
              </a:uFill>
              <a:latin typeface="Times New Roman"/>
            </a:endParaRPr>
          </a:p>
        </p:txBody>
      </p:sp>
      <p:sp>
        <p:nvSpPr>
          <p:cNvPr id="170" name="PlaceHolder 5"/>
          <p:cNvSpPr>
            <a:spLocks noGrp="1"/>
          </p:cNvSpPr>
          <p:nvPr>
            <p:ph type="sldNum"/>
          </p:nvPr>
        </p:nvSpPr>
        <p:spPr>
          <a:xfrm>
            <a:off x="11490480" y="476280"/>
            <a:ext cx="255600" cy="255600"/>
          </a:xfrm>
          <a:prstGeom prst="rect">
            <a:avLst/>
          </a:prstGeom>
        </p:spPr>
        <p:txBody>
          <a:bodyPr lIns="90000" tIns="45000" rIns="90000" bIns="45000"/>
          <a:lstStyle/>
          <a:p>
            <a:pPr>
              <a:lnSpc>
                <a:spcPct val="100000"/>
              </a:lnSpc>
            </a:pPr>
            <a:fld id="{42A7B29E-AC77-4F73-B00B-92FE7E89778F}" type="slidenum">
              <a:rPr lang="sv-SE" sz="1800" b="0" strike="noStrike" spc="-1">
                <a:solidFill>
                  <a:srgbClr val="181818"/>
                </a:solidFill>
                <a:uFill>
                  <a:solidFill>
                    <a:srgbClr val="FFFFFF"/>
                  </a:solidFill>
                </a:uFill>
                <a:latin typeface="Ericsson Hilda"/>
              </a:rPr>
              <a:t>‹#›</a:t>
            </a:fld>
            <a:endParaRPr lang="sv-SE" sz="1800" b="0" strike="noStrike" spc="-1">
              <a:solidFill>
                <a:srgbClr val="000000"/>
              </a:solidFill>
              <a:uFill>
                <a:solidFill>
                  <a:srgbClr val="FFFFFF"/>
                </a:solidFill>
              </a:uFill>
              <a:latin typeface="Times New Roman"/>
            </a:endParaRPr>
          </a:p>
        </p:txBody>
      </p:sp>
      <p:sp>
        <p:nvSpPr>
          <p:cNvPr id="171" name="PlaceHolder 6"/>
          <p:cNvSpPr>
            <a:spLocks noGrp="1"/>
          </p:cNvSpPr>
          <p:nvPr>
            <p:ph type="body"/>
          </p:nvPr>
        </p:nvSpPr>
        <p:spPr>
          <a:xfrm>
            <a:off x="609480" y="1604520"/>
            <a:ext cx="10972440" cy="397728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2000" b="0" strike="noStrike" spc="-29">
                <a:solidFill>
                  <a:srgbClr val="181818"/>
                </a:solidFill>
                <a:uFill>
                  <a:solidFill>
                    <a:srgbClr val="FFFFFF"/>
                  </a:solidFill>
                </a:uFill>
                <a:latin typeface="Ericsson Hilda"/>
              </a:rPr>
              <a:t>Click to edit the outline text format</a:t>
            </a:r>
          </a:p>
          <a:p>
            <a:pPr marL="864000" lvl="1" indent="-324000">
              <a:spcBef>
                <a:spcPts val="1134"/>
              </a:spcBef>
              <a:buClr>
                <a:srgbClr val="000000"/>
              </a:buClr>
              <a:buSzPct val="75000"/>
              <a:buFont typeface="Symbol" charset="2"/>
              <a:buChar char=""/>
            </a:pPr>
            <a:r>
              <a:rPr lang="en-US" sz="2000" b="0" strike="noStrike" spc="-29">
                <a:solidFill>
                  <a:srgbClr val="181818"/>
                </a:solidFill>
                <a:uFill>
                  <a:solidFill>
                    <a:srgbClr val="FFFFFF"/>
                  </a:solidFill>
                </a:uFill>
                <a:latin typeface="Ericsson Hilda"/>
              </a:rPr>
              <a:t>Second Outline Level</a:t>
            </a:r>
          </a:p>
          <a:p>
            <a:pPr marL="1296000" lvl="2" indent="-288000">
              <a:spcBef>
                <a:spcPts val="850"/>
              </a:spcBef>
              <a:buClr>
                <a:srgbClr val="000000"/>
              </a:buClr>
              <a:buSzPct val="45000"/>
              <a:buFont typeface="Wingdings" charset="2"/>
              <a:buChar char=""/>
            </a:pPr>
            <a:r>
              <a:rPr lang="en-US" sz="2000" b="0" strike="noStrike" spc="-29">
                <a:solidFill>
                  <a:srgbClr val="181818"/>
                </a:solidFill>
                <a:uFill>
                  <a:solidFill>
                    <a:srgbClr val="FFFFFF"/>
                  </a:solidFill>
                </a:uFill>
                <a:latin typeface="Ericsson Hilda"/>
              </a:rPr>
              <a:t>Third Outline Level</a:t>
            </a:r>
          </a:p>
          <a:p>
            <a:pPr marL="1728000" lvl="3" indent="-216000">
              <a:spcBef>
                <a:spcPts val="567"/>
              </a:spcBef>
              <a:buClr>
                <a:srgbClr val="000000"/>
              </a:buClr>
              <a:buSzPct val="75000"/>
              <a:buFont typeface="Symbol" charset="2"/>
              <a:buChar char=""/>
            </a:pPr>
            <a:r>
              <a:rPr lang="en-US" sz="2000" b="0" strike="noStrike" spc="-29">
                <a:solidFill>
                  <a:srgbClr val="181818"/>
                </a:solidFill>
                <a:uFill>
                  <a:solidFill>
                    <a:srgbClr val="FFFFFF"/>
                  </a:solidFill>
                </a:uFill>
                <a:latin typeface="Ericsson Hilda"/>
              </a:rPr>
              <a:t>Fourth Outline Level</a:t>
            </a:r>
          </a:p>
          <a:p>
            <a:pPr marL="2160000" lvl="4" indent="-216000">
              <a:spcBef>
                <a:spcPts val="283"/>
              </a:spcBef>
              <a:buClr>
                <a:srgbClr val="000000"/>
              </a:buClr>
              <a:buSzPct val="45000"/>
              <a:buFont typeface="Wingdings" charset="2"/>
              <a:buChar char=""/>
            </a:pPr>
            <a:r>
              <a:rPr lang="en-US" sz="2000" b="0" strike="noStrike" spc="-29">
                <a:solidFill>
                  <a:srgbClr val="181818"/>
                </a:solidFill>
                <a:uFill>
                  <a:solidFill>
                    <a:srgbClr val="FFFFFF"/>
                  </a:solidFill>
                </a:uFill>
                <a:latin typeface="Ericsson Hilda"/>
              </a:rPr>
              <a:t>Fifth Outline Level</a:t>
            </a:r>
          </a:p>
          <a:p>
            <a:pPr marL="2592000" lvl="5" indent="-216000">
              <a:spcBef>
                <a:spcPts val="283"/>
              </a:spcBef>
              <a:buClr>
                <a:srgbClr val="000000"/>
              </a:buClr>
              <a:buSzPct val="45000"/>
              <a:buFont typeface="Wingdings" charset="2"/>
              <a:buChar char=""/>
            </a:pPr>
            <a:r>
              <a:rPr lang="en-US" sz="2000" b="0" strike="noStrike" spc="-29">
                <a:solidFill>
                  <a:srgbClr val="181818"/>
                </a:solidFill>
                <a:uFill>
                  <a:solidFill>
                    <a:srgbClr val="FFFFFF"/>
                  </a:solidFill>
                </a:uFill>
                <a:latin typeface="Ericsson Hilda"/>
              </a:rPr>
              <a:t>Sixth Outline Level</a:t>
            </a:r>
          </a:p>
          <a:p>
            <a:pPr marL="3024000" lvl="6" indent="-216000">
              <a:spcBef>
                <a:spcPts val="283"/>
              </a:spcBef>
              <a:buClr>
                <a:srgbClr val="000000"/>
              </a:buClr>
              <a:buSzPct val="45000"/>
              <a:buFont typeface="Wingdings" charset="2"/>
              <a:buChar char=""/>
            </a:pPr>
            <a:r>
              <a:rPr lang="en-US" sz="2000" b="0" strike="noStrike" spc="-29">
                <a:solidFill>
                  <a:srgbClr val="181818"/>
                </a:solidFill>
                <a:uFill>
                  <a:solidFill>
                    <a:srgbClr val="FFFFFF"/>
                  </a:solidFill>
                </a:uFill>
                <a:latin typeface="Ericsson Hilda"/>
              </a:rPr>
              <a:t>Seventh Outline Level</a:t>
            </a: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8" name="CustomShape 1"/>
          <p:cNvSpPr/>
          <p:nvPr/>
        </p:nvSpPr>
        <p:spPr>
          <a:xfrm>
            <a:off x="527040" y="6524640"/>
            <a:ext cx="9865440" cy="215640"/>
          </a:xfrm>
          <a:prstGeom prst="rect">
            <a:avLst/>
          </a:prstGeom>
          <a:noFill/>
          <a:ln>
            <a:noFill/>
          </a:ln>
        </p:spPr>
        <p:style>
          <a:lnRef idx="0">
            <a:scrgbClr r="0" g="0" b="0"/>
          </a:lnRef>
          <a:fillRef idx="0">
            <a:scrgbClr r="0" g="0" b="0"/>
          </a:fillRef>
          <a:effectRef idx="0">
            <a:scrgbClr r="0" g="0" b="0"/>
          </a:effectRef>
          <a:fontRef idx="minor"/>
        </p:style>
        <p:txBody>
          <a:bodyPr wrap="none" lIns="0" tIns="0" rIns="0" bIns="0"/>
          <a:lstStyle/>
          <a:p>
            <a:pPr>
              <a:lnSpc>
                <a:spcPct val="100000"/>
              </a:lnSpc>
            </a:pPr>
            <a:r>
              <a:rPr lang="sv-SE" sz="800" b="0" strike="noStrike" spc="-1">
                <a:solidFill>
                  <a:srgbClr val="FFFFFF"/>
                </a:solidFill>
                <a:uFill>
                  <a:solidFill>
                    <a:srgbClr val="FFFFFF"/>
                  </a:solidFill>
                </a:uFill>
                <a:latin typeface="Ericsson Hilda"/>
              </a:rPr>
              <a:t>Ericsson Internal  |  2018-02-21</a:t>
            </a:r>
            <a:endParaRPr lang="sv-SE" sz="800" b="0" strike="noStrike" spc="-1">
              <a:solidFill>
                <a:srgbClr val="000000"/>
              </a:solidFill>
              <a:uFill>
                <a:solidFill>
                  <a:srgbClr val="FFFFFF"/>
                </a:solidFill>
              </a:uFill>
              <a:latin typeface="Arial"/>
            </a:endParaRPr>
          </a:p>
        </p:txBody>
      </p:sp>
      <p:pic>
        <p:nvPicPr>
          <p:cNvPr id="209" name="Graphic 5"/>
          <p:cNvPicPr/>
          <p:nvPr/>
        </p:nvPicPr>
        <p:blipFill>
          <a:blip r:embed="rId14"/>
          <a:stretch/>
        </p:blipFill>
        <p:spPr>
          <a:xfrm>
            <a:off x="11490480" y="476280"/>
            <a:ext cx="255600" cy="255600"/>
          </a:xfrm>
          <a:prstGeom prst="rect">
            <a:avLst/>
          </a:prstGeom>
          <a:ln>
            <a:noFill/>
          </a:ln>
        </p:spPr>
      </p:pic>
      <p:sp>
        <p:nvSpPr>
          <p:cNvPr id="210" name="CustomShape 2"/>
          <p:cNvSpPr/>
          <p:nvPr/>
        </p:nvSpPr>
        <p:spPr>
          <a:xfrm>
            <a:off x="0" y="0"/>
            <a:ext cx="12191760" cy="6857640"/>
          </a:xfrm>
          <a:prstGeom prst="rect">
            <a:avLst/>
          </a:prstGeom>
          <a:solidFill>
            <a:schemeClr val="accent1"/>
          </a:solidFill>
          <a:ln w="12600">
            <a:noFill/>
          </a:ln>
        </p:spPr>
        <p:style>
          <a:lnRef idx="0">
            <a:scrgbClr r="0" g="0" b="0"/>
          </a:lnRef>
          <a:fillRef idx="0">
            <a:scrgbClr r="0" g="0" b="0"/>
          </a:fillRef>
          <a:effectRef idx="0">
            <a:scrgbClr r="0" g="0" b="0"/>
          </a:effectRef>
          <a:fontRef idx="minor"/>
        </p:style>
      </p:sp>
      <p:sp>
        <p:nvSpPr>
          <p:cNvPr id="211" name="PlaceHolder 3"/>
          <p:cNvSpPr>
            <a:spLocks noGrp="1"/>
          </p:cNvSpPr>
          <p:nvPr>
            <p:ph type="title"/>
          </p:nvPr>
        </p:nvSpPr>
        <p:spPr>
          <a:xfrm>
            <a:off x="479520" y="476280"/>
            <a:ext cx="8353080" cy="1080720"/>
          </a:xfrm>
          <a:prstGeom prst="rect">
            <a:avLst/>
          </a:prstGeom>
        </p:spPr>
        <p:txBody>
          <a:bodyPr lIns="72000" tIns="36000" rIns="73080" bIns="36720"/>
          <a:lstStyle/>
          <a:p>
            <a:pPr>
              <a:lnSpc>
                <a:spcPct val="100000"/>
              </a:lnSpc>
              <a:spcBef>
                <a:spcPts val="300"/>
              </a:spcBef>
            </a:pPr>
            <a:r>
              <a:rPr lang="en-US" sz="4000" b="0" strike="noStrike" spc="-157">
                <a:solidFill>
                  <a:srgbClr val="FFFFFF"/>
                </a:solidFill>
                <a:uFill>
                  <a:solidFill>
                    <a:srgbClr val="FFFFFF"/>
                  </a:solidFill>
                </a:uFill>
                <a:latin typeface="Ericsson Hilda Light"/>
              </a:rPr>
              <a:t>Slide title, Ericsson Hilda Light 40pt, Ericsson Black, max 2-lines</a:t>
            </a:r>
            <a:endParaRPr lang="en-US" sz="4000" b="0" strike="noStrike" spc="-1">
              <a:solidFill>
                <a:srgbClr val="181818"/>
              </a:solidFill>
              <a:uFill>
                <a:solidFill>
                  <a:srgbClr val="FFFFFF"/>
                </a:solidFill>
              </a:uFill>
              <a:latin typeface="Ericsson Hilda"/>
            </a:endParaRPr>
          </a:p>
        </p:txBody>
      </p:sp>
      <p:pic>
        <p:nvPicPr>
          <p:cNvPr id="212" name="Graphic 5"/>
          <p:cNvPicPr/>
          <p:nvPr/>
        </p:nvPicPr>
        <p:blipFill>
          <a:blip r:embed="rId15"/>
          <a:stretch/>
        </p:blipFill>
        <p:spPr>
          <a:xfrm>
            <a:off x="11487240" y="476280"/>
            <a:ext cx="261000" cy="261000"/>
          </a:xfrm>
          <a:prstGeom prst="rect">
            <a:avLst/>
          </a:prstGeom>
          <a:ln>
            <a:noFill/>
          </a:ln>
        </p:spPr>
      </p:pic>
      <p:sp>
        <p:nvSpPr>
          <p:cNvPr id="213" name="PlaceHolder 4"/>
          <p:cNvSpPr>
            <a:spLocks noGrp="1"/>
          </p:cNvSpPr>
          <p:nvPr>
            <p:ph type="body"/>
          </p:nvPr>
        </p:nvSpPr>
        <p:spPr>
          <a:xfrm>
            <a:off x="609480" y="1604520"/>
            <a:ext cx="10972440" cy="397728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2000" b="0" strike="noStrike" spc="-29">
                <a:solidFill>
                  <a:srgbClr val="181818"/>
                </a:solidFill>
                <a:uFill>
                  <a:solidFill>
                    <a:srgbClr val="FFFFFF"/>
                  </a:solidFill>
                </a:uFill>
                <a:latin typeface="Ericsson Hilda"/>
              </a:rPr>
              <a:t>Click to edit the outline text format</a:t>
            </a:r>
          </a:p>
          <a:p>
            <a:pPr marL="864000" lvl="1" indent="-324000">
              <a:spcBef>
                <a:spcPts val="1134"/>
              </a:spcBef>
              <a:buClr>
                <a:srgbClr val="000000"/>
              </a:buClr>
              <a:buSzPct val="75000"/>
              <a:buFont typeface="Symbol" charset="2"/>
              <a:buChar char=""/>
            </a:pPr>
            <a:r>
              <a:rPr lang="en-US" sz="2000" b="0" strike="noStrike" spc="-29">
                <a:solidFill>
                  <a:srgbClr val="181818"/>
                </a:solidFill>
                <a:uFill>
                  <a:solidFill>
                    <a:srgbClr val="FFFFFF"/>
                  </a:solidFill>
                </a:uFill>
                <a:latin typeface="Ericsson Hilda"/>
              </a:rPr>
              <a:t>Second Outline Level</a:t>
            </a:r>
          </a:p>
          <a:p>
            <a:pPr marL="1296000" lvl="2" indent="-288000">
              <a:spcBef>
                <a:spcPts val="850"/>
              </a:spcBef>
              <a:buClr>
                <a:srgbClr val="000000"/>
              </a:buClr>
              <a:buSzPct val="45000"/>
              <a:buFont typeface="Wingdings" charset="2"/>
              <a:buChar char=""/>
            </a:pPr>
            <a:r>
              <a:rPr lang="en-US" sz="2000" b="0" strike="noStrike" spc="-29">
                <a:solidFill>
                  <a:srgbClr val="181818"/>
                </a:solidFill>
                <a:uFill>
                  <a:solidFill>
                    <a:srgbClr val="FFFFFF"/>
                  </a:solidFill>
                </a:uFill>
                <a:latin typeface="Ericsson Hilda"/>
              </a:rPr>
              <a:t>Third Outline Level</a:t>
            </a:r>
          </a:p>
          <a:p>
            <a:pPr marL="1728000" lvl="3" indent="-216000">
              <a:spcBef>
                <a:spcPts val="567"/>
              </a:spcBef>
              <a:buClr>
                <a:srgbClr val="000000"/>
              </a:buClr>
              <a:buSzPct val="75000"/>
              <a:buFont typeface="Symbol" charset="2"/>
              <a:buChar char=""/>
            </a:pPr>
            <a:r>
              <a:rPr lang="en-US" sz="2000" b="0" strike="noStrike" spc="-29">
                <a:solidFill>
                  <a:srgbClr val="181818"/>
                </a:solidFill>
                <a:uFill>
                  <a:solidFill>
                    <a:srgbClr val="FFFFFF"/>
                  </a:solidFill>
                </a:uFill>
                <a:latin typeface="Ericsson Hilda"/>
              </a:rPr>
              <a:t>Fourth Outline Level</a:t>
            </a:r>
          </a:p>
          <a:p>
            <a:pPr marL="2160000" lvl="4" indent="-216000">
              <a:spcBef>
                <a:spcPts val="283"/>
              </a:spcBef>
              <a:buClr>
                <a:srgbClr val="000000"/>
              </a:buClr>
              <a:buSzPct val="45000"/>
              <a:buFont typeface="Wingdings" charset="2"/>
              <a:buChar char=""/>
            </a:pPr>
            <a:r>
              <a:rPr lang="en-US" sz="2000" b="0" strike="noStrike" spc="-29">
                <a:solidFill>
                  <a:srgbClr val="181818"/>
                </a:solidFill>
                <a:uFill>
                  <a:solidFill>
                    <a:srgbClr val="FFFFFF"/>
                  </a:solidFill>
                </a:uFill>
                <a:latin typeface="Ericsson Hilda"/>
              </a:rPr>
              <a:t>Fifth Outline Level</a:t>
            </a:r>
          </a:p>
          <a:p>
            <a:pPr marL="2592000" lvl="5" indent="-216000">
              <a:spcBef>
                <a:spcPts val="283"/>
              </a:spcBef>
              <a:buClr>
                <a:srgbClr val="000000"/>
              </a:buClr>
              <a:buSzPct val="45000"/>
              <a:buFont typeface="Wingdings" charset="2"/>
              <a:buChar char=""/>
            </a:pPr>
            <a:r>
              <a:rPr lang="en-US" sz="2000" b="0" strike="noStrike" spc="-29">
                <a:solidFill>
                  <a:srgbClr val="181818"/>
                </a:solidFill>
                <a:uFill>
                  <a:solidFill>
                    <a:srgbClr val="FFFFFF"/>
                  </a:solidFill>
                </a:uFill>
                <a:latin typeface="Ericsson Hilda"/>
              </a:rPr>
              <a:t>Sixth Outline Level</a:t>
            </a:r>
          </a:p>
          <a:p>
            <a:pPr marL="3024000" lvl="6" indent="-216000">
              <a:spcBef>
                <a:spcPts val="283"/>
              </a:spcBef>
              <a:buClr>
                <a:srgbClr val="000000"/>
              </a:buClr>
              <a:buSzPct val="45000"/>
              <a:buFont typeface="Wingdings" charset="2"/>
              <a:buChar char=""/>
            </a:pPr>
            <a:r>
              <a:rPr lang="en-US" sz="2000" b="0" strike="noStrike" spc="-29">
                <a:solidFill>
                  <a:srgbClr val="181818"/>
                </a:solidFill>
                <a:uFill>
                  <a:solidFill>
                    <a:srgbClr val="FFFFFF"/>
                  </a:solidFill>
                </a:uFill>
                <a:latin typeface="Ericsson Hilda"/>
              </a:rPr>
              <a:t>Seventh Outline Level</a:t>
            </a:r>
          </a:p>
        </p:txBody>
      </p:sp>
    </p:spTree>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25.xml"/><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6.svg"/><Relationship Id="rId7"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Layout" Target="../slideLayouts/slideLayout38.xml"/><Relationship Id="rId6" Type="http://schemas.openxmlformats.org/officeDocument/2006/relationships/image" Target="../media/image12.png"/><Relationship Id="rId5" Type="http://schemas.openxmlformats.org/officeDocument/2006/relationships/image" Target="../media/image18.svg"/><Relationship Id="rId4" Type="http://schemas.openxmlformats.org/officeDocument/2006/relationships/image" Target="../media/image17.png"/><Relationship Id="rId9" Type="http://schemas.openxmlformats.org/officeDocument/2006/relationships/image" Target="../media/image19.png"/></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0.xml"/><Relationship Id="rId1" Type="http://schemas.openxmlformats.org/officeDocument/2006/relationships/slideLayout" Target="../slideLayouts/slideLayout38.xml"/><Relationship Id="rId6" Type="http://schemas.openxmlformats.org/officeDocument/2006/relationships/image" Target="../media/image6.png"/><Relationship Id="rId5" Type="http://schemas.openxmlformats.org/officeDocument/2006/relationships/image" Target="../media/image16.svg"/><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1.xml"/><Relationship Id="rId1" Type="http://schemas.openxmlformats.org/officeDocument/2006/relationships/slideLayout" Target="../slideLayouts/slideLayout38.xml"/><Relationship Id="rId6" Type="http://schemas.openxmlformats.org/officeDocument/2006/relationships/image" Target="../media/image6.png"/><Relationship Id="rId5" Type="http://schemas.openxmlformats.org/officeDocument/2006/relationships/image" Target="../media/image16.svg"/><Relationship Id="rId4" Type="http://schemas.openxmlformats.org/officeDocument/2006/relationships/image" Target="../media/image20.png"/></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2.xml"/><Relationship Id="rId1" Type="http://schemas.openxmlformats.org/officeDocument/2006/relationships/slideLayout" Target="../slideLayouts/slideLayout38.xml"/><Relationship Id="rId6" Type="http://schemas.openxmlformats.org/officeDocument/2006/relationships/image" Target="../media/image16.svg"/><Relationship Id="rId5" Type="http://schemas.openxmlformats.org/officeDocument/2006/relationships/image" Target="../media/image20.png"/><Relationship Id="rId4" Type="http://schemas.openxmlformats.org/officeDocument/2006/relationships/image" Target="../media/image12.png"/></Relationships>
</file>

<file path=ppt/slides/_rels/slide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6.svg"/><Relationship Id="rId7"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Layout" Target="../slideLayouts/slideLayout38.xml"/><Relationship Id="rId6" Type="http://schemas.openxmlformats.org/officeDocument/2006/relationships/image" Target="../media/image12.png"/><Relationship Id="rId5" Type="http://schemas.openxmlformats.org/officeDocument/2006/relationships/image" Target="../media/image18.svg"/><Relationship Id="rId4" Type="http://schemas.openxmlformats.org/officeDocument/2006/relationships/image" Target="../media/image17.png"/><Relationship Id="rId9" Type="http://schemas.openxmlformats.org/officeDocument/2006/relationships/image" Target="../media/image19.png"/></Relationships>
</file>

<file path=ppt/slides/_rels/slide2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6.svg"/><Relationship Id="rId7"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Layout" Target="../slideLayouts/slideLayout38.xml"/><Relationship Id="rId6" Type="http://schemas.openxmlformats.org/officeDocument/2006/relationships/image" Target="../media/image12.png"/><Relationship Id="rId5" Type="http://schemas.openxmlformats.org/officeDocument/2006/relationships/image" Target="../media/image18.svg"/><Relationship Id="rId4" Type="http://schemas.openxmlformats.org/officeDocument/2006/relationships/image" Target="../media/image17.png"/><Relationship Id="rId9" Type="http://schemas.openxmlformats.org/officeDocument/2006/relationships/image" Target="../media/image19.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5.xml"/><Relationship Id="rId4" Type="http://schemas.openxmlformats.org/officeDocument/2006/relationships/image" Target="../media/image5.jpeg"/></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3.xml"/><Relationship Id="rId1" Type="http://schemas.openxmlformats.org/officeDocument/2006/relationships/slideLayout" Target="../slideLayouts/slideLayout39.xml"/></Relationships>
</file>

<file path=ppt/slides/_rels/slide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image" Target="../media/image22.png"/><Relationship Id="rId5" Type="http://schemas.openxmlformats.org/officeDocument/2006/relationships/notesSlide" Target="../notesSlides/notesSlide25.xml"/><Relationship Id="rId4" Type="http://schemas.openxmlformats.org/officeDocument/2006/relationships/slideLayout" Target="../slideLayouts/slideLayout42.xml"/></Relationships>
</file>

<file path=ppt/slides/_rels/slide3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customXml" Target="../../customXml/item4.xml"/><Relationship Id="rId1" Type="http://schemas.openxmlformats.org/officeDocument/2006/relationships/customXml" Target="../../customXml/item3.xml"/><Relationship Id="rId6" Type="http://schemas.openxmlformats.org/officeDocument/2006/relationships/image" Target="../media/image23.png"/><Relationship Id="rId5" Type="http://schemas.openxmlformats.org/officeDocument/2006/relationships/notesSlide" Target="../notesSlides/notesSlide26.xml"/><Relationship Id="rId4" Type="http://schemas.openxmlformats.org/officeDocument/2006/relationships/slideLayout" Target="../slideLayouts/slideLayout42.xml"/></Relationships>
</file>

<file path=ppt/slides/_rels/slide3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4.png"/><Relationship Id="rId2" Type="http://schemas.openxmlformats.org/officeDocument/2006/relationships/customXml" Target="../../customXml/item6.xml"/><Relationship Id="rId1" Type="http://schemas.openxmlformats.org/officeDocument/2006/relationships/customXml" Target="../../customXml/item5.xml"/><Relationship Id="rId6" Type="http://schemas.openxmlformats.org/officeDocument/2006/relationships/image" Target="../media/image23.png"/><Relationship Id="rId5" Type="http://schemas.openxmlformats.org/officeDocument/2006/relationships/notesSlide" Target="../notesSlides/notesSlide27.xml"/><Relationship Id="rId4" Type="http://schemas.openxmlformats.org/officeDocument/2006/relationships/slideLayout" Target="../slideLayouts/slideLayout4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9.xml"/><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1.xml"/><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8.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customXml" Target="../../customXml/item8.xml"/><Relationship Id="rId1" Type="http://schemas.openxmlformats.org/officeDocument/2006/relationships/customXml" Target="../../customXml/item7.xml"/><Relationship Id="rId5" Type="http://schemas.openxmlformats.org/officeDocument/2006/relationships/notesSlide" Target="../notesSlides/notesSlide37.xml"/><Relationship Id="rId4" Type="http://schemas.openxmlformats.org/officeDocument/2006/relationships/slideLayout" Target="../slideLayouts/slideLayout37.xml"/></Relationships>
</file>

<file path=ppt/slides/_rels/slide4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9.png"/><Relationship Id="rId1" Type="http://schemas.openxmlformats.org/officeDocument/2006/relationships/slideLayout" Target="../slideLayouts/slideLayout25.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video" Target="../media/media1.MOV"/><Relationship Id="rId1" Type="http://schemas.microsoft.com/office/2007/relationships/media" Target="../media/media1.MOV"/><Relationship Id="rId5" Type="http://schemas.openxmlformats.org/officeDocument/2006/relationships/image" Target="../media/image7.png"/><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5.xml"/></Relationships>
</file>

<file path=ppt/slides/_rels/slide5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5.xml"/></Relationships>
</file>

<file path=ppt/slides/_rels/slide5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5.xml"/></Relationships>
</file>

<file path=ppt/slides/_rels/slide5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5.xml"/></Relationships>
</file>

<file path=ppt/slides/_rels/slide5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8.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slideLayout" Target="../slideLayouts/slideLayout29.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6" name="TextShape 3"/>
          <p:cNvSpPr txBox="1"/>
          <p:nvPr/>
        </p:nvSpPr>
        <p:spPr>
          <a:xfrm>
            <a:off x="6240600" y="6237360"/>
            <a:ext cx="1910160" cy="286920"/>
          </a:xfrm>
          <a:prstGeom prst="rect">
            <a:avLst/>
          </a:prstGeom>
          <a:noFill/>
          <a:ln w="9360">
            <a:noFill/>
          </a:ln>
        </p:spPr>
        <p:txBody>
          <a:bodyPr lIns="72000" tIns="36000" rIns="73080" bIns="36720" anchor="b"/>
          <a:lstStyle/>
          <a:p>
            <a:pPr algn="r">
              <a:lnSpc>
                <a:spcPct val="100000"/>
              </a:lnSpc>
              <a:spcBef>
                <a:spcPts val="300"/>
              </a:spcBef>
            </a:pPr>
            <a:r>
              <a:rPr lang="en-US" sz="1200" b="0" strike="noStrike" spc="-29">
                <a:solidFill>
                  <a:srgbClr val="181818"/>
                </a:solidFill>
                <a:uFill>
                  <a:solidFill>
                    <a:srgbClr val="FFFFFF"/>
                  </a:solidFill>
                </a:uFill>
                <a:latin typeface="Ericsson Hilda"/>
              </a:rPr>
              <a:t>Grupp 05</a:t>
            </a:r>
          </a:p>
        </p:txBody>
      </p:sp>
      <p:sp>
        <p:nvSpPr>
          <p:cNvPr id="507" name="TextShape 4"/>
          <p:cNvSpPr txBox="1"/>
          <p:nvPr/>
        </p:nvSpPr>
        <p:spPr>
          <a:xfrm>
            <a:off x="8229600" y="6237360"/>
            <a:ext cx="2514600" cy="286920"/>
          </a:xfrm>
          <a:prstGeom prst="rect">
            <a:avLst/>
          </a:prstGeom>
          <a:noFill/>
          <a:ln w="9360">
            <a:noFill/>
          </a:ln>
        </p:spPr>
        <p:txBody>
          <a:bodyPr lIns="72000" tIns="0" rIns="0" bIns="36720" anchor="b"/>
          <a:lstStyle/>
          <a:p>
            <a:pPr algn="ctr">
              <a:lnSpc>
                <a:spcPct val="100000"/>
              </a:lnSpc>
              <a:spcBef>
                <a:spcPts val="300"/>
              </a:spcBef>
            </a:pPr>
            <a:r>
              <a:rPr lang="en-US" sz="1200" b="0" strike="noStrike" spc="-29">
                <a:solidFill>
                  <a:srgbClr val="181818"/>
                </a:solidFill>
                <a:uFill>
                  <a:solidFill>
                    <a:srgbClr val="FFFFFF"/>
                  </a:solidFill>
                </a:uFill>
                <a:latin typeface="Ericsson Hilda"/>
              </a:rPr>
              <a:t>TSIU51</a:t>
            </a:r>
          </a:p>
        </p:txBody>
      </p:sp>
      <p:sp>
        <p:nvSpPr>
          <p:cNvPr id="508" name="TextShape 5"/>
          <p:cNvSpPr txBox="1"/>
          <p:nvPr/>
        </p:nvSpPr>
        <p:spPr>
          <a:xfrm>
            <a:off x="10811880" y="6237360"/>
            <a:ext cx="897120" cy="286920"/>
          </a:xfrm>
          <a:prstGeom prst="rect">
            <a:avLst/>
          </a:prstGeom>
          <a:noFill/>
          <a:ln w="9360">
            <a:noFill/>
          </a:ln>
        </p:spPr>
        <p:txBody>
          <a:bodyPr lIns="72000" tIns="0" rIns="0" bIns="36720" anchor="b"/>
          <a:lstStyle/>
          <a:p>
            <a:pPr algn="ctr">
              <a:lnSpc>
                <a:spcPct val="100000"/>
              </a:lnSpc>
              <a:spcBef>
                <a:spcPts val="300"/>
              </a:spcBef>
            </a:pPr>
            <a:r>
              <a:rPr lang="en-US" sz="1200" b="0" strike="noStrike" spc="-29">
                <a:solidFill>
                  <a:srgbClr val="181818"/>
                </a:solidFill>
                <a:uFill>
                  <a:solidFill>
                    <a:srgbClr val="FFFFFF"/>
                  </a:solidFill>
                </a:uFill>
                <a:latin typeface="Ericsson Hilda"/>
              </a:rPr>
              <a:t>2022-03-27</a:t>
            </a:r>
          </a:p>
        </p:txBody>
      </p:sp>
      <p:sp>
        <p:nvSpPr>
          <p:cNvPr id="2" name="Rectangle 1">
            <a:extLst>
              <a:ext uri="{FF2B5EF4-FFF2-40B4-BE49-F238E27FC236}">
                <a16:creationId xmlns:a16="http://schemas.microsoft.com/office/drawing/2014/main" id="{3E53AA6F-DFD3-4B32-9694-58238019969E}"/>
              </a:ext>
            </a:extLst>
          </p:cNvPr>
          <p:cNvSpPr/>
          <p:nvPr/>
        </p:nvSpPr>
        <p:spPr>
          <a:xfrm>
            <a:off x="11277600" y="309217"/>
            <a:ext cx="649357" cy="6493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pic>
        <p:nvPicPr>
          <p:cNvPr id="9" name="Picture 2">
            <a:extLst>
              <a:ext uri="{FF2B5EF4-FFF2-40B4-BE49-F238E27FC236}">
                <a16:creationId xmlns:a16="http://schemas.microsoft.com/office/drawing/2014/main" id="{6FCB1165-CDBE-43B4-95A3-506B5010780F}"/>
              </a:ext>
            </a:extLst>
          </p:cNvPr>
          <p:cNvPicPr/>
          <p:nvPr/>
        </p:nvPicPr>
        <p:blipFill rotWithShape="1">
          <a:blip r:embed="rId3"/>
          <a:srcRect t="32630" b="27089"/>
          <a:stretch/>
        </p:blipFill>
        <p:spPr>
          <a:xfrm>
            <a:off x="1673848" y="1542554"/>
            <a:ext cx="8606170" cy="3466634"/>
          </a:xfrm>
          <a:prstGeom prst="rect">
            <a:avLst/>
          </a:prstGeom>
          <a:ln>
            <a:noFill/>
          </a:ln>
        </p:spPr>
      </p:pic>
    </p:spTree>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5692597-18CD-436B-9BF0-4EB6021F01B1}"/>
              </a:ext>
            </a:extLst>
          </p:cNvPr>
          <p:cNvPicPr>
            <a:picLocks noChangeAspect="1"/>
          </p:cNvPicPr>
          <p:nvPr/>
        </p:nvPicPr>
        <p:blipFill>
          <a:blip r:embed="rId3"/>
          <a:stretch>
            <a:fillRect/>
          </a:stretch>
        </p:blipFill>
        <p:spPr>
          <a:xfrm>
            <a:off x="2136231" y="2156807"/>
            <a:ext cx="7572470" cy="2267864"/>
          </a:xfrm>
          <a:prstGeom prst="rect">
            <a:avLst/>
          </a:prstGeom>
        </p:spPr>
      </p:pic>
      <p:sp>
        <p:nvSpPr>
          <p:cNvPr id="719" name="CustomShape 196"/>
          <p:cNvSpPr/>
          <p:nvPr/>
        </p:nvSpPr>
        <p:spPr>
          <a:xfrm>
            <a:off x="495720" y="328680"/>
            <a:ext cx="3186720" cy="534240"/>
          </a:xfrm>
          <a:prstGeom prst="rect">
            <a:avLst/>
          </a:prstGeom>
          <a:noFill/>
          <a:ln w="12600">
            <a:noFill/>
          </a:ln>
        </p:spPr>
        <p:style>
          <a:lnRef idx="0">
            <a:scrgbClr r="0" g="0" b="0"/>
          </a:lnRef>
          <a:fillRef idx="0">
            <a:scrgbClr r="0" g="0" b="0"/>
          </a:fillRef>
          <a:effectRef idx="0">
            <a:scrgbClr r="0" g="0" b="0"/>
          </a:effectRef>
          <a:fontRef idx="minor"/>
        </p:style>
        <p:txBody>
          <a:bodyPr lIns="72000" tIns="36000" rIns="73080" bIns="36720"/>
          <a:lstStyle/>
          <a:p>
            <a:pPr>
              <a:lnSpc>
                <a:spcPct val="100000"/>
              </a:lnSpc>
            </a:pPr>
            <a:r>
              <a:rPr lang="sv-SE" sz="4000" b="0" strike="noStrike" spc="-1">
                <a:solidFill>
                  <a:srgbClr val="181818"/>
                </a:solidFill>
                <a:uFill>
                  <a:solidFill>
                    <a:srgbClr val="FFFFFF"/>
                  </a:solidFill>
                </a:uFill>
                <a:latin typeface="Ericsson Hilda"/>
              </a:rPr>
              <a:t>Spelmekanik</a:t>
            </a:r>
            <a:endParaRPr lang="sv-SE" sz="4000" b="0" strike="noStrike" spc="-1">
              <a:solidFill>
                <a:srgbClr val="000000"/>
              </a:solidFill>
              <a:uFill>
                <a:solidFill>
                  <a:srgbClr val="FFFFFF"/>
                </a:solidFill>
              </a:uFill>
              <a:latin typeface="Arial"/>
            </a:endParaRPr>
          </a:p>
        </p:txBody>
      </p:sp>
      <p:sp>
        <p:nvSpPr>
          <p:cNvPr id="1110" name="Rectangle 1109">
            <a:extLst>
              <a:ext uri="{FF2B5EF4-FFF2-40B4-BE49-F238E27FC236}">
                <a16:creationId xmlns:a16="http://schemas.microsoft.com/office/drawing/2014/main" id="{74D20775-402D-4802-A3BA-22E3763FD413}"/>
              </a:ext>
            </a:extLst>
          </p:cNvPr>
          <p:cNvSpPr/>
          <p:nvPr/>
        </p:nvSpPr>
        <p:spPr>
          <a:xfrm>
            <a:off x="11277600" y="309217"/>
            <a:ext cx="649357" cy="506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3" name="TextBox 2">
            <a:extLst>
              <a:ext uri="{FF2B5EF4-FFF2-40B4-BE49-F238E27FC236}">
                <a16:creationId xmlns:a16="http://schemas.microsoft.com/office/drawing/2014/main" id="{9B78DEC8-96DA-4CBB-B8BE-C2FDAFC73852}"/>
              </a:ext>
            </a:extLst>
          </p:cNvPr>
          <p:cNvSpPr txBox="1"/>
          <p:nvPr/>
        </p:nvSpPr>
        <p:spPr>
          <a:xfrm>
            <a:off x="7693740" y="6416040"/>
            <a:ext cx="4087800" cy="261610"/>
          </a:xfrm>
          <a:prstGeom prst="rect">
            <a:avLst/>
          </a:prstGeom>
          <a:noFill/>
        </p:spPr>
        <p:txBody>
          <a:bodyPr wrap="square" rtlCol="0">
            <a:spAutoFit/>
          </a:bodyPr>
          <a:lstStyle/>
          <a:p>
            <a:pPr algn="r"/>
            <a:r>
              <a:rPr lang="en-US" sz="1100">
                <a:latin typeface="Ericsson Hilda" panose="00000500000000000000" pitchFamily="2" charset="0"/>
              </a:rPr>
              <a:t>Illustration av </a:t>
            </a:r>
            <a:r>
              <a:rPr lang="en-US" sz="1100" err="1">
                <a:latin typeface="Ericsson Hilda" panose="00000500000000000000" pitchFamily="2" charset="0"/>
              </a:rPr>
              <a:t>spelmekanik</a:t>
            </a:r>
            <a:endParaRPr lang="en-SE" sz="1100">
              <a:latin typeface="Ericsson Hilda" panose="00000500000000000000" pitchFamily="2" charset="0"/>
            </a:endParaRPr>
          </a:p>
        </p:txBody>
      </p:sp>
      <p:grpSp>
        <p:nvGrpSpPr>
          <p:cNvPr id="2" name="Group 1">
            <a:extLst>
              <a:ext uri="{FF2B5EF4-FFF2-40B4-BE49-F238E27FC236}">
                <a16:creationId xmlns:a16="http://schemas.microsoft.com/office/drawing/2014/main" id="{B7CC2013-ED0C-41AB-8B3E-14B810F2010E}"/>
              </a:ext>
            </a:extLst>
          </p:cNvPr>
          <p:cNvGrpSpPr/>
          <p:nvPr/>
        </p:nvGrpSpPr>
        <p:grpSpPr>
          <a:xfrm>
            <a:off x="9903050" y="3536344"/>
            <a:ext cx="982980" cy="888327"/>
            <a:chOff x="6710760" y="2398941"/>
            <a:chExt cx="982980" cy="888327"/>
          </a:xfrm>
        </p:grpSpPr>
        <p:sp>
          <p:nvSpPr>
            <p:cNvPr id="1896" name="Rectangle 1895">
              <a:extLst>
                <a:ext uri="{FF2B5EF4-FFF2-40B4-BE49-F238E27FC236}">
                  <a16:creationId xmlns:a16="http://schemas.microsoft.com/office/drawing/2014/main" id="{4A5937D3-B3B5-486F-AAE3-578961016B35}"/>
                </a:ext>
              </a:extLst>
            </p:cNvPr>
            <p:cNvSpPr/>
            <p:nvPr/>
          </p:nvSpPr>
          <p:spPr>
            <a:xfrm>
              <a:off x="6710760" y="2708148"/>
              <a:ext cx="418680" cy="5791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Ericsson Hilda" panose="00000500000000000000" pitchFamily="2" charset="0"/>
                </a:rPr>
                <a:t>0</a:t>
              </a:r>
              <a:endParaRPr lang="en-SE">
                <a:solidFill>
                  <a:schemeClr val="tx1"/>
                </a:solidFill>
                <a:latin typeface="Ericsson Hilda" panose="00000500000000000000" pitchFamily="2" charset="0"/>
              </a:endParaRPr>
            </a:p>
          </p:txBody>
        </p:sp>
        <p:sp>
          <p:nvSpPr>
            <p:cNvPr id="1897" name="TextBox 1896">
              <a:extLst>
                <a:ext uri="{FF2B5EF4-FFF2-40B4-BE49-F238E27FC236}">
                  <a16:creationId xmlns:a16="http://schemas.microsoft.com/office/drawing/2014/main" id="{671D742B-2FFD-4344-9250-71A059C11927}"/>
                </a:ext>
              </a:extLst>
            </p:cNvPr>
            <p:cNvSpPr txBox="1"/>
            <p:nvPr/>
          </p:nvSpPr>
          <p:spPr>
            <a:xfrm>
              <a:off x="6710760" y="2398941"/>
              <a:ext cx="982980" cy="276999"/>
            </a:xfrm>
            <a:prstGeom prst="rect">
              <a:avLst/>
            </a:prstGeom>
            <a:noFill/>
          </p:spPr>
          <p:txBody>
            <a:bodyPr wrap="square" rtlCol="0">
              <a:spAutoFit/>
            </a:bodyPr>
            <a:lstStyle/>
            <a:p>
              <a:r>
                <a:rPr lang="en-US" sz="1200" dirty="0" err="1">
                  <a:latin typeface="Ericsson Hilda" panose="00000500000000000000" pitchFamily="2" charset="0"/>
                </a:rPr>
                <a:t>Poängtavla</a:t>
              </a:r>
              <a:endParaRPr lang="en-SE" sz="1200" dirty="0">
                <a:latin typeface="Ericsson Hilda" panose="00000500000000000000" pitchFamily="2" charset="0"/>
              </a:endParaRPr>
            </a:p>
          </p:txBody>
        </p:sp>
        <p:sp>
          <p:nvSpPr>
            <p:cNvPr id="1898" name="Rectangle 1897">
              <a:extLst>
                <a:ext uri="{FF2B5EF4-FFF2-40B4-BE49-F238E27FC236}">
                  <a16:creationId xmlns:a16="http://schemas.microsoft.com/office/drawing/2014/main" id="{9965CFE3-F405-4532-A9AD-DBF78C38C08F}"/>
                </a:ext>
              </a:extLst>
            </p:cNvPr>
            <p:cNvSpPr/>
            <p:nvPr/>
          </p:nvSpPr>
          <p:spPr>
            <a:xfrm>
              <a:off x="7201086" y="2708148"/>
              <a:ext cx="418680" cy="5791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Ericsson Hilda" panose="00000500000000000000" pitchFamily="2" charset="0"/>
                </a:rPr>
                <a:t>2</a:t>
              </a:r>
              <a:endParaRPr lang="en-SE" dirty="0">
                <a:solidFill>
                  <a:schemeClr val="tx1"/>
                </a:solidFill>
                <a:latin typeface="Ericsson Hilda" panose="00000500000000000000" pitchFamily="2" charset="0"/>
              </a:endParaRPr>
            </a:p>
          </p:txBody>
        </p:sp>
      </p:grpSp>
    </p:spTree>
    <p:extLst>
      <p:ext uri="{BB962C8B-B14F-4D97-AF65-F5344CB8AC3E}">
        <p14:creationId xmlns:p14="http://schemas.microsoft.com/office/powerpoint/2010/main" val="37599888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7CC2013-ED0C-41AB-8B3E-14B810F2010E}"/>
              </a:ext>
            </a:extLst>
          </p:cNvPr>
          <p:cNvGrpSpPr/>
          <p:nvPr/>
        </p:nvGrpSpPr>
        <p:grpSpPr>
          <a:xfrm>
            <a:off x="9903050" y="3536344"/>
            <a:ext cx="982980" cy="888327"/>
            <a:chOff x="6710760" y="2398941"/>
            <a:chExt cx="982980" cy="888327"/>
          </a:xfrm>
        </p:grpSpPr>
        <p:sp>
          <p:nvSpPr>
            <p:cNvPr id="1896" name="Rectangle 1895">
              <a:extLst>
                <a:ext uri="{FF2B5EF4-FFF2-40B4-BE49-F238E27FC236}">
                  <a16:creationId xmlns:a16="http://schemas.microsoft.com/office/drawing/2014/main" id="{4A5937D3-B3B5-486F-AAE3-578961016B35}"/>
                </a:ext>
              </a:extLst>
            </p:cNvPr>
            <p:cNvSpPr/>
            <p:nvPr/>
          </p:nvSpPr>
          <p:spPr>
            <a:xfrm>
              <a:off x="6710760" y="2708148"/>
              <a:ext cx="418680" cy="5791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Ericsson Hilda" panose="00000500000000000000" pitchFamily="2" charset="0"/>
                </a:rPr>
                <a:t>0</a:t>
              </a:r>
              <a:endParaRPr lang="en-SE">
                <a:solidFill>
                  <a:schemeClr val="tx1"/>
                </a:solidFill>
                <a:latin typeface="Ericsson Hilda" panose="00000500000000000000" pitchFamily="2" charset="0"/>
              </a:endParaRPr>
            </a:p>
          </p:txBody>
        </p:sp>
        <p:sp>
          <p:nvSpPr>
            <p:cNvPr id="1897" name="TextBox 1896">
              <a:extLst>
                <a:ext uri="{FF2B5EF4-FFF2-40B4-BE49-F238E27FC236}">
                  <a16:creationId xmlns:a16="http://schemas.microsoft.com/office/drawing/2014/main" id="{671D742B-2FFD-4344-9250-71A059C11927}"/>
                </a:ext>
              </a:extLst>
            </p:cNvPr>
            <p:cNvSpPr txBox="1"/>
            <p:nvPr/>
          </p:nvSpPr>
          <p:spPr>
            <a:xfrm>
              <a:off x="6710760" y="2398941"/>
              <a:ext cx="982980" cy="276999"/>
            </a:xfrm>
            <a:prstGeom prst="rect">
              <a:avLst/>
            </a:prstGeom>
            <a:noFill/>
          </p:spPr>
          <p:txBody>
            <a:bodyPr wrap="square" rtlCol="0">
              <a:spAutoFit/>
            </a:bodyPr>
            <a:lstStyle/>
            <a:p>
              <a:r>
                <a:rPr lang="en-US" sz="1200" dirty="0" err="1">
                  <a:latin typeface="Ericsson Hilda" panose="00000500000000000000" pitchFamily="2" charset="0"/>
                </a:rPr>
                <a:t>Poängtavla</a:t>
              </a:r>
              <a:endParaRPr lang="en-SE" sz="1200" dirty="0">
                <a:latin typeface="Ericsson Hilda" panose="00000500000000000000" pitchFamily="2" charset="0"/>
              </a:endParaRPr>
            </a:p>
          </p:txBody>
        </p:sp>
        <p:sp>
          <p:nvSpPr>
            <p:cNvPr id="1898" name="Rectangle 1897">
              <a:extLst>
                <a:ext uri="{FF2B5EF4-FFF2-40B4-BE49-F238E27FC236}">
                  <a16:creationId xmlns:a16="http://schemas.microsoft.com/office/drawing/2014/main" id="{9965CFE3-F405-4532-A9AD-DBF78C38C08F}"/>
                </a:ext>
              </a:extLst>
            </p:cNvPr>
            <p:cNvSpPr/>
            <p:nvPr/>
          </p:nvSpPr>
          <p:spPr>
            <a:xfrm>
              <a:off x="7201086" y="2708148"/>
              <a:ext cx="418680" cy="5791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Ericsson Hilda" panose="00000500000000000000" pitchFamily="2" charset="0"/>
                </a:rPr>
                <a:t>3</a:t>
              </a:r>
              <a:endParaRPr lang="en-SE" dirty="0">
                <a:solidFill>
                  <a:schemeClr val="tx1"/>
                </a:solidFill>
                <a:latin typeface="Ericsson Hilda" panose="00000500000000000000" pitchFamily="2" charset="0"/>
              </a:endParaRPr>
            </a:p>
          </p:txBody>
        </p:sp>
      </p:grpSp>
      <p:sp>
        <p:nvSpPr>
          <p:cNvPr id="206" name="Rectangle 205">
            <a:extLst>
              <a:ext uri="{FF2B5EF4-FFF2-40B4-BE49-F238E27FC236}">
                <a16:creationId xmlns:a16="http://schemas.microsoft.com/office/drawing/2014/main" id="{6213874E-01C3-4A8C-916C-2EC2F11F0565}"/>
              </a:ext>
            </a:extLst>
          </p:cNvPr>
          <p:cNvSpPr/>
          <p:nvPr/>
        </p:nvSpPr>
        <p:spPr>
          <a:xfrm>
            <a:off x="10393376" y="3843814"/>
            <a:ext cx="418680" cy="5791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Ericsson Hilda" panose="00000500000000000000" pitchFamily="2" charset="0"/>
              </a:rPr>
              <a:t>3</a:t>
            </a:r>
            <a:endParaRPr lang="en-SE" dirty="0">
              <a:solidFill>
                <a:schemeClr val="tx1"/>
              </a:solidFill>
              <a:latin typeface="Ericsson Hilda" panose="00000500000000000000" pitchFamily="2" charset="0"/>
            </a:endParaRPr>
          </a:p>
        </p:txBody>
      </p:sp>
      <p:pic>
        <p:nvPicPr>
          <p:cNvPr id="4" name="Picture 3">
            <a:extLst>
              <a:ext uri="{FF2B5EF4-FFF2-40B4-BE49-F238E27FC236}">
                <a16:creationId xmlns:a16="http://schemas.microsoft.com/office/drawing/2014/main" id="{280B0523-0799-48E5-8A81-6CBB226DBC93}"/>
              </a:ext>
            </a:extLst>
          </p:cNvPr>
          <p:cNvPicPr>
            <a:picLocks noChangeAspect="1"/>
          </p:cNvPicPr>
          <p:nvPr/>
        </p:nvPicPr>
        <p:blipFill>
          <a:blip r:embed="rId3"/>
          <a:stretch>
            <a:fillRect/>
          </a:stretch>
        </p:blipFill>
        <p:spPr>
          <a:xfrm>
            <a:off x="2136230" y="2156807"/>
            <a:ext cx="7616853" cy="2281156"/>
          </a:xfrm>
          <a:prstGeom prst="rect">
            <a:avLst/>
          </a:prstGeom>
        </p:spPr>
      </p:pic>
      <p:sp>
        <p:nvSpPr>
          <p:cNvPr id="719" name="CustomShape 196"/>
          <p:cNvSpPr/>
          <p:nvPr/>
        </p:nvSpPr>
        <p:spPr>
          <a:xfrm>
            <a:off x="495720" y="328680"/>
            <a:ext cx="3186720" cy="534240"/>
          </a:xfrm>
          <a:prstGeom prst="rect">
            <a:avLst/>
          </a:prstGeom>
          <a:noFill/>
          <a:ln w="12600">
            <a:noFill/>
          </a:ln>
        </p:spPr>
        <p:style>
          <a:lnRef idx="0">
            <a:scrgbClr r="0" g="0" b="0"/>
          </a:lnRef>
          <a:fillRef idx="0">
            <a:scrgbClr r="0" g="0" b="0"/>
          </a:fillRef>
          <a:effectRef idx="0">
            <a:scrgbClr r="0" g="0" b="0"/>
          </a:effectRef>
          <a:fontRef idx="minor"/>
        </p:style>
        <p:txBody>
          <a:bodyPr lIns="72000" tIns="36000" rIns="73080" bIns="36720"/>
          <a:lstStyle/>
          <a:p>
            <a:pPr>
              <a:lnSpc>
                <a:spcPct val="100000"/>
              </a:lnSpc>
            </a:pPr>
            <a:r>
              <a:rPr lang="sv-SE" sz="4000" b="0" strike="noStrike" spc="-1">
                <a:solidFill>
                  <a:srgbClr val="181818"/>
                </a:solidFill>
                <a:uFill>
                  <a:solidFill>
                    <a:srgbClr val="FFFFFF"/>
                  </a:solidFill>
                </a:uFill>
                <a:latin typeface="Ericsson Hilda"/>
              </a:rPr>
              <a:t>Spelmekanik</a:t>
            </a:r>
            <a:endParaRPr lang="sv-SE" sz="4000" b="0" strike="noStrike" spc="-1">
              <a:solidFill>
                <a:srgbClr val="000000"/>
              </a:solidFill>
              <a:uFill>
                <a:solidFill>
                  <a:srgbClr val="FFFFFF"/>
                </a:solidFill>
              </a:uFill>
              <a:latin typeface="Arial"/>
            </a:endParaRPr>
          </a:p>
        </p:txBody>
      </p:sp>
      <p:sp>
        <p:nvSpPr>
          <p:cNvPr id="1110" name="Rectangle 1109">
            <a:extLst>
              <a:ext uri="{FF2B5EF4-FFF2-40B4-BE49-F238E27FC236}">
                <a16:creationId xmlns:a16="http://schemas.microsoft.com/office/drawing/2014/main" id="{74D20775-402D-4802-A3BA-22E3763FD413}"/>
              </a:ext>
            </a:extLst>
          </p:cNvPr>
          <p:cNvSpPr/>
          <p:nvPr/>
        </p:nvSpPr>
        <p:spPr>
          <a:xfrm>
            <a:off x="11277600" y="309217"/>
            <a:ext cx="649357" cy="506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3" name="TextBox 2">
            <a:extLst>
              <a:ext uri="{FF2B5EF4-FFF2-40B4-BE49-F238E27FC236}">
                <a16:creationId xmlns:a16="http://schemas.microsoft.com/office/drawing/2014/main" id="{9B78DEC8-96DA-4CBB-B8BE-C2FDAFC73852}"/>
              </a:ext>
            </a:extLst>
          </p:cNvPr>
          <p:cNvSpPr txBox="1"/>
          <p:nvPr/>
        </p:nvSpPr>
        <p:spPr>
          <a:xfrm>
            <a:off x="7693740" y="6416040"/>
            <a:ext cx="4087800" cy="261610"/>
          </a:xfrm>
          <a:prstGeom prst="rect">
            <a:avLst/>
          </a:prstGeom>
          <a:noFill/>
        </p:spPr>
        <p:txBody>
          <a:bodyPr wrap="square" rtlCol="0">
            <a:spAutoFit/>
          </a:bodyPr>
          <a:lstStyle/>
          <a:p>
            <a:pPr algn="r"/>
            <a:r>
              <a:rPr lang="en-US" sz="1100">
                <a:latin typeface="Ericsson Hilda" panose="00000500000000000000" pitchFamily="2" charset="0"/>
              </a:rPr>
              <a:t>Illustration av </a:t>
            </a:r>
            <a:r>
              <a:rPr lang="en-US" sz="1100" err="1">
                <a:latin typeface="Ericsson Hilda" panose="00000500000000000000" pitchFamily="2" charset="0"/>
              </a:rPr>
              <a:t>spelmekanik</a:t>
            </a:r>
            <a:endParaRPr lang="en-SE" sz="1100">
              <a:latin typeface="Ericsson Hilda" panose="00000500000000000000" pitchFamily="2" charset="0"/>
            </a:endParaRPr>
          </a:p>
        </p:txBody>
      </p:sp>
    </p:spTree>
    <p:extLst>
      <p:ext uri="{BB962C8B-B14F-4D97-AF65-F5344CB8AC3E}">
        <p14:creationId xmlns:p14="http://schemas.microsoft.com/office/powerpoint/2010/main" val="2472330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6"/>
                                        </p:tgtEl>
                                        <p:attrNameLst>
                                          <p:attrName>style.visibility</p:attrName>
                                        </p:attrNameLst>
                                      </p:cBhvr>
                                      <p:to>
                                        <p:strVal val="visible"/>
                                      </p:to>
                                    </p:set>
                                    <p:animEffect transition="in" filter="fade">
                                      <p:cBhvr>
                                        <p:cTn id="7" dur="500"/>
                                        <p:tgtEl>
                                          <p:spTgt spid="2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6" name="TextShape 1"/>
          <p:cNvSpPr txBox="1"/>
          <p:nvPr/>
        </p:nvSpPr>
        <p:spPr>
          <a:xfrm>
            <a:off x="479520" y="476280"/>
            <a:ext cx="5471640" cy="716400"/>
          </a:xfrm>
          <a:prstGeom prst="rect">
            <a:avLst/>
          </a:prstGeom>
          <a:noFill/>
          <a:ln w="9360">
            <a:noFill/>
          </a:ln>
        </p:spPr>
        <p:txBody>
          <a:bodyPr lIns="72000" tIns="36000" rIns="73080" bIns="36720">
            <a:normAutofit/>
          </a:bodyPr>
          <a:lstStyle/>
          <a:p>
            <a:pPr>
              <a:lnSpc>
                <a:spcPct val="100000"/>
              </a:lnSpc>
              <a:spcBef>
                <a:spcPts val="300"/>
              </a:spcBef>
            </a:pPr>
            <a:r>
              <a:rPr lang="en-US" sz="4000" b="0" strike="noStrike" spc="-157" dirty="0" err="1">
                <a:solidFill>
                  <a:srgbClr val="181818"/>
                </a:solidFill>
                <a:uFill>
                  <a:solidFill>
                    <a:srgbClr val="FFFFFF"/>
                  </a:solidFill>
                </a:uFill>
                <a:latin typeface="Ericsson Hilda Light"/>
              </a:rPr>
              <a:t>Kravspecifikation</a:t>
            </a:r>
            <a:endParaRPr lang="en-US" sz="4000" b="0" strike="noStrike" spc="-1" dirty="0">
              <a:solidFill>
                <a:srgbClr val="181818"/>
              </a:solidFill>
              <a:uFill>
                <a:solidFill>
                  <a:srgbClr val="FFFFFF"/>
                </a:solidFill>
              </a:uFill>
              <a:latin typeface="Ericsson Hilda"/>
            </a:endParaRPr>
          </a:p>
        </p:txBody>
      </p:sp>
      <p:sp>
        <p:nvSpPr>
          <p:cNvPr id="1697" name="CustomShape 2"/>
          <p:cNvSpPr/>
          <p:nvPr/>
        </p:nvSpPr>
        <p:spPr>
          <a:xfrm>
            <a:off x="479520" y="1240920"/>
            <a:ext cx="5471640" cy="5477760"/>
          </a:xfrm>
          <a:prstGeom prst="rect">
            <a:avLst/>
          </a:prstGeom>
          <a:noFill/>
          <a:ln>
            <a:noFill/>
          </a:ln>
        </p:spPr>
        <p:style>
          <a:lnRef idx="0">
            <a:scrgbClr r="0" g="0" b="0"/>
          </a:lnRef>
          <a:fillRef idx="0">
            <a:scrgbClr r="0" g="0" b="0"/>
          </a:fillRef>
          <a:effectRef idx="0">
            <a:scrgbClr r="0" g="0" b="0"/>
          </a:effectRef>
          <a:fontRef idx="minor"/>
        </p:style>
        <p:txBody>
          <a:bodyPr lIns="72000" tIns="36000" rIns="72000" bIns="36000"/>
          <a:lstStyle/>
          <a:p>
            <a:pPr>
              <a:lnSpc>
                <a:spcPct val="100000"/>
              </a:lnSpc>
              <a:spcBef>
                <a:spcPts val="799"/>
              </a:spcBef>
            </a:pPr>
            <a:r>
              <a:rPr lang="sv-SE" b="0" strike="noStrike" spc="-29" dirty="0">
                <a:solidFill>
                  <a:srgbClr val="181818"/>
                </a:solidFill>
                <a:uFill>
                  <a:solidFill>
                    <a:srgbClr val="FFFFFF"/>
                  </a:solidFill>
                </a:uFill>
                <a:latin typeface="Ericsson Hilda"/>
              </a:rPr>
              <a:t>Skall-krav</a:t>
            </a:r>
            <a:endParaRPr lang="sv-SE" b="0" strike="noStrike" spc="-1" dirty="0">
              <a:solidFill>
                <a:srgbClr val="000000"/>
              </a:solidFill>
              <a:uFill>
                <a:solidFill>
                  <a:srgbClr val="FFFFFF"/>
                </a:solidFill>
              </a:uFill>
              <a:latin typeface="Arial"/>
            </a:endParaRPr>
          </a:p>
          <a:p>
            <a:pPr marL="632160" lvl="2" indent="-285480">
              <a:lnSpc>
                <a:spcPct val="100000"/>
              </a:lnSpc>
              <a:spcBef>
                <a:spcPts val="799"/>
              </a:spcBef>
              <a:buClr>
                <a:srgbClr val="181818"/>
              </a:buClr>
              <a:buFont typeface="Ericsson Hilda"/>
              <a:buChar char="–"/>
            </a:pPr>
            <a:r>
              <a:rPr lang="sv-SE" b="0" strike="noStrike" spc="-29" dirty="0">
                <a:solidFill>
                  <a:srgbClr val="181818"/>
                </a:solidFill>
                <a:uFill>
                  <a:solidFill>
                    <a:srgbClr val="FFFFFF"/>
                  </a:solidFill>
                </a:uFill>
                <a:latin typeface="Ericsson Hilda"/>
              </a:rPr>
              <a:t>Spelaren skall vara en figur som liknar en dinosaurie.</a:t>
            </a:r>
            <a:endParaRPr lang="sv-SE" b="0" strike="noStrike" spc="-1" dirty="0">
              <a:solidFill>
                <a:srgbClr val="000000"/>
              </a:solidFill>
              <a:uFill>
                <a:solidFill>
                  <a:srgbClr val="FFFFFF"/>
                </a:solidFill>
              </a:uFill>
              <a:latin typeface="Arial"/>
            </a:endParaRPr>
          </a:p>
          <a:p>
            <a:pPr marL="632160" lvl="2" indent="-285480">
              <a:lnSpc>
                <a:spcPct val="100000"/>
              </a:lnSpc>
              <a:spcBef>
                <a:spcPts val="799"/>
              </a:spcBef>
              <a:buClr>
                <a:srgbClr val="181818"/>
              </a:buClr>
              <a:buFont typeface="Ericsson Hilda"/>
              <a:buChar char="–"/>
            </a:pPr>
            <a:r>
              <a:rPr lang="sv-SE" b="0" strike="noStrike" spc="-29" dirty="0">
                <a:solidFill>
                  <a:srgbClr val="181818"/>
                </a:solidFill>
                <a:uFill>
                  <a:solidFill>
                    <a:srgbClr val="FFFFFF"/>
                  </a:solidFill>
                </a:uFill>
                <a:latin typeface="Ericsson Hilda"/>
              </a:rPr>
              <a:t>Spelaren skall kunna hoppa med figuren.</a:t>
            </a:r>
            <a:endParaRPr lang="sv-SE" b="0" strike="noStrike" spc="-1" dirty="0">
              <a:solidFill>
                <a:srgbClr val="000000"/>
              </a:solidFill>
              <a:uFill>
                <a:solidFill>
                  <a:srgbClr val="FFFFFF"/>
                </a:solidFill>
              </a:uFill>
              <a:latin typeface="Arial"/>
            </a:endParaRPr>
          </a:p>
          <a:p>
            <a:pPr marL="632160" lvl="2" indent="-285480">
              <a:lnSpc>
                <a:spcPct val="100000"/>
              </a:lnSpc>
              <a:spcBef>
                <a:spcPts val="799"/>
              </a:spcBef>
              <a:buClr>
                <a:srgbClr val="181818"/>
              </a:buClr>
              <a:buFont typeface="Ericsson Hilda"/>
              <a:buChar char="–"/>
            </a:pPr>
            <a:r>
              <a:rPr lang="sv-SE" b="0" strike="noStrike" spc="-29" dirty="0">
                <a:solidFill>
                  <a:srgbClr val="181818"/>
                </a:solidFill>
                <a:uFill>
                  <a:solidFill>
                    <a:srgbClr val="FFFFFF"/>
                  </a:solidFill>
                </a:uFill>
                <a:latin typeface="Ericsson Hilda"/>
              </a:rPr>
              <a:t>Spelaren skall röra sig åt höger automatiskt med figuren.</a:t>
            </a:r>
            <a:endParaRPr lang="sv-SE" b="0" strike="noStrike" spc="-1" dirty="0">
              <a:solidFill>
                <a:srgbClr val="000000"/>
              </a:solidFill>
              <a:uFill>
                <a:solidFill>
                  <a:srgbClr val="FFFFFF"/>
                </a:solidFill>
              </a:uFill>
              <a:latin typeface="Arial"/>
            </a:endParaRPr>
          </a:p>
          <a:p>
            <a:pPr marL="632160" lvl="2" indent="-285480">
              <a:lnSpc>
                <a:spcPct val="100000"/>
              </a:lnSpc>
              <a:spcBef>
                <a:spcPts val="799"/>
              </a:spcBef>
              <a:buClr>
                <a:srgbClr val="181818"/>
              </a:buClr>
              <a:buFont typeface="Ericsson Hilda"/>
              <a:buChar char="–"/>
            </a:pPr>
            <a:r>
              <a:rPr lang="sv-SE" b="0" strike="noStrike" spc="-29" dirty="0">
                <a:solidFill>
                  <a:srgbClr val="181818"/>
                </a:solidFill>
                <a:uFill>
                  <a:solidFill>
                    <a:srgbClr val="FFFFFF"/>
                  </a:solidFill>
                </a:uFill>
                <a:latin typeface="Ericsson Hilda"/>
              </a:rPr>
              <a:t>Spelaren skall kunna samla poäng.</a:t>
            </a:r>
            <a:endParaRPr lang="sv-SE" b="0" strike="noStrike" spc="-1" dirty="0">
              <a:solidFill>
                <a:srgbClr val="000000"/>
              </a:solidFill>
              <a:uFill>
                <a:solidFill>
                  <a:srgbClr val="FFFFFF"/>
                </a:solidFill>
              </a:uFill>
              <a:latin typeface="Arial"/>
            </a:endParaRPr>
          </a:p>
          <a:p>
            <a:pPr marL="632160" lvl="2" indent="-285480">
              <a:lnSpc>
                <a:spcPct val="100000"/>
              </a:lnSpc>
              <a:spcBef>
                <a:spcPts val="799"/>
              </a:spcBef>
              <a:buClr>
                <a:srgbClr val="181818"/>
              </a:buClr>
              <a:buFont typeface="Ericsson Hilda"/>
              <a:buChar char="–"/>
            </a:pPr>
            <a:r>
              <a:rPr lang="sv-SE" b="0" strike="noStrike" spc="-29" dirty="0">
                <a:solidFill>
                  <a:srgbClr val="181818"/>
                </a:solidFill>
                <a:uFill>
                  <a:solidFill>
                    <a:srgbClr val="FFFFFF"/>
                  </a:solidFill>
                </a:uFill>
                <a:latin typeface="Ericsson Hilda"/>
              </a:rPr>
              <a:t>Spelaren skall kunna förlora spelet genom kollision med inkommande hinder</a:t>
            </a:r>
            <a:endParaRPr lang="sv-SE" b="0" strike="noStrike" spc="-1" dirty="0">
              <a:solidFill>
                <a:srgbClr val="000000"/>
              </a:solidFill>
              <a:uFill>
                <a:solidFill>
                  <a:srgbClr val="FFFFFF"/>
                </a:solidFill>
              </a:uFill>
              <a:latin typeface="Arial"/>
            </a:endParaRPr>
          </a:p>
          <a:p>
            <a:pPr marL="632160" lvl="2" indent="-285480">
              <a:lnSpc>
                <a:spcPct val="100000"/>
              </a:lnSpc>
              <a:spcBef>
                <a:spcPts val="799"/>
              </a:spcBef>
              <a:buClr>
                <a:srgbClr val="181818"/>
              </a:buClr>
              <a:buFont typeface="Ericsson Hilda"/>
              <a:buChar char="–"/>
            </a:pPr>
            <a:r>
              <a:rPr lang="sv-SE" b="0" strike="noStrike" spc="-29" dirty="0">
                <a:solidFill>
                  <a:srgbClr val="181818"/>
                </a:solidFill>
                <a:uFill>
                  <a:solidFill>
                    <a:srgbClr val="FFFFFF"/>
                  </a:solidFill>
                </a:uFill>
                <a:latin typeface="Ericsson Hilda"/>
              </a:rPr>
              <a:t>Spelaren skall kunna spela med keypad på DAVID-kortet</a:t>
            </a:r>
            <a:endParaRPr lang="sv-SE" b="0" strike="noStrike" spc="-1" dirty="0">
              <a:solidFill>
                <a:srgbClr val="000000"/>
              </a:solidFill>
              <a:uFill>
                <a:solidFill>
                  <a:srgbClr val="FFFFFF"/>
                </a:solidFill>
              </a:uFill>
              <a:latin typeface="Arial"/>
            </a:endParaRPr>
          </a:p>
          <a:p>
            <a:pPr marL="632160" lvl="2" indent="-285480">
              <a:lnSpc>
                <a:spcPct val="100000"/>
              </a:lnSpc>
              <a:spcBef>
                <a:spcPts val="799"/>
              </a:spcBef>
              <a:buClr>
                <a:srgbClr val="181818"/>
              </a:buClr>
              <a:buFont typeface="Ericsson Hilda"/>
              <a:buChar char="–"/>
            </a:pPr>
            <a:r>
              <a:rPr lang="sv-SE" b="0" strike="noStrike" spc="-29" dirty="0">
                <a:solidFill>
                  <a:srgbClr val="181818"/>
                </a:solidFill>
                <a:uFill>
                  <a:solidFill>
                    <a:srgbClr val="FFFFFF"/>
                  </a:solidFill>
                </a:uFill>
                <a:latin typeface="Ericsson Hilda"/>
              </a:rPr>
              <a:t>Det skall finnas en main-meny.</a:t>
            </a:r>
            <a:endParaRPr lang="sv-SE" b="0" strike="noStrike" spc="-1" dirty="0">
              <a:solidFill>
                <a:srgbClr val="000000"/>
              </a:solidFill>
              <a:uFill>
                <a:solidFill>
                  <a:srgbClr val="FFFFFF"/>
                </a:solidFill>
              </a:uFill>
              <a:latin typeface="Arial"/>
            </a:endParaRPr>
          </a:p>
          <a:p>
            <a:pPr marL="632160" lvl="2" indent="-285480">
              <a:lnSpc>
                <a:spcPct val="100000"/>
              </a:lnSpc>
              <a:spcBef>
                <a:spcPts val="799"/>
              </a:spcBef>
              <a:buClr>
                <a:srgbClr val="181818"/>
              </a:buClr>
              <a:buFont typeface="Ericsson Hilda"/>
              <a:buChar char="–"/>
            </a:pPr>
            <a:r>
              <a:rPr lang="sv-SE" b="0" strike="noStrike" spc="-29" dirty="0">
                <a:solidFill>
                  <a:srgbClr val="181818"/>
                </a:solidFill>
                <a:uFill>
                  <a:solidFill>
                    <a:srgbClr val="FFFFFF"/>
                  </a:solidFill>
                </a:uFill>
                <a:latin typeface="Ericsson Hilda"/>
              </a:rPr>
              <a:t>Det skall finnas en score-point “bild” när spelare förlorar.</a:t>
            </a:r>
            <a:endParaRPr lang="sv-SE" b="0" strike="noStrike" spc="-1" dirty="0">
              <a:solidFill>
                <a:srgbClr val="000000"/>
              </a:solidFill>
              <a:uFill>
                <a:solidFill>
                  <a:srgbClr val="FFFFFF"/>
                </a:solidFill>
              </a:uFill>
              <a:latin typeface="Arial"/>
            </a:endParaRPr>
          </a:p>
        </p:txBody>
      </p:sp>
    </p:spTree>
    <p:extLst>
      <p:ext uri="{BB962C8B-B14F-4D97-AF65-F5344CB8AC3E}">
        <p14:creationId xmlns:p14="http://schemas.microsoft.com/office/powerpoint/2010/main" val="1188302935"/>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6" name="TextShape 1"/>
          <p:cNvSpPr txBox="1"/>
          <p:nvPr/>
        </p:nvSpPr>
        <p:spPr>
          <a:xfrm>
            <a:off x="479520" y="476280"/>
            <a:ext cx="5471640" cy="716400"/>
          </a:xfrm>
          <a:prstGeom prst="rect">
            <a:avLst/>
          </a:prstGeom>
          <a:noFill/>
          <a:ln w="9360">
            <a:noFill/>
          </a:ln>
        </p:spPr>
        <p:txBody>
          <a:bodyPr lIns="72000" tIns="36000" rIns="73080" bIns="36720">
            <a:normAutofit/>
          </a:bodyPr>
          <a:lstStyle/>
          <a:p>
            <a:pPr>
              <a:lnSpc>
                <a:spcPct val="100000"/>
              </a:lnSpc>
              <a:spcBef>
                <a:spcPts val="300"/>
              </a:spcBef>
            </a:pPr>
            <a:r>
              <a:rPr lang="en-US" sz="4000" b="0" strike="noStrike" spc="-157" dirty="0" err="1">
                <a:solidFill>
                  <a:srgbClr val="181818"/>
                </a:solidFill>
                <a:uFill>
                  <a:solidFill>
                    <a:srgbClr val="FFFFFF"/>
                  </a:solidFill>
                </a:uFill>
                <a:latin typeface="Ericsson Hilda Light"/>
              </a:rPr>
              <a:t>Kravspecifikation</a:t>
            </a:r>
            <a:endParaRPr lang="en-US" sz="4000" b="0" strike="noStrike" spc="-1" dirty="0">
              <a:solidFill>
                <a:srgbClr val="181818"/>
              </a:solidFill>
              <a:uFill>
                <a:solidFill>
                  <a:srgbClr val="FFFFFF"/>
                </a:solidFill>
              </a:uFill>
              <a:latin typeface="Ericsson Hilda"/>
            </a:endParaRPr>
          </a:p>
        </p:txBody>
      </p:sp>
      <p:sp>
        <p:nvSpPr>
          <p:cNvPr id="1697" name="CustomShape 2"/>
          <p:cNvSpPr/>
          <p:nvPr/>
        </p:nvSpPr>
        <p:spPr>
          <a:xfrm>
            <a:off x="479519" y="1240920"/>
            <a:ext cx="8642313" cy="5477760"/>
          </a:xfrm>
          <a:prstGeom prst="rect">
            <a:avLst/>
          </a:prstGeom>
          <a:noFill/>
          <a:ln>
            <a:noFill/>
          </a:ln>
        </p:spPr>
        <p:style>
          <a:lnRef idx="0">
            <a:scrgbClr r="0" g="0" b="0"/>
          </a:lnRef>
          <a:fillRef idx="0">
            <a:scrgbClr r="0" g="0" b="0"/>
          </a:fillRef>
          <a:effectRef idx="0">
            <a:scrgbClr r="0" g="0" b="0"/>
          </a:effectRef>
          <a:fontRef idx="minor"/>
        </p:style>
        <p:txBody>
          <a:bodyPr lIns="72000" tIns="36000" rIns="72000" bIns="36000"/>
          <a:lstStyle/>
          <a:p>
            <a:pPr>
              <a:lnSpc>
                <a:spcPct val="100000"/>
              </a:lnSpc>
              <a:spcBef>
                <a:spcPts val="799"/>
              </a:spcBef>
            </a:pPr>
            <a:r>
              <a:rPr lang="sv-SE" b="0" strike="noStrike" spc="-29" dirty="0">
                <a:solidFill>
                  <a:srgbClr val="181818"/>
                </a:solidFill>
                <a:uFill>
                  <a:solidFill>
                    <a:srgbClr val="FFFFFF"/>
                  </a:solidFill>
                </a:uFill>
                <a:latin typeface="Ericsson Hilda"/>
              </a:rPr>
              <a:t>Bör-krav</a:t>
            </a:r>
            <a:endParaRPr lang="sv-SE" b="0" strike="noStrike" spc="-1" dirty="0">
              <a:solidFill>
                <a:srgbClr val="000000"/>
              </a:solidFill>
              <a:uFill>
                <a:solidFill>
                  <a:srgbClr val="FFFFFF"/>
                </a:solidFill>
              </a:uFill>
              <a:latin typeface="Arial"/>
            </a:endParaRPr>
          </a:p>
          <a:p>
            <a:pPr marL="649440" lvl="3" indent="-285480">
              <a:lnSpc>
                <a:spcPct val="100000"/>
              </a:lnSpc>
              <a:spcBef>
                <a:spcPts val="799"/>
              </a:spcBef>
              <a:buClr>
                <a:srgbClr val="181818"/>
              </a:buClr>
              <a:buFont typeface="Ericsson Hilda"/>
              <a:buChar char="–"/>
            </a:pPr>
            <a:r>
              <a:rPr lang="sv-SE" b="0" strike="noStrike" spc="-29" dirty="0">
                <a:solidFill>
                  <a:srgbClr val="181818"/>
                </a:solidFill>
                <a:uFill>
                  <a:solidFill>
                    <a:srgbClr val="FFFFFF"/>
                  </a:solidFill>
                </a:uFill>
                <a:latin typeface="Ericsson Hilda"/>
              </a:rPr>
              <a:t>Spelaren bör kunna ducka med figuren.</a:t>
            </a:r>
            <a:endParaRPr lang="sv-SE" b="0" strike="noStrike" spc="-1" dirty="0">
              <a:solidFill>
                <a:srgbClr val="000000"/>
              </a:solidFill>
              <a:uFill>
                <a:solidFill>
                  <a:srgbClr val="FFFFFF"/>
                </a:solidFill>
              </a:uFill>
              <a:latin typeface="Arial"/>
            </a:endParaRPr>
          </a:p>
          <a:p>
            <a:pPr marL="649440" lvl="3" indent="-285480">
              <a:lnSpc>
                <a:spcPct val="100000"/>
              </a:lnSpc>
              <a:spcBef>
                <a:spcPts val="799"/>
              </a:spcBef>
              <a:buClr>
                <a:srgbClr val="181818"/>
              </a:buClr>
              <a:buFont typeface="Ericsson Hilda"/>
              <a:buChar char="–"/>
            </a:pPr>
            <a:r>
              <a:rPr lang="sv-SE" b="0" strike="noStrike" spc="-29" dirty="0">
                <a:solidFill>
                  <a:srgbClr val="181818"/>
                </a:solidFill>
                <a:uFill>
                  <a:solidFill>
                    <a:srgbClr val="FFFFFF"/>
                  </a:solidFill>
                </a:uFill>
                <a:latin typeface="Ericsson Hilda"/>
              </a:rPr>
              <a:t>Spelaren bör kunna samla poäng genom olika metoder.</a:t>
            </a:r>
            <a:endParaRPr lang="sv-SE" b="0" strike="noStrike" spc="-1" dirty="0">
              <a:solidFill>
                <a:srgbClr val="000000"/>
              </a:solidFill>
              <a:uFill>
                <a:solidFill>
                  <a:srgbClr val="FFFFFF"/>
                </a:solidFill>
              </a:uFill>
              <a:latin typeface="Arial"/>
            </a:endParaRPr>
          </a:p>
          <a:p>
            <a:pPr marL="649440" lvl="3" indent="-285480">
              <a:lnSpc>
                <a:spcPct val="100000"/>
              </a:lnSpc>
              <a:spcBef>
                <a:spcPts val="799"/>
              </a:spcBef>
              <a:buClr>
                <a:srgbClr val="181818"/>
              </a:buClr>
              <a:buFont typeface="Ericsson Hilda"/>
              <a:buChar char="–"/>
            </a:pPr>
            <a:r>
              <a:rPr lang="sv-SE" b="0" strike="noStrike" spc="-29" dirty="0">
                <a:solidFill>
                  <a:srgbClr val="181818"/>
                </a:solidFill>
                <a:uFill>
                  <a:solidFill>
                    <a:srgbClr val="FFFFFF"/>
                  </a:solidFill>
                </a:uFill>
                <a:latin typeface="Ericsson Hilda"/>
              </a:rPr>
              <a:t>Spelaren bör kunna samla på sig upp till tre hjärtan.</a:t>
            </a:r>
            <a:endParaRPr lang="sv-SE" b="0" strike="noStrike" spc="-1" dirty="0">
              <a:solidFill>
                <a:srgbClr val="000000"/>
              </a:solidFill>
              <a:uFill>
                <a:solidFill>
                  <a:srgbClr val="FFFFFF"/>
                </a:solidFill>
              </a:uFill>
              <a:latin typeface="Arial"/>
            </a:endParaRPr>
          </a:p>
          <a:p>
            <a:pPr marL="649440" lvl="3" indent="-285480">
              <a:lnSpc>
                <a:spcPct val="100000"/>
              </a:lnSpc>
              <a:spcBef>
                <a:spcPts val="799"/>
              </a:spcBef>
              <a:buClr>
                <a:srgbClr val="181818"/>
              </a:buClr>
              <a:buFont typeface="Ericsson Hilda"/>
              <a:buChar char="–"/>
            </a:pPr>
            <a:r>
              <a:rPr lang="sv-SE" b="0" strike="noStrike" spc="-29" dirty="0">
                <a:solidFill>
                  <a:srgbClr val="181818"/>
                </a:solidFill>
                <a:uFill>
                  <a:solidFill>
                    <a:srgbClr val="FFFFFF"/>
                  </a:solidFill>
                </a:uFill>
                <a:latin typeface="Ericsson Hilda"/>
              </a:rPr>
              <a:t>Spelaren bör kunna spela med joy-sticks.</a:t>
            </a:r>
            <a:endParaRPr lang="sv-SE" b="0" strike="noStrike" spc="-1" dirty="0">
              <a:solidFill>
                <a:srgbClr val="000000"/>
              </a:solidFill>
              <a:uFill>
                <a:solidFill>
                  <a:srgbClr val="FFFFFF"/>
                </a:solidFill>
              </a:uFill>
              <a:latin typeface="Arial"/>
            </a:endParaRPr>
          </a:p>
          <a:p>
            <a:pPr marL="649440" lvl="3" indent="-285480">
              <a:lnSpc>
                <a:spcPct val="100000"/>
              </a:lnSpc>
              <a:spcBef>
                <a:spcPts val="799"/>
              </a:spcBef>
              <a:buClr>
                <a:srgbClr val="181818"/>
              </a:buClr>
              <a:buFont typeface="Ericsson Hilda"/>
              <a:buChar char="–"/>
            </a:pPr>
            <a:r>
              <a:rPr lang="sv-SE" b="0" strike="noStrike" spc="-29" dirty="0">
                <a:solidFill>
                  <a:srgbClr val="181818"/>
                </a:solidFill>
                <a:uFill>
                  <a:solidFill>
                    <a:srgbClr val="FFFFFF"/>
                  </a:solidFill>
                </a:uFill>
                <a:latin typeface="Ericsson Hilda"/>
              </a:rPr>
              <a:t>Det bör finnas två stycken 2x8 LCD-skärmar.</a:t>
            </a:r>
            <a:endParaRPr lang="sv-SE" b="0" strike="noStrike" spc="-1" dirty="0">
              <a:solidFill>
                <a:srgbClr val="000000"/>
              </a:solidFill>
              <a:uFill>
                <a:solidFill>
                  <a:srgbClr val="FFFFFF"/>
                </a:solidFill>
              </a:uFill>
              <a:latin typeface="Arial"/>
            </a:endParaRPr>
          </a:p>
          <a:p>
            <a:pPr marL="649440" lvl="3" indent="-285480">
              <a:lnSpc>
                <a:spcPct val="100000"/>
              </a:lnSpc>
              <a:spcBef>
                <a:spcPts val="799"/>
              </a:spcBef>
              <a:buClr>
                <a:srgbClr val="181818"/>
              </a:buClr>
              <a:buFont typeface="Ericsson Hilda"/>
              <a:buChar char="–"/>
            </a:pPr>
            <a:r>
              <a:rPr lang="sv-SE" b="0" strike="noStrike" spc="-29" dirty="0">
                <a:solidFill>
                  <a:srgbClr val="181818"/>
                </a:solidFill>
                <a:uFill>
                  <a:solidFill>
                    <a:srgbClr val="FFFFFF"/>
                  </a:solidFill>
                </a:uFill>
                <a:latin typeface="Ericsson Hilda"/>
              </a:rPr>
              <a:t>Det bör finnas flygande föremål som spelare måste undvika.</a:t>
            </a:r>
            <a:endParaRPr lang="sv-SE" b="0" strike="noStrike" spc="-1" dirty="0">
              <a:solidFill>
                <a:srgbClr val="000000"/>
              </a:solidFill>
              <a:uFill>
                <a:solidFill>
                  <a:srgbClr val="FFFFFF"/>
                </a:solidFill>
              </a:uFill>
              <a:latin typeface="Arial"/>
            </a:endParaRPr>
          </a:p>
          <a:p>
            <a:pPr marL="649440" lvl="3" indent="-285480">
              <a:lnSpc>
                <a:spcPct val="100000"/>
              </a:lnSpc>
              <a:spcBef>
                <a:spcPts val="799"/>
              </a:spcBef>
              <a:buClr>
                <a:srgbClr val="181818"/>
              </a:buClr>
              <a:buFont typeface="Ericsson Hilda"/>
              <a:buChar char="–"/>
            </a:pPr>
            <a:r>
              <a:rPr lang="sv-SE" b="0" strike="noStrike" spc="-29" dirty="0">
                <a:solidFill>
                  <a:srgbClr val="181818"/>
                </a:solidFill>
                <a:uFill>
                  <a:solidFill>
                    <a:srgbClr val="FFFFFF"/>
                  </a:solidFill>
                </a:uFill>
                <a:latin typeface="Ericsson Hilda"/>
              </a:rPr>
              <a:t>Det bör spelas upp ljud när man startar spelet.</a:t>
            </a:r>
            <a:endParaRPr lang="sv-SE" b="0" strike="noStrike" spc="-1" dirty="0">
              <a:solidFill>
                <a:srgbClr val="000000"/>
              </a:solidFill>
              <a:uFill>
                <a:solidFill>
                  <a:srgbClr val="FFFFFF"/>
                </a:solidFill>
              </a:uFill>
              <a:latin typeface="Arial"/>
            </a:endParaRPr>
          </a:p>
          <a:p>
            <a:pPr marL="649440" lvl="3" indent="-285480">
              <a:lnSpc>
                <a:spcPct val="100000"/>
              </a:lnSpc>
              <a:spcBef>
                <a:spcPts val="799"/>
              </a:spcBef>
              <a:buClr>
                <a:srgbClr val="181818"/>
              </a:buClr>
              <a:buFont typeface="Ericsson Hilda"/>
              <a:buChar char="–"/>
            </a:pPr>
            <a:r>
              <a:rPr lang="sv-SE" b="0" strike="noStrike" spc="-29" dirty="0">
                <a:solidFill>
                  <a:srgbClr val="181818"/>
                </a:solidFill>
                <a:uFill>
                  <a:solidFill>
                    <a:srgbClr val="FFFFFF"/>
                  </a:solidFill>
                </a:uFill>
                <a:latin typeface="Ericsson Hilda"/>
              </a:rPr>
              <a:t>Det bör spelas upp ett ljud när man förlorar.</a:t>
            </a:r>
            <a:endParaRPr lang="sv-SE" b="0" strike="noStrike" spc="-1" dirty="0">
              <a:solidFill>
                <a:srgbClr val="000000"/>
              </a:solidFill>
              <a:uFill>
                <a:solidFill>
                  <a:srgbClr val="FFFFFF"/>
                </a:solidFill>
              </a:uFill>
              <a:latin typeface="Arial"/>
            </a:endParaRPr>
          </a:p>
          <a:p>
            <a:pPr marL="649440" lvl="3" indent="-285480">
              <a:lnSpc>
                <a:spcPct val="100000"/>
              </a:lnSpc>
              <a:spcBef>
                <a:spcPts val="799"/>
              </a:spcBef>
              <a:buClr>
                <a:srgbClr val="181818"/>
              </a:buClr>
              <a:buFont typeface="Ericsson Hilda"/>
              <a:buChar char="–"/>
            </a:pPr>
            <a:r>
              <a:rPr lang="sv-SE" b="0" strike="noStrike" spc="-29" dirty="0">
                <a:solidFill>
                  <a:srgbClr val="181818"/>
                </a:solidFill>
                <a:uFill>
                  <a:solidFill>
                    <a:srgbClr val="FFFFFF"/>
                  </a:solidFill>
                </a:uFill>
                <a:latin typeface="Ericsson Hilda"/>
              </a:rPr>
              <a:t>Det bör spelas upp ett ljud när man samlar på sig poäng</a:t>
            </a:r>
            <a:endParaRPr lang="sv-SE" b="0" strike="noStrike" spc="-1" dirty="0">
              <a:solidFill>
                <a:srgbClr val="000000"/>
              </a:solidFill>
              <a:uFill>
                <a:solidFill>
                  <a:srgbClr val="FFFFFF"/>
                </a:solidFill>
              </a:uFill>
              <a:latin typeface="Arial"/>
            </a:endParaRPr>
          </a:p>
          <a:p>
            <a:pPr marL="649440" lvl="3" indent="-285480">
              <a:lnSpc>
                <a:spcPct val="100000"/>
              </a:lnSpc>
              <a:spcBef>
                <a:spcPts val="799"/>
              </a:spcBef>
              <a:buClr>
                <a:srgbClr val="181818"/>
              </a:buClr>
              <a:buFont typeface="Ericsson Hilda"/>
              <a:buChar char="–"/>
            </a:pPr>
            <a:r>
              <a:rPr lang="sv-SE" b="0" strike="noStrike" spc="-29" dirty="0">
                <a:solidFill>
                  <a:srgbClr val="181818"/>
                </a:solidFill>
                <a:uFill>
                  <a:solidFill>
                    <a:srgbClr val="FFFFFF"/>
                  </a:solidFill>
                </a:uFill>
                <a:latin typeface="Ericsson Hilda"/>
              </a:rPr>
              <a:t>Det bör spelas upp ett ljud när man samlar på sig ett hjärta.</a:t>
            </a:r>
            <a:endParaRPr lang="sv-SE" b="0" strike="noStrike" spc="-1" dirty="0">
              <a:solidFill>
                <a:srgbClr val="000000"/>
              </a:solidFill>
              <a:uFill>
                <a:solidFill>
                  <a:srgbClr val="FFFFFF"/>
                </a:solidFill>
              </a:uFill>
              <a:latin typeface="Arial"/>
            </a:endParaRPr>
          </a:p>
          <a:p>
            <a:pPr marL="649440" lvl="3" indent="-285480">
              <a:lnSpc>
                <a:spcPct val="100000"/>
              </a:lnSpc>
              <a:spcBef>
                <a:spcPts val="799"/>
              </a:spcBef>
              <a:buClr>
                <a:srgbClr val="181818"/>
              </a:buClr>
              <a:buFont typeface="Ericsson Hilda"/>
              <a:buChar char="–"/>
            </a:pPr>
            <a:r>
              <a:rPr lang="sv-SE" b="0" strike="noStrike" spc="-29" dirty="0">
                <a:solidFill>
                  <a:srgbClr val="181818"/>
                </a:solidFill>
                <a:uFill>
                  <a:solidFill>
                    <a:srgbClr val="FFFFFF"/>
                  </a:solidFill>
                </a:uFill>
                <a:latin typeface="Ericsson Hilda"/>
              </a:rPr>
              <a:t>Det bör spelas upp ett ljud när förlorar ett hjärta.</a:t>
            </a:r>
            <a:endParaRPr lang="sv-SE" b="0" strike="noStrike" spc="-1" dirty="0">
              <a:solidFill>
                <a:srgbClr val="000000"/>
              </a:solidFill>
              <a:uFill>
                <a:solidFill>
                  <a:srgbClr val="FFFFFF"/>
                </a:solidFill>
              </a:uFill>
              <a:latin typeface="Arial"/>
            </a:endParaRPr>
          </a:p>
          <a:p>
            <a:pPr marL="649440" lvl="3" indent="-285480">
              <a:lnSpc>
                <a:spcPct val="100000"/>
              </a:lnSpc>
              <a:spcBef>
                <a:spcPts val="799"/>
              </a:spcBef>
              <a:buClr>
                <a:srgbClr val="181818"/>
              </a:buClr>
              <a:buFont typeface="Ericsson Hilda"/>
              <a:buChar char="–"/>
            </a:pPr>
            <a:r>
              <a:rPr lang="sv-SE" b="0" strike="noStrike" spc="-29" dirty="0">
                <a:solidFill>
                  <a:srgbClr val="181818"/>
                </a:solidFill>
                <a:uFill>
                  <a:solidFill>
                    <a:srgbClr val="FFFFFF"/>
                  </a:solidFill>
                </a:uFill>
                <a:latin typeface="Ericsson Hilda"/>
              </a:rPr>
              <a:t>Det bör gå att starta om spelet från “förlora-bilden” utan att starta om kortet.</a:t>
            </a:r>
            <a:endParaRPr lang="sv-SE" b="0" strike="noStrike" spc="-1" dirty="0">
              <a:solidFill>
                <a:srgbClr val="000000"/>
              </a:solidFill>
              <a:uFill>
                <a:solidFill>
                  <a:srgbClr val="FFFFFF"/>
                </a:solidFill>
              </a:uFill>
              <a:latin typeface="Arial"/>
            </a:endParaRPr>
          </a:p>
          <a:p>
            <a:pPr marL="649440" lvl="3" indent="-285480">
              <a:lnSpc>
                <a:spcPct val="100000"/>
              </a:lnSpc>
              <a:spcBef>
                <a:spcPts val="799"/>
              </a:spcBef>
              <a:buClr>
                <a:srgbClr val="181818"/>
              </a:buClr>
              <a:buFont typeface="Ericsson Hilda"/>
              <a:buChar char="–"/>
            </a:pPr>
            <a:r>
              <a:rPr lang="sv-SE" b="0" strike="noStrike" spc="-29" dirty="0">
                <a:solidFill>
                  <a:srgbClr val="181818"/>
                </a:solidFill>
                <a:uFill>
                  <a:solidFill>
                    <a:srgbClr val="FFFFFF"/>
                  </a:solidFill>
                </a:uFill>
                <a:latin typeface="Ericsson Hilda"/>
              </a:rPr>
              <a:t>Spelets hastighet bör öka för en ökad svårighetgrad.</a:t>
            </a:r>
            <a:endParaRPr lang="sv-SE" b="0" strike="noStrike" spc="-1" dirty="0">
              <a:solidFill>
                <a:srgbClr val="000000"/>
              </a:solidFill>
              <a:uFill>
                <a:solidFill>
                  <a:srgbClr val="FFFFFF"/>
                </a:solidFill>
              </a:uFill>
              <a:latin typeface="Arial"/>
            </a:endParaRPr>
          </a:p>
        </p:txBody>
      </p:sp>
    </p:spTree>
    <p:extLst>
      <p:ext uri="{BB962C8B-B14F-4D97-AF65-F5344CB8AC3E}">
        <p14:creationId xmlns:p14="http://schemas.microsoft.com/office/powerpoint/2010/main" val="835017689"/>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0" name="TextShape 1"/>
          <p:cNvSpPr txBox="1"/>
          <p:nvPr/>
        </p:nvSpPr>
        <p:spPr>
          <a:xfrm>
            <a:off x="479520" y="476280"/>
            <a:ext cx="8353080" cy="3457080"/>
          </a:xfrm>
          <a:prstGeom prst="rect">
            <a:avLst/>
          </a:prstGeom>
          <a:noFill/>
          <a:ln w="9360">
            <a:noFill/>
          </a:ln>
        </p:spPr>
        <p:txBody>
          <a:bodyPr lIns="72000" tIns="36000" rIns="73080" bIns="36720"/>
          <a:lstStyle/>
          <a:p>
            <a:pPr>
              <a:lnSpc>
                <a:spcPct val="100000"/>
              </a:lnSpc>
              <a:spcBef>
                <a:spcPts val="300"/>
              </a:spcBef>
            </a:pPr>
            <a:r>
              <a:rPr lang="en-US" sz="6000" b="0" strike="noStrike" spc="-157" err="1">
                <a:solidFill>
                  <a:srgbClr val="FFFFFF"/>
                </a:solidFill>
                <a:uFill>
                  <a:solidFill>
                    <a:srgbClr val="FFFFFF"/>
                  </a:solidFill>
                </a:uFill>
                <a:latin typeface="Ericsson Hilda Light"/>
              </a:rPr>
              <a:t>Utveckling</a:t>
            </a:r>
            <a:endParaRPr lang="en-US" sz="6000" b="0" strike="noStrike" spc="-1">
              <a:solidFill>
                <a:srgbClr val="181818"/>
              </a:solidFill>
              <a:uFill>
                <a:solidFill>
                  <a:srgbClr val="FFFFFF"/>
                </a:solidFill>
              </a:uFill>
              <a:latin typeface="Ericsson Hilda"/>
            </a:endParaRPr>
          </a:p>
        </p:txBody>
      </p:sp>
      <p:sp>
        <p:nvSpPr>
          <p:cNvPr id="1701" name="TextShape 2"/>
          <p:cNvSpPr txBox="1"/>
          <p:nvPr/>
        </p:nvSpPr>
        <p:spPr>
          <a:xfrm>
            <a:off x="479520" y="4149720"/>
            <a:ext cx="5471640" cy="2087280"/>
          </a:xfrm>
          <a:prstGeom prst="rect">
            <a:avLst/>
          </a:prstGeom>
          <a:noFill/>
          <a:ln w="9360">
            <a:noFill/>
          </a:ln>
        </p:spPr>
        <p:txBody>
          <a:bodyPr lIns="72000" tIns="36000" rIns="0" bIns="36000" anchor="ctr"/>
          <a:lstStyle/>
          <a:p>
            <a:pPr algn="ctr"/>
            <a:endParaRPr lang="sv-SE" sz="3200" b="0" strike="noStrike" spc="-1">
              <a:solidFill>
                <a:srgbClr val="000000"/>
              </a:solidFill>
              <a:uFill>
                <a:solidFill>
                  <a:srgbClr val="FFFFFF"/>
                </a:solidFill>
              </a:uFill>
              <a:latin typeface="Arial"/>
            </a:endParaRPr>
          </a:p>
        </p:txBody>
      </p:sp>
      <p:sp>
        <p:nvSpPr>
          <p:cNvPr id="4" name="Rectangle 3">
            <a:extLst>
              <a:ext uri="{FF2B5EF4-FFF2-40B4-BE49-F238E27FC236}">
                <a16:creationId xmlns:a16="http://schemas.microsoft.com/office/drawing/2014/main" id="{57A5AB6F-234B-49EA-A969-45898D887BE7}"/>
              </a:ext>
            </a:extLst>
          </p:cNvPr>
          <p:cNvSpPr/>
          <p:nvPr/>
        </p:nvSpPr>
        <p:spPr>
          <a:xfrm>
            <a:off x="11277600" y="309217"/>
            <a:ext cx="649357" cy="6493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9" name="CustomShape 196"/>
          <p:cNvSpPr/>
          <p:nvPr/>
        </p:nvSpPr>
        <p:spPr>
          <a:xfrm>
            <a:off x="495720" y="328680"/>
            <a:ext cx="3186720" cy="534240"/>
          </a:xfrm>
          <a:prstGeom prst="rect">
            <a:avLst/>
          </a:prstGeom>
          <a:noFill/>
          <a:ln w="12600">
            <a:noFill/>
          </a:ln>
        </p:spPr>
        <p:style>
          <a:lnRef idx="0">
            <a:scrgbClr r="0" g="0" b="0"/>
          </a:lnRef>
          <a:fillRef idx="0">
            <a:scrgbClr r="0" g="0" b="0"/>
          </a:fillRef>
          <a:effectRef idx="0">
            <a:scrgbClr r="0" g="0" b="0"/>
          </a:effectRef>
          <a:fontRef idx="minor"/>
        </p:style>
        <p:txBody>
          <a:bodyPr lIns="72000" tIns="36000" rIns="73080" bIns="36720"/>
          <a:lstStyle/>
          <a:p>
            <a:pPr>
              <a:lnSpc>
                <a:spcPct val="100000"/>
              </a:lnSpc>
            </a:pPr>
            <a:r>
              <a:rPr lang="sv-SE" sz="4000" b="0" strike="noStrike" spc="-1" dirty="0">
                <a:solidFill>
                  <a:srgbClr val="181818"/>
                </a:solidFill>
                <a:uFill>
                  <a:solidFill>
                    <a:srgbClr val="FFFFFF"/>
                  </a:solidFill>
                </a:uFill>
                <a:latin typeface="Ericsson Hilda"/>
              </a:rPr>
              <a:t>Utveckling</a:t>
            </a:r>
            <a:endParaRPr lang="sv-SE" sz="4000" b="0" strike="noStrike" spc="-1" dirty="0">
              <a:solidFill>
                <a:srgbClr val="000000"/>
              </a:solidFill>
              <a:uFill>
                <a:solidFill>
                  <a:srgbClr val="FFFFFF"/>
                </a:solidFill>
              </a:uFill>
              <a:latin typeface="Arial"/>
            </a:endParaRPr>
          </a:p>
        </p:txBody>
      </p:sp>
      <p:sp>
        <p:nvSpPr>
          <p:cNvPr id="2" name="TextBox 1">
            <a:extLst>
              <a:ext uri="{FF2B5EF4-FFF2-40B4-BE49-F238E27FC236}">
                <a16:creationId xmlns:a16="http://schemas.microsoft.com/office/drawing/2014/main" id="{CD937EA4-3F52-4E64-992E-36C9D2E6779F}"/>
              </a:ext>
            </a:extLst>
          </p:cNvPr>
          <p:cNvSpPr txBox="1"/>
          <p:nvPr/>
        </p:nvSpPr>
        <p:spPr>
          <a:xfrm>
            <a:off x="495720" y="1674360"/>
            <a:ext cx="4557600" cy="2554545"/>
          </a:xfrm>
          <a:prstGeom prst="rect">
            <a:avLst/>
          </a:prstGeom>
          <a:noFill/>
        </p:spPr>
        <p:txBody>
          <a:bodyPr wrap="square" rtlCol="0">
            <a:spAutoFit/>
          </a:bodyPr>
          <a:lstStyle/>
          <a:p>
            <a:pPr marL="635">
              <a:lnSpc>
                <a:spcPct val="100000"/>
              </a:lnSpc>
              <a:buClr>
                <a:srgbClr val="181818"/>
              </a:buClr>
            </a:pPr>
            <a:r>
              <a:rPr lang="sv-SE" sz="2000" spc="-1">
                <a:solidFill>
                  <a:srgbClr val="181818"/>
                </a:solidFill>
                <a:uFill>
                  <a:solidFill>
                    <a:srgbClr val="FFFFFF"/>
                  </a:solidFill>
                </a:uFill>
                <a:latin typeface="Ericsson Hilda" panose="00000500000000000000" pitchFamily="2" charset="0"/>
              </a:rPr>
              <a:t>Struktur</a:t>
            </a:r>
          </a:p>
          <a:p>
            <a:pPr marL="344170" indent="-343535">
              <a:lnSpc>
                <a:spcPct val="100000"/>
              </a:lnSpc>
              <a:buClr>
                <a:srgbClr val="181818"/>
              </a:buClr>
              <a:buFont typeface="Ericsson Hilda Light"/>
              <a:buChar char="—"/>
            </a:pPr>
            <a:r>
              <a:rPr lang="sv-SE" sz="2000" spc="-1">
                <a:solidFill>
                  <a:srgbClr val="181818"/>
                </a:solidFill>
                <a:uFill>
                  <a:solidFill>
                    <a:srgbClr val="FFFFFF"/>
                  </a:solidFill>
                </a:uFill>
                <a:latin typeface="Ericsson Hilda" panose="00000500000000000000" pitchFamily="2" charset="0"/>
              </a:rPr>
              <a:t>Programmeringspass 3x/vecka</a:t>
            </a:r>
          </a:p>
          <a:p>
            <a:pPr marL="344170" indent="-343535">
              <a:lnSpc>
                <a:spcPct val="100000"/>
              </a:lnSpc>
              <a:buClr>
                <a:srgbClr val="181818"/>
              </a:buClr>
              <a:buFont typeface="Ericsson Hilda Light"/>
              <a:buChar char="—"/>
            </a:pPr>
            <a:r>
              <a:rPr lang="sv-SE" sz="2000" spc="-1">
                <a:solidFill>
                  <a:srgbClr val="181818"/>
                </a:solidFill>
                <a:uFill>
                  <a:solidFill>
                    <a:srgbClr val="FFFFFF"/>
                  </a:solidFill>
                </a:uFill>
                <a:latin typeface="Ericsson Hilda" panose="00000500000000000000" pitchFamily="2" charset="0"/>
              </a:rPr>
              <a:t>Uppföljningsmöten 1x/vecka</a:t>
            </a:r>
          </a:p>
          <a:p>
            <a:pPr marL="344170" indent="-343535">
              <a:lnSpc>
                <a:spcPct val="100000"/>
              </a:lnSpc>
              <a:buClr>
                <a:srgbClr val="181818"/>
              </a:buClr>
              <a:buFont typeface="Ericsson Hilda Light"/>
              <a:buChar char="—"/>
            </a:pPr>
            <a:endParaRPr lang="sv-SE" sz="2000" spc="-1">
              <a:solidFill>
                <a:srgbClr val="181818"/>
              </a:solidFill>
              <a:uFill>
                <a:solidFill>
                  <a:srgbClr val="FFFFFF"/>
                </a:solidFill>
              </a:uFill>
              <a:latin typeface="Ericsson Hilda" panose="00000500000000000000" pitchFamily="2" charset="0"/>
            </a:endParaRPr>
          </a:p>
          <a:p>
            <a:pPr marL="635">
              <a:lnSpc>
                <a:spcPct val="100000"/>
              </a:lnSpc>
              <a:buClr>
                <a:srgbClr val="181818"/>
              </a:buClr>
            </a:pPr>
            <a:r>
              <a:rPr lang="sv-SE" sz="2000" spc="-1">
                <a:solidFill>
                  <a:srgbClr val="181818"/>
                </a:solidFill>
                <a:uFill>
                  <a:solidFill>
                    <a:srgbClr val="FFFFFF"/>
                  </a:solidFill>
                </a:uFill>
                <a:latin typeface="Ericsson Hilda" panose="00000500000000000000" pitchFamily="2" charset="0"/>
              </a:rPr>
              <a:t>Verktyg</a:t>
            </a:r>
          </a:p>
          <a:p>
            <a:pPr marL="344170" indent="-343535">
              <a:lnSpc>
                <a:spcPct val="100000"/>
              </a:lnSpc>
              <a:buClr>
                <a:srgbClr val="181818"/>
              </a:buClr>
              <a:buFont typeface="Ericsson Hilda Light"/>
              <a:buChar char="—"/>
            </a:pPr>
            <a:r>
              <a:rPr lang="sv-SE" sz="2000" spc="-1">
                <a:solidFill>
                  <a:srgbClr val="181818"/>
                </a:solidFill>
                <a:uFill>
                  <a:solidFill>
                    <a:srgbClr val="FFFFFF"/>
                  </a:solidFill>
                </a:uFill>
                <a:latin typeface="Ericsson Hilda" panose="00000500000000000000" pitchFamily="2" charset="0"/>
              </a:rPr>
              <a:t>Microsoft Planner (Kanban)</a:t>
            </a:r>
          </a:p>
          <a:p>
            <a:pPr marL="344170" indent="-343535">
              <a:lnSpc>
                <a:spcPct val="100000"/>
              </a:lnSpc>
              <a:buClr>
                <a:srgbClr val="181818"/>
              </a:buClr>
              <a:buFont typeface="Ericsson Hilda Light"/>
              <a:buChar char="—"/>
            </a:pPr>
            <a:r>
              <a:rPr lang="sv-SE" sz="2000" spc="-1">
                <a:solidFill>
                  <a:srgbClr val="181818"/>
                </a:solidFill>
                <a:uFill>
                  <a:solidFill>
                    <a:srgbClr val="FFFFFF"/>
                  </a:solidFill>
                </a:uFill>
                <a:latin typeface="Ericsson Hilda" panose="00000500000000000000" pitchFamily="2" charset="0"/>
              </a:rPr>
              <a:t>Gitlab</a:t>
            </a:r>
          </a:p>
          <a:p>
            <a:pPr marL="344170" indent="-343535">
              <a:lnSpc>
                <a:spcPct val="100000"/>
              </a:lnSpc>
              <a:buClr>
                <a:srgbClr val="181818"/>
              </a:buClr>
              <a:buFont typeface="Ericsson Hilda Light"/>
              <a:buChar char="—"/>
            </a:pPr>
            <a:r>
              <a:rPr lang="sv-SE" sz="2000" spc="-1">
                <a:solidFill>
                  <a:srgbClr val="181818"/>
                </a:solidFill>
                <a:uFill>
                  <a:solidFill>
                    <a:srgbClr val="FFFFFF"/>
                  </a:solidFill>
                </a:uFill>
                <a:latin typeface="Ericsson Hilda" panose="00000500000000000000" pitchFamily="2" charset="0"/>
              </a:rPr>
              <a:t>Microchip studios</a:t>
            </a:r>
          </a:p>
        </p:txBody>
      </p:sp>
      <p:pic>
        <p:nvPicPr>
          <p:cNvPr id="5" name="Picture 4">
            <a:extLst>
              <a:ext uri="{FF2B5EF4-FFF2-40B4-BE49-F238E27FC236}">
                <a16:creationId xmlns:a16="http://schemas.microsoft.com/office/drawing/2014/main" id="{F3945828-700E-48C9-9C63-831D03A7A538}"/>
              </a:ext>
            </a:extLst>
          </p:cNvPr>
          <p:cNvPicPr>
            <a:picLocks noChangeAspect="1"/>
          </p:cNvPicPr>
          <p:nvPr/>
        </p:nvPicPr>
        <p:blipFill>
          <a:blip r:embed="rId3"/>
          <a:stretch>
            <a:fillRect/>
          </a:stretch>
        </p:blipFill>
        <p:spPr>
          <a:xfrm>
            <a:off x="7088811" y="4152900"/>
            <a:ext cx="4704655" cy="2065020"/>
          </a:xfrm>
          <a:prstGeom prst="rect">
            <a:avLst/>
          </a:prstGeom>
          <a:ln w="12700">
            <a:solidFill>
              <a:schemeClr val="tx1"/>
            </a:solidFill>
          </a:ln>
        </p:spPr>
      </p:pic>
      <p:pic>
        <p:nvPicPr>
          <p:cNvPr id="7" name="Picture 6">
            <a:extLst>
              <a:ext uri="{FF2B5EF4-FFF2-40B4-BE49-F238E27FC236}">
                <a16:creationId xmlns:a16="http://schemas.microsoft.com/office/drawing/2014/main" id="{E5A6FE3B-5600-475E-A2FC-8902290AAD20}"/>
              </a:ext>
            </a:extLst>
          </p:cNvPr>
          <p:cNvPicPr>
            <a:picLocks noChangeAspect="1"/>
          </p:cNvPicPr>
          <p:nvPr/>
        </p:nvPicPr>
        <p:blipFill>
          <a:blip r:embed="rId4"/>
          <a:stretch>
            <a:fillRect/>
          </a:stretch>
        </p:blipFill>
        <p:spPr>
          <a:xfrm>
            <a:off x="7088812" y="1003433"/>
            <a:ext cx="4700720" cy="2962154"/>
          </a:xfrm>
          <a:prstGeom prst="rect">
            <a:avLst/>
          </a:prstGeom>
          <a:ln w="12700">
            <a:solidFill>
              <a:schemeClr val="tx1"/>
            </a:solidFill>
          </a:ln>
        </p:spPr>
      </p:pic>
      <p:sp>
        <p:nvSpPr>
          <p:cNvPr id="25" name="Rectangle 24">
            <a:extLst>
              <a:ext uri="{FF2B5EF4-FFF2-40B4-BE49-F238E27FC236}">
                <a16:creationId xmlns:a16="http://schemas.microsoft.com/office/drawing/2014/main" id="{80F12BE2-3BFF-4DCC-819A-3986BB9474BE}"/>
              </a:ext>
            </a:extLst>
          </p:cNvPr>
          <p:cNvSpPr/>
          <p:nvPr/>
        </p:nvSpPr>
        <p:spPr>
          <a:xfrm>
            <a:off x="11277600" y="309217"/>
            <a:ext cx="649357" cy="506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53059774"/>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3" name="CustomShape 2"/>
          <p:cNvSpPr/>
          <p:nvPr/>
        </p:nvSpPr>
        <p:spPr>
          <a:xfrm>
            <a:off x="4950720" y="784440"/>
            <a:ext cx="1827720" cy="892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DAvid </a:t>
            </a:r>
            <a:endParaRPr lang="sv-SE" sz="18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Hårdvarumiljö för spelutveckling I TSIU51.</a:t>
            </a:r>
            <a:endParaRPr lang="sv-SE" sz="1100" b="0" strike="noStrike" spc="-1" dirty="0">
              <a:solidFill>
                <a:srgbClr val="000000"/>
              </a:solidFill>
              <a:uFill>
                <a:solidFill>
                  <a:srgbClr val="FFFFFF"/>
                </a:solidFill>
              </a:uFill>
              <a:latin typeface="Arial"/>
            </a:endParaRPr>
          </a:p>
        </p:txBody>
      </p:sp>
      <p:sp>
        <p:nvSpPr>
          <p:cNvPr id="1704" name="CustomShape 3"/>
          <p:cNvSpPr/>
          <p:nvPr/>
        </p:nvSpPr>
        <p:spPr>
          <a:xfrm>
            <a:off x="419400" y="2211840"/>
            <a:ext cx="1827720" cy="878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DAmatrix</a:t>
            </a:r>
            <a:endParaRPr lang="sv-SE" sz="18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skärm.</a:t>
            </a:r>
            <a:endParaRPr lang="sv-SE" sz="1100" b="0" strike="noStrike" spc="-1" dirty="0">
              <a:solidFill>
                <a:srgbClr val="000000"/>
              </a:solidFill>
              <a:uFill>
                <a:solidFill>
                  <a:srgbClr val="FFFFFF"/>
                </a:solidFill>
              </a:uFill>
              <a:latin typeface="Arial"/>
            </a:endParaRPr>
          </a:p>
        </p:txBody>
      </p:sp>
      <p:sp>
        <p:nvSpPr>
          <p:cNvPr id="1705" name="CustomShape 4"/>
          <p:cNvSpPr/>
          <p:nvPr/>
        </p:nvSpPr>
        <p:spPr>
          <a:xfrm>
            <a:off x="7216200" y="2198520"/>
            <a:ext cx="1827720" cy="892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Knappar</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Möjligöra diverse rörelser för spelaren.</a:t>
            </a:r>
            <a:endParaRPr lang="sv-SE" sz="1100" b="0" strike="noStrike" spc="-1">
              <a:solidFill>
                <a:srgbClr val="000000"/>
              </a:solidFill>
              <a:uFill>
                <a:solidFill>
                  <a:srgbClr val="FFFFFF"/>
                </a:solidFill>
              </a:uFill>
              <a:latin typeface="Arial"/>
            </a:endParaRPr>
          </a:p>
        </p:txBody>
      </p:sp>
      <p:sp>
        <p:nvSpPr>
          <p:cNvPr id="1706" name="CustomShape 5"/>
          <p:cNvSpPr/>
          <p:nvPr/>
        </p:nvSpPr>
        <p:spPr>
          <a:xfrm>
            <a:off x="2685240" y="2211840"/>
            <a:ext cx="1827720" cy="878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Högtalare</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 </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Spela upp ljud vid start och slut.</a:t>
            </a:r>
            <a:endParaRPr lang="sv-SE" sz="1100" b="0" strike="noStrike" spc="-1">
              <a:solidFill>
                <a:srgbClr val="000000"/>
              </a:solidFill>
              <a:uFill>
                <a:solidFill>
                  <a:srgbClr val="FFFFFF"/>
                </a:solidFill>
              </a:uFill>
              <a:latin typeface="Arial"/>
            </a:endParaRPr>
          </a:p>
        </p:txBody>
      </p:sp>
      <p:sp>
        <p:nvSpPr>
          <p:cNvPr id="1707" name="CustomShape 6"/>
          <p:cNvSpPr/>
          <p:nvPr/>
        </p:nvSpPr>
        <p:spPr>
          <a:xfrm>
            <a:off x="4950720" y="2198520"/>
            <a:ext cx="1827720" cy="892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Sjusegment</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Visa poäng spelaren har.</a:t>
            </a:r>
            <a:endParaRPr lang="sv-SE" sz="1100" b="0" strike="noStrike" spc="-1">
              <a:solidFill>
                <a:srgbClr val="000000"/>
              </a:solidFill>
              <a:uFill>
                <a:solidFill>
                  <a:srgbClr val="FFFFFF"/>
                </a:solidFill>
              </a:uFill>
              <a:latin typeface="Arial"/>
            </a:endParaRPr>
          </a:p>
        </p:txBody>
      </p:sp>
      <p:sp>
        <p:nvSpPr>
          <p:cNvPr id="1708" name="CustomShape 7"/>
          <p:cNvSpPr/>
          <p:nvPr/>
        </p:nvSpPr>
        <p:spPr>
          <a:xfrm>
            <a:off x="9482040" y="2211840"/>
            <a:ext cx="1790640" cy="892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LCD Display</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 </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Välja när spelet startar/slutar</a:t>
            </a:r>
            <a:endParaRPr lang="sv-SE" sz="1100" b="0" strike="noStrike" spc="-1">
              <a:solidFill>
                <a:srgbClr val="000000"/>
              </a:solidFill>
              <a:uFill>
                <a:solidFill>
                  <a:srgbClr val="FFFFFF"/>
                </a:solidFill>
              </a:uFill>
              <a:latin typeface="Arial"/>
            </a:endParaRPr>
          </a:p>
        </p:txBody>
      </p:sp>
      <p:sp>
        <p:nvSpPr>
          <p:cNvPr id="1709" name="CustomShape 8"/>
          <p:cNvSpPr/>
          <p:nvPr/>
        </p:nvSpPr>
        <p:spPr>
          <a:xfrm>
            <a:off x="9482040" y="5618160"/>
            <a:ext cx="1873440" cy="8920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SPI</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Kommunikationsprotokoll.</a:t>
            </a:r>
            <a:endParaRPr lang="sv-SE" sz="1100" b="0" strike="noStrike" spc="-1">
              <a:solidFill>
                <a:srgbClr val="000000"/>
              </a:solidFill>
              <a:uFill>
                <a:solidFill>
                  <a:srgbClr val="FFFFFF"/>
                </a:solidFill>
              </a:uFill>
              <a:latin typeface="Arial"/>
            </a:endParaRPr>
          </a:p>
        </p:txBody>
      </p:sp>
      <p:sp>
        <p:nvSpPr>
          <p:cNvPr id="1710" name="CustomShape 9"/>
          <p:cNvSpPr/>
          <p:nvPr/>
        </p:nvSpPr>
        <p:spPr>
          <a:xfrm>
            <a:off x="9440280" y="4513320"/>
            <a:ext cx="1873440" cy="8920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TWI</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Kommunikationsprotokoll.</a:t>
            </a:r>
            <a:endParaRPr lang="sv-SE" sz="1100" b="0" strike="noStrike" spc="-1">
              <a:solidFill>
                <a:srgbClr val="000000"/>
              </a:solidFill>
              <a:uFill>
                <a:solidFill>
                  <a:srgbClr val="FFFFFF"/>
                </a:solidFill>
              </a:uFill>
              <a:latin typeface="Arial"/>
            </a:endParaRPr>
          </a:p>
        </p:txBody>
      </p:sp>
      <p:sp>
        <p:nvSpPr>
          <p:cNvPr id="1711" name="CustomShape 10"/>
          <p:cNvSpPr/>
          <p:nvPr/>
        </p:nvSpPr>
        <p:spPr>
          <a:xfrm rot="16200000" flipH="1">
            <a:off x="3920040" y="503640"/>
            <a:ext cx="2973240" cy="8147880"/>
          </a:xfrm>
          <a:prstGeom prst="bentConnector2">
            <a:avLst/>
          </a:prstGeom>
          <a:solidFill>
            <a:schemeClr val="accent1"/>
          </a:solidFill>
          <a:ln w="38160">
            <a:solidFill>
              <a:schemeClr val="accent4"/>
            </a:solidFill>
            <a:round/>
            <a:tailEnd type="triangle" w="med" len="med"/>
          </a:ln>
        </p:spPr>
        <p:style>
          <a:lnRef idx="0">
            <a:scrgbClr r="0" g="0" b="0"/>
          </a:lnRef>
          <a:fillRef idx="0">
            <a:scrgbClr r="0" g="0" b="0"/>
          </a:fillRef>
          <a:effectRef idx="0">
            <a:scrgbClr r="0" g="0" b="0"/>
          </a:effectRef>
          <a:fontRef idx="minor"/>
        </p:style>
      </p:sp>
      <p:sp>
        <p:nvSpPr>
          <p:cNvPr id="1712" name="CustomShape 11"/>
          <p:cNvSpPr/>
          <p:nvPr/>
        </p:nvSpPr>
        <p:spPr>
          <a:xfrm flipH="1" flipV="1">
            <a:off x="6778080" y="1229760"/>
            <a:ext cx="4576680" cy="4833720"/>
          </a:xfrm>
          <a:prstGeom prst="bentConnector3">
            <a:avLst>
              <a:gd name="adj1" fmla="val -11738"/>
            </a:avLst>
          </a:prstGeom>
          <a:solidFill>
            <a:schemeClr val="accent1"/>
          </a:solidFill>
          <a:ln w="38160">
            <a:solidFill>
              <a:schemeClr val="accent4"/>
            </a:solidFill>
            <a:round/>
            <a:tailEnd type="triangle" w="med" len="med"/>
          </a:ln>
        </p:spPr>
        <p:style>
          <a:lnRef idx="0">
            <a:scrgbClr r="0" g="0" b="0"/>
          </a:lnRef>
          <a:fillRef idx="0">
            <a:scrgbClr r="0" g="0" b="0"/>
          </a:fillRef>
          <a:effectRef idx="0">
            <a:scrgbClr r="0" g="0" b="0"/>
          </a:effectRef>
          <a:fontRef idx="minor"/>
        </p:style>
      </p:sp>
      <p:sp>
        <p:nvSpPr>
          <p:cNvPr id="1713" name="CustomShape 12"/>
          <p:cNvSpPr/>
          <p:nvPr/>
        </p:nvSpPr>
        <p:spPr>
          <a:xfrm rot="16200000" flipH="1">
            <a:off x="6717240" y="2237760"/>
            <a:ext cx="1868400" cy="3575160"/>
          </a:xfrm>
          <a:prstGeom prst="bentConnector2">
            <a:avLst/>
          </a:prstGeom>
          <a:solidFill>
            <a:schemeClr val="accent1"/>
          </a:solidFill>
          <a:ln w="38160">
            <a:solidFill>
              <a:schemeClr val="accent5"/>
            </a:solidFill>
            <a:round/>
            <a:tailEnd type="triangle" w="med" len="med"/>
          </a:ln>
        </p:spPr>
        <p:style>
          <a:lnRef idx="0">
            <a:scrgbClr r="0" g="0" b="0"/>
          </a:lnRef>
          <a:fillRef idx="0">
            <a:scrgbClr r="0" g="0" b="0"/>
          </a:fillRef>
          <a:effectRef idx="0">
            <a:scrgbClr r="0" g="0" b="0"/>
          </a:effectRef>
          <a:fontRef idx="minor"/>
        </p:style>
      </p:sp>
      <p:sp>
        <p:nvSpPr>
          <p:cNvPr id="1714" name="CustomShape 13"/>
          <p:cNvSpPr/>
          <p:nvPr/>
        </p:nvSpPr>
        <p:spPr>
          <a:xfrm rot="16200000" flipH="1">
            <a:off x="7851240" y="3370680"/>
            <a:ext cx="1868400" cy="1309680"/>
          </a:xfrm>
          <a:prstGeom prst="bentConnector2">
            <a:avLst/>
          </a:prstGeom>
          <a:solidFill>
            <a:schemeClr val="accent1"/>
          </a:solidFill>
          <a:ln w="38160">
            <a:solidFill>
              <a:schemeClr val="accent5"/>
            </a:solidFill>
            <a:round/>
            <a:tailEnd type="triangle" w="med" len="med"/>
          </a:ln>
        </p:spPr>
        <p:style>
          <a:lnRef idx="0">
            <a:scrgbClr r="0" g="0" b="0"/>
          </a:lnRef>
          <a:fillRef idx="0">
            <a:scrgbClr r="0" g="0" b="0"/>
          </a:fillRef>
          <a:effectRef idx="0">
            <a:scrgbClr r="0" g="0" b="0"/>
          </a:effectRef>
          <a:fontRef idx="minor"/>
        </p:style>
      </p:sp>
      <p:sp>
        <p:nvSpPr>
          <p:cNvPr id="1715" name="CustomShape 14"/>
          <p:cNvSpPr/>
          <p:nvPr/>
        </p:nvSpPr>
        <p:spPr>
          <a:xfrm flipH="1" flipV="1">
            <a:off x="6823800" y="1225800"/>
            <a:ext cx="4576680" cy="3728520"/>
          </a:xfrm>
          <a:prstGeom prst="bentConnector3">
            <a:avLst>
              <a:gd name="adj1" fmla="val -6244"/>
            </a:avLst>
          </a:prstGeom>
          <a:solidFill>
            <a:schemeClr val="accent1"/>
          </a:solidFill>
          <a:ln w="38160">
            <a:solidFill>
              <a:schemeClr val="accent5"/>
            </a:solidFill>
            <a:round/>
            <a:tailEnd type="triangle" w="med" len="med"/>
          </a:ln>
        </p:spPr>
        <p:style>
          <a:lnRef idx="0">
            <a:scrgbClr r="0" g="0" b="0"/>
          </a:lnRef>
          <a:fillRef idx="0">
            <a:scrgbClr r="0" g="0" b="0"/>
          </a:fillRef>
          <a:effectRef idx="0">
            <a:scrgbClr r="0" g="0" b="0"/>
          </a:effectRef>
          <a:fontRef idx="minor"/>
        </p:style>
      </p:sp>
      <p:sp>
        <p:nvSpPr>
          <p:cNvPr id="1716" name="CustomShape 15"/>
          <p:cNvSpPr/>
          <p:nvPr/>
        </p:nvSpPr>
        <p:spPr>
          <a:xfrm rot="5400000" flipH="1" flipV="1">
            <a:off x="4259160" y="570240"/>
            <a:ext cx="1859760" cy="3179520"/>
          </a:xfrm>
          <a:prstGeom prst="bentConnector4">
            <a:avLst>
              <a:gd name="adj1" fmla="val -130567"/>
              <a:gd name="adj2" fmla="val 266462"/>
            </a:avLst>
          </a:prstGeom>
          <a:solidFill>
            <a:schemeClr val="accent1"/>
          </a:solidFill>
          <a:ln w="38160">
            <a:solidFill>
              <a:schemeClr val="tx1"/>
            </a:solidFill>
            <a:round/>
            <a:tailEnd type="triangle" w="med" len="med"/>
          </a:ln>
        </p:spPr>
        <p:style>
          <a:lnRef idx="0">
            <a:scrgbClr r="0" g="0" b="0"/>
          </a:lnRef>
          <a:fillRef idx="0">
            <a:scrgbClr r="0" g="0" b="0"/>
          </a:fillRef>
          <a:effectRef idx="0">
            <a:scrgbClr r="0" g="0" b="0"/>
          </a:effectRef>
          <a:fontRef idx="minor"/>
        </p:style>
      </p:sp>
      <p:sp>
        <p:nvSpPr>
          <p:cNvPr id="1717" name="CustomShape 16"/>
          <p:cNvSpPr/>
          <p:nvPr/>
        </p:nvSpPr>
        <p:spPr>
          <a:xfrm>
            <a:off x="10377360" y="3104280"/>
            <a:ext cx="360" cy="1408680"/>
          </a:xfrm>
          <a:custGeom>
            <a:avLst/>
            <a:gdLst/>
            <a:ahLst/>
            <a:cxnLst/>
            <a:rect l="l" t="t" r="r" b="b"/>
            <a:pathLst>
              <a:path w="21600" h="21600">
                <a:moveTo>
                  <a:pt x="0" y="0"/>
                </a:moveTo>
                <a:lnTo>
                  <a:pt x="21600" y="21600"/>
                </a:lnTo>
              </a:path>
            </a:pathLst>
          </a:custGeom>
          <a:solidFill>
            <a:schemeClr val="accent1"/>
          </a:solidFill>
          <a:ln w="38160">
            <a:solidFill>
              <a:schemeClr val="accent5"/>
            </a:solidFill>
            <a:round/>
            <a:tailEnd type="triangle" w="med" len="med"/>
          </a:ln>
        </p:spPr>
        <p:style>
          <a:lnRef idx="0">
            <a:scrgbClr r="0" g="0" b="0"/>
          </a:lnRef>
          <a:fillRef idx="0">
            <a:scrgbClr r="0" g="0" b="0"/>
          </a:fillRef>
          <a:effectRef idx="0">
            <a:scrgbClr r="0" g="0" b="0"/>
          </a:effectRef>
          <a:fontRef idx="minor"/>
        </p:style>
      </p:sp>
      <p:sp>
        <p:nvSpPr>
          <p:cNvPr id="18" name="TextShape 2">
            <a:extLst>
              <a:ext uri="{FF2B5EF4-FFF2-40B4-BE49-F238E27FC236}">
                <a16:creationId xmlns:a16="http://schemas.microsoft.com/office/drawing/2014/main" id="{78814215-0367-481C-9C55-4D1E578BA9A6}"/>
              </a:ext>
            </a:extLst>
          </p:cNvPr>
          <p:cNvSpPr txBox="1"/>
          <p:nvPr/>
        </p:nvSpPr>
        <p:spPr>
          <a:xfrm>
            <a:off x="479520" y="476280"/>
            <a:ext cx="4096897" cy="749520"/>
          </a:xfrm>
          <a:prstGeom prst="rect">
            <a:avLst/>
          </a:prstGeom>
          <a:noFill/>
          <a:ln w="9360">
            <a:noFill/>
          </a:ln>
        </p:spPr>
        <p:txBody>
          <a:bodyPr lIns="72000" tIns="36000" rIns="73080" bIns="36720">
            <a:normAutofit fontScale="85000" lnSpcReduction="10000"/>
          </a:bodyPr>
          <a:lstStyle/>
          <a:p>
            <a:pPr>
              <a:lnSpc>
                <a:spcPct val="100000"/>
              </a:lnSpc>
              <a:spcBef>
                <a:spcPts val="300"/>
              </a:spcBef>
            </a:pPr>
            <a:r>
              <a:rPr lang="en-US" sz="4000" b="0" strike="noStrike" spc="-157" dirty="0" err="1">
                <a:solidFill>
                  <a:srgbClr val="181818"/>
                </a:solidFill>
                <a:uFill>
                  <a:solidFill>
                    <a:srgbClr val="FFFFFF"/>
                  </a:solidFill>
                </a:uFill>
                <a:latin typeface="Ericsson Hilda Light"/>
              </a:rPr>
              <a:t>Hårdvarukomponenter</a:t>
            </a:r>
            <a:endParaRPr lang="en-US" sz="4000" b="0" strike="noStrike" spc="-1" dirty="0">
              <a:solidFill>
                <a:srgbClr val="181818"/>
              </a:solidFill>
              <a:uFill>
                <a:solidFill>
                  <a:srgbClr val="FFFFFF"/>
                </a:solidFill>
              </a:uFill>
              <a:latin typeface="Ericsson Hilda"/>
            </a:endParaRPr>
          </a:p>
        </p:txBody>
      </p:sp>
      <p:sp>
        <p:nvSpPr>
          <p:cNvPr id="19" name="Rectangle 18">
            <a:extLst>
              <a:ext uri="{FF2B5EF4-FFF2-40B4-BE49-F238E27FC236}">
                <a16:creationId xmlns:a16="http://schemas.microsoft.com/office/drawing/2014/main" id="{4FD7642C-D224-4601-9886-17A950AC3206}"/>
              </a:ext>
            </a:extLst>
          </p:cNvPr>
          <p:cNvSpPr/>
          <p:nvPr/>
        </p:nvSpPr>
        <p:spPr>
          <a:xfrm>
            <a:off x="11277600" y="309217"/>
            <a:ext cx="649357" cy="592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2756392302"/>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3" name="CustomShape 2"/>
          <p:cNvSpPr/>
          <p:nvPr/>
        </p:nvSpPr>
        <p:spPr>
          <a:xfrm>
            <a:off x="5928577" y="784440"/>
            <a:ext cx="1827720" cy="892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DAvid </a:t>
            </a:r>
            <a:endParaRPr lang="sv-SE" sz="18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plattform</a:t>
            </a:r>
            <a:endParaRPr lang="sv-SE" sz="1100" b="0" strike="noStrike" spc="-1" dirty="0">
              <a:solidFill>
                <a:srgbClr val="000000"/>
              </a:solidFill>
              <a:uFill>
                <a:solidFill>
                  <a:srgbClr val="FFFFFF"/>
                </a:solidFill>
              </a:uFill>
              <a:latin typeface="Arial"/>
            </a:endParaRPr>
          </a:p>
        </p:txBody>
      </p:sp>
      <p:sp>
        <p:nvSpPr>
          <p:cNvPr id="1704" name="CustomShape 3"/>
          <p:cNvSpPr/>
          <p:nvPr/>
        </p:nvSpPr>
        <p:spPr>
          <a:xfrm>
            <a:off x="419400" y="2211840"/>
            <a:ext cx="1827720" cy="878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DAmatrix</a:t>
            </a:r>
            <a:endParaRPr lang="sv-SE" sz="18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skärm.</a:t>
            </a:r>
            <a:endParaRPr lang="sv-SE" sz="1100" b="0" strike="noStrike" spc="-1" dirty="0">
              <a:solidFill>
                <a:srgbClr val="000000"/>
              </a:solidFill>
              <a:uFill>
                <a:solidFill>
                  <a:srgbClr val="FFFFFF"/>
                </a:solidFill>
              </a:uFill>
              <a:latin typeface="Arial"/>
            </a:endParaRPr>
          </a:p>
        </p:txBody>
      </p:sp>
      <p:sp>
        <p:nvSpPr>
          <p:cNvPr id="1705" name="CustomShape 4"/>
          <p:cNvSpPr/>
          <p:nvPr/>
        </p:nvSpPr>
        <p:spPr>
          <a:xfrm>
            <a:off x="7216200" y="2198520"/>
            <a:ext cx="1827720" cy="892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200" b="1" spc="-1" dirty="0">
                <a:solidFill>
                  <a:srgbClr val="181818"/>
                </a:solidFill>
                <a:uFill>
                  <a:solidFill>
                    <a:srgbClr val="FFFFFF"/>
                  </a:solidFill>
                </a:uFill>
                <a:latin typeface="Ericsson Hilda"/>
              </a:rPr>
              <a:t>Manövreringsk</a:t>
            </a:r>
            <a:r>
              <a:rPr lang="sv-SE" sz="1200" b="1" strike="noStrike" spc="-1" dirty="0">
                <a:solidFill>
                  <a:srgbClr val="181818"/>
                </a:solidFill>
                <a:uFill>
                  <a:solidFill>
                    <a:srgbClr val="FFFFFF"/>
                  </a:solidFill>
                </a:uFill>
                <a:latin typeface="Ericsson Hilda"/>
              </a:rPr>
              <a:t>nappar</a:t>
            </a:r>
            <a:endParaRPr lang="sv-SE" sz="12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Möjligöra diverse rörelser för spelaren.</a:t>
            </a:r>
            <a:endParaRPr lang="sv-SE" sz="1100" b="0" strike="noStrike" spc="-1" dirty="0">
              <a:solidFill>
                <a:srgbClr val="000000"/>
              </a:solidFill>
              <a:uFill>
                <a:solidFill>
                  <a:srgbClr val="FFFFFF"/>
                </a:solidFill>
              </a:uFill>
              <a:latin typeface="Arial"/>
            </a:endParaRPr>
          </a:p>
        </p:txBody>
      </p:sp>
      <p:sp>
        <p:nvSpPr>
          <p:cNvPr id="1706" name="CustomShape 5"/>
          <p:cNvSpPr/>
          <p:nvPr/>
        </p:nvSpPr>
        <p:spPr>
          <a:xfrm>
            <a:off x="2685240" y="2211840"/>
            <a:ext cx="1827720" cy="878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Högtalare</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 </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Spela upp ljud vid start och slut.</a:t>
            </a:r>
            <a:endParaRPr lang="sv-SE" sz="1100" b="0" strike="noStrike" spc="-1">
              <a:solidFill>
                <a:srgbClr val="000000"/>
              </a:solidFill>
              <a:uFill>
                <a:solidFill>
                  <a:srgbClr val="FFFFFF"/>
                </a:solidFill>
              </a:uFill>
              <a:latin typeface="Arial"/>
            </a:endParaRPr>
          </a:p>
        </p:txBody>
      </p:sp>
      <p:sp>
        <p:nvSpPr>
          <p:cNvPr id="1707" name="CustomShape 6"/>
          <p:cNvSpPr/>
          <p:nvPr/>
        </p:nvSpPr>
        <p:spPr>
          <a:xfrm>
            <a:off x="4950720" y="2198520"/>
            <a:ext cx="1827720" cy="892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jusegment</a:t>
            </a:r>
            <a:endParaRPr lang="sv-SE" sz="18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Visa poäng spelaren har.</a:t>
            </a:r>
            <a:endParaRPr lang="sv-SE" sz="1100" b="0" strike="noStrike" spc="-1" dirty="0">
              <a:solidFill>
                <a:srgbClr val="000000"/>
              </a:solidFill>
              <a:uFill>
                <a:solidFill>
                  <a:srgbClr val="FFFFFF"/>
                </a:solidFill>
              </a:uFill>
              <a:latin typeface="Arial"/>
            </a:endParaRPr>
          </a:p>
        </p:txBody>
      </p:sp>
      <p:sp>
        <p:nvSpPr>
          <p:cNvPr id="1708" name="CustomShape 7"/>
          <p:cNvSpPr/>
          <p:nvPr/>
        </p:nvSpPr>
        <p:spPr>
          <a:xfrm>
            <a:off x="9482040" y="2211840"/>
            <a:ext cx="1790640" cy="892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LCD Display</a:t>
            </a:r>
            <a:endParaRPr lang="sv-SE" sz="18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spc="-1" dirty="0">
                <a:solidFill>
                  <a:srgbClr val="181818"/>
                </a:solidFill>
                <a:uFill>
                  <a:solidFill>
                    <a:srgbClr val="FFFFFF"/>
                  </a:solidFill>
                </a:uFill>
                <a:latin typeface="Ericsson Hilda"/>
              </a:rPr>
              <a:t>Ge spelare återkoppling</a:t>
            </a:r>
            <a:endParaRPr lang="sv-SE" sz="1100" b="0" strike="noStrike" spc="-1" dirty="0">
              <a:solidFill>
                <a:srgbClr val="000000"/>
              </a:solidFill>
              <a:uFill>
                <a:solidFill>
                  <a:srgbClr val="FFFFFF"/>
                </a:solidFill>
              </a:uFill>
              <a:latin typeface="Arial"/>
            </a:endParaRPr>
          </a:p>
        </p:txBody>
      </p:sp>
      <p:sp>
        <p:nvSpPr>
          <p:cNvPr id="1709" name="CustomShape 8"/>
          <p:cNvSpPr/>
          <p:nvPr/>
        </p:nvSpPr>
        <p:spPr>
          <a:xfrm>
            <a:off x="9482040" y="5618160"/>
            <a:ext cx="1873440" cy="8920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SPI</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Kommunikationsprotokoll.</a:t>
            </a:r>
            <a:endParaRPr lang="sv-SE" sz="1100" b="0" strike="noStrike" spc="-1">
              <a:solidFill>
                <a:srgbClr val="000000"/>
              </a:solidFill>
              <a:uFill>
                <a:solidFill>
                  <a:srgbClr val="FFFFFF"/>
                </a:solidFill>
              </a:uFill>
              <a:latin typeface="Arial"/>
            </a:endParaRPr>
          </a:p>
        </p:txBody>
      </p:sp>
      <p:sp>
        <p:nvSpPr>
          <p:cNvPr id="1710" name="CustomShape 9"/>
          <p:cNvSpPr/>
          <p:nvPr/>
        </p:nvSpPr>
        <p:spPr>
          <a:xfrm>
            <a:off x="9440280" y="4513320"/>
            <a:ext cx="1873440" cy="8920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TWI</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Kommunikationsprotokoll.</a:t>
            </a:r>
            <a:endParaRPr lang="sv-SE" sz="1100" b="0" strike="noStrike" spc="-1">
              <a:solidFill>
                <a:srgbClr val="000000"/>
              </a:solidFill>
              <a:uFill>
                <a:solidFill>
                  <a:srgbClr val="FFFFFF"/>
                </a:solidFill>
              </a:uFill>
              <a:latin typeface="Arial"/>
            </a:endParaRPr>
          </a:p>
        </p:txBody>
      </p:sp>
      <p:sp>
        <p:nvSpPr>
          <p:cNvPr id="1711" name="CustomShape 10"/>
          <p:cNvSpPr/>
          <p:nvPr/>
        </p:nvSpPr>
        <p:spPr>
          <a:xfrm rot="16200000" flipH="1">
            <a:off x="3920040" y="503640"/>
            <a:ext cx="2973240" cy="8147880"/>
          </a:xfrm>
          <a:prstGeom prst="bentConnector2">
            <a:avLst/>
          </a:prstGeom>
          <a:solidFill>
            <a:schemeClr val="accent1"/>
          </a:solidFill>
          <a:ln w="38160">
            <a:solidFill>
              <a:schemeClr val="accent4"/>
            </a:solidFill>
            <a:round/>
            <a:tailEnd type="triangle" w="med" len="med"/>
          </a:ln>
        </p:spPr>
        <p:style>
          <a:lnRef idx="0">
            <a:scrgbClr r="0" g="0" b="0"/>
          </a:lnRef>
          <a:fillRef idx="0">
            <a:scrgbClr r="0" g="0" b="0"/>
          </a:fillRef>
          <a:effectRef idx="0">
            <a:scrgbClr r="0" g="0" b="0"/>
          </a:effectRef>
          <a:fontRef idx="minor"/>
        </p:style>
      </p:sp>
      <p:sp>
        <p:nvSpPr>
          <p:cNvPr id="1712" name="CustomShape 11"/>
          <p:cNvSpPr/>
          <p:nvPr/>
        </p:nvSpPr>
        <p:spPr>
          <a:xfrm flipH="1" flipV="1">
            <a:off x="7779600" y="1209238"/>
            <a:ext cx="3575160" cy="4854241"/>
          </a:xfrm>
          <a:prstGeom prst="bentConnector3">
            <a:avLst>
              <a:gd name="adj1" fmla="val -11738"/>
            </a:avLst>
          </a:prstGeom>
          <a:solidFill>
            <a:schemeClr val="accent1"/>
          </a:solidFill>
          <a:ln w="38160">
            <a:solidFill>
              <a:schemeClr val="accent4"/>
            </a:solidFill>
            <a:round/>
            <a:tailEnd type="triangle" w="med" len="med"/>
          </a:ln>
        </p:spPr>
        <p:style>
          <a:lnRef idx="0">
            <a:scrgbClr r="0" g="0" b="0"/>
          </a:lnRef>
          <a:fillRef idx="0">
            <a:scrgbClr r="0" g="0" b="0"/>
          </a:fillRef>
          <a:effectRef idx="0">
            <a:scrgbClr r="0" g="0" b="0"/>
          </a:effectRef>
          <a:fontRef idx="minor"/>
        </p:style>
      </p:sp>
      <p:sp>
        <p:nvSpPr>
          <p:cNvPr id="1713" name="CustomShape 12"/>
          <p:cNvSpPr/>
          <p:nvPr/>
        </p:nvSpPr>
        <p:spPr>
          <a:xfrm rot="16200000" flipH="1">
            <a:off x="6717240" y="2237760"/>
            <a:ext cx="1868400" cy="3575160"/>
          </a:xfrm>
          <a:prstGeom prst="bentConnector2">
            <a:avLst/>
          </a:prstGeom>
          <a:solidFill>
            <a:schemeClr val="accent1"/>
          </a:solidFill>
          <a:ln w="38160">
            <a:solidFill>
              <a:schemeClr val="accent5"/>
            </a:solidFill>
            <a:round/>
            <a:tailEnd type="triangle" w="med" len="med"/>
          </a:ln>
        </p:spPr>
        <p:style>
          <a:lnRef idx="0">
            <a:scrgbClr r="0" g="0" b="0"/>
          </a:lnRef>
          <a:fillRef idx="0">
            <a:scrgbClr r="0" g="0" b="0"/>
          </a:fillRef>
          <a:effectRef idx="0">
            <a:scrgbClr r="0" g="0" b="0"/>
          </a:effectRef>
          <a:fontRef idx="minor"/>
        </p:style>
      </p:sp>
      <p:sp>
        <p:nvSpPr>
          <p:cNvPr id="1714" name="CustomShape 13"/>
          <p:cNvSpPr/>
          <p:nvPr/>
        </p:nvSpPr>
        <p:spPr>
          <a:xfrm rot="16200000" flipH="1">
            <a:off x="7851240" y="3370680"/>
            <a:ext cx="1868400" cy="1309680"/>
          </a:xfrm>
          <a:prstGeom prst="bentConnector2">
            <a:avLst/>
          </a:prstGeom>
          <a:solidFill>
            <a:schemeClr val="accent1"/>
          </a:solidFill>
          <a:ln w="38160">
            <a:solidFill>
              <a:schemeClr val="accent5"/>
            </a:solidFill>
            <a:round/>
            <a:tailEnd type="triangle" w="med" len="med"/>
          </a:ln>
        </p:spPr>
        <p:style>
          <a:lnRef idx="0">
            <a:scrgbClr r="0" g="0" b="0"/>
          </a:lnRef>
          <a:fillRef idx="0">
            <a:scrgbClr r="0" g="0" b="0"/>
          </a:fillRef>
          <a:effectRef idx="0">
            <a:scrgbClr r="0" g="0" b="0"/>
          </a:effectRef>
          <a:fontRef idx="minor"/>
        </p:style>
      </p:sp>
      <p:sp>
        <p:nvSpPr>
          <p:cNvPr id="1715" name="CustomShape 14"/>
          <p:cNvSpPr/>
          <p:nvPr/>
        </p:nvSpPr>
        <p:spPr>
          <a:xfrm flipH="1" flipV="1">
            <a:off x="7756296" y="1496289"/>
            <a:ext cx="3553285" cy="3463250"/>
          </a:xfrm>
          <a:prstGeom prst="bentConnector3">
            <a:avLst>
              <a:gd name="adj1" fmla="val -6244"/>
            </a:avLst>
          </a:prstGeom>
          <a:solidFill>
            <a:schemeClr val="accent1"/>
          </a:solidFill>
          <a:ln w="38160">
            <a:solidFill>
              <a:schemeClr val="accent5"/>
            </a:solidFill>
            <a:round/>
            <a:tailEnd type="triangle" w="med" len="med"/>
          </a:ln>
        </p:spPr>
        <p:style>
          <a:lnRef idx="0">
            <a:scrgbClr r="0" g="0" b="0"/>
          </a:lnRef>
          <a:fillRef idx="0">
            <a:scrgbClr r="0" g="0" b="0"/>
          </a:fillRef>
          <a:effectRef idx="0">
            <a:scrgbClr r="0" g="0" b="0"/>
          </a:effectRef>
          <a:fontRef idx="minor"/>
        </p:style>
      </p:sp>
      <p:sp>
        <p:nvSpPr>
          <p:cNvPr id="1716" name="CustomShape 15"/>
          <p:cNvSpPr/>
          <p:nvPr/>
        </p:nvSpPr>
        <p:spPr>
          <a:xfrm rot="5400000" flipH="1" flipV="1">
            <a:off x="4613487" y="-72099"/>
            <a:ext cx="2147772" cy="4176182"/>
          </a:xfrm>
          <a:prstGeom prst="bentConnector4">
            <a:avLst>
              <a:gd name="adj1" fmla="val -112440"/>
              <a:gd name="adj2" fmla="val 200908"/>
            </a:avLst>
          </a:prstGeom>
          <a:solidFill>
            <a:schemeClr val="accent1"/>
          </a:solidFill>
          <a:ln w="38160">
            <a:solidFill>
              <a:schemeClr val="tx1"/>
            </a:solidFill>
            <a:round/>
            <a:tailEnd type="triangle" w="med" len="med"/>
          </a:ln>
        </p:spPr>
        <p:style>
          <a:lnRef idx="0">
            <a:scrgbClr r="0" g="0" b="0"/>
          </a:lnRef>
          <a:fillRef idx="0">
            <a:scrgbClr r="0" g="0" b="0"/>
          </a:fillRef>
          <a:effectRef idx="0">
            <a:scrgbClr r="0" g="0" b="0"/>
          </a:effectRef>
          <a:fontRef idx="minor"/>
        </p:style>
      </p:sp>
      <p:sp>
        <p:nvSpPr>
          <p:cNvPr id="1717" name="CustomShape 16"/>
          <p:cNvSpPr/>
          <p:nvPr/>
        </p:nvSpPr>
        <p:spPr>
          <a:xfrm>
            <a:off x="10377360" y="3104280"/>
            <a:ext cx="360" cy="1408680"/>
          </a:xfrm>
          <a:custGeom>
            <a:avLst/>
            <a:gdLst/>
            <a:ahLst/>
            <a:cxnLst/>
            <a:rect l="l" t="t" r="r" b="b"/>
            <a:pathLst>
              <a:path w="21600" h="21600">
                <a:moveTo>
                  <a:pt x="0" y="0"/>
                </a:moveTo>
                <a:lnTo>
                  <a:pt x="21600" y="21600"/>
                </a:lnTo>
              </a:path>
            </a:pathLst>
          </a:custGeom>
          <a:solidFill>
            <a:schemeClr val="accent1"/>
          </a:solidFill>
          <a:ln w="38160">
            <a:solidFill>
              <a:schemeClr val="accent5"/>
            </a:solidFill>
            <a:round/>
            <a:tailEnd type="triangle" w="med" len="med"/>
          </a:ln>
        </p:spPr>
        <p:style>
          <a:lnRef idx="0">
            <a:scrgbClr r="0" g="0" b="0"/>
          </a:lnRef>
          <a:fillRef idx="0">
            <a:scrgbClr r="0" g="0" b="0"/>
          </a:fillRef>
          <a:effectRef idx="0">
            <a:scrgbClr r="0" g="0" b="0"/>
          </a:effectRef>
          <a:fontRef idx="minor"/>
        </p:style>
      </p:sp>
      <p:sp>
        <p:nvSpPr>
          <p:cNvPr id="18" name="TextShape 2">
            <a:extLst>
              <a:ext uri="{FF2B5EF4-FFF2-40B4-BE49-F238E27FC236}">
                <a16:creationId xmlns:a16="http://schemas.microsoft.com/office/drawing/2014/main" id="{78814215-0367-481C-9C55-4D1E578BA9A6}"/>
              </a:ext>
            </a:extLst>
          </p:cNvPr>
          <p:cNvSpPr txBox="1"/>
          <p:nvPr/>
        </p:nvSpPr>
        <p:spPr>
          <a:xfrm>
            <a:off x="479520" y="476280"/>
            <a:ext cx="4096897" cy="568211"/>
          </a:xfrm>
          <a:prstGeom prst="rect">
            <a:avLst/>
          </a:prstGeom>
          <a:noFill/>
          <a:ln w="9360">
            <a:noFill/>
          </a:ln>
        </p:spPr>
        <p:txBody>
          <a:bodyPr lIns="72000" tIns="36000" rIns="73080" bIns="36720">
            <a:normAutofit fontScale="85000" lnSpcReduction="10000"/>
          </a:bodyPr>
          <a:lstStyle/>
          <a:p>
            <a:pPr>
              <a:lnSpc>
                <a:spcPct val="100000"/>
              </a:lnSpc>
              <a:spcBef>
                <a:spcPts val="300"/>
              </a:spcBef>
            </a:pPr>
            <a:r>
              <a:rPr lang="en-US" sz="4000" b="0" strike="noStrike" spc="-157" dirty="0" err="1">
                <a:solidFill>
                  <a:srgbClr val="181818"/>
                </a:solidFill>
                <a:uFill>
                  <a:solidFill>
                    <a:srgbClr val="FFFFFF"/>
                  </a:solidFill>
                </a:uFill>
                <a:latin typeface="Ericsson Hilda Light"/>
              </a:rPr>
              <a:t>Översikt</a:t>
            </a:r>
            <a:r>
              <a:rPr lang="en-US" sz="4000" b="0" strike="noStrike" spc="-157" dirty="0">
                <a:solidFill>
                  <a:srgbClr val="181818"/>
                </a:solidFill>
                <a:uFill>
                  <a:solidFill>
                    <a:srgbClr val="FFFFFF"/>
                  </a:solidFill>
                </a:uFill>
                <a:latin typeface="Ericsson Hilda Light"/>
              </a:rPr>
              <a:t>: </a:t>
            </a:r>
            <a:r>
              <a:rPr lang="en-US" sz="4000" b="0" strike="noStrike" spc="-157" dirty="0" err="1">
                <a:solidFill>
                  <a:srgbClr val="181818"/>
                </a:solidFill>
                <a:uFill>
                  <a:solidFill>
                    <a:srgbClr val="FFFFFF"/>
                  </a:solidFill>
                </a:uFill>
                <a:latin typeface="Ericsson Hilda Light"/>
              </a:rPr>
              <a:t>Komponenter</a:t>
            </a:r>
            <a:endParaRPr lang="en-US" sz="4000" b="0" strike="noStrike" spc="-1" dirty="0">
              <a:solidFill>
                <a:srgbClr val="181818"/>
              </a:solidFill>
              <a:uFill>
                <a:solidFill>
                  <a:srgbClr val="FFFFFF"/>
                </a:solidFill>
              </a:uFill>
              <a:latin typeface="Ericsson Hilda"/>
            </a:endParaRPr>
          </a:p>
        </p:txBody>
      </p:sp>
      <p:sp>
        <p:nvSpPr>
          <p:cNvPr id="19" name="Rectangle 18">
            <a:extLst>
              <a:ext uri="{FF2B5EF4-FFF2-40B4-BE49-F238E27FC236}">
                <a16:creationId xmlns:a16="http://schemas.microsoft.com/office/drawing/2014/main" id="{4FD7642C-D224-4601-9886-17A950AC3206}"/>
              </a:ext>
            </a:extLst>
          </p:cNvPr>
          <p:cNvSpPr/>
          <p:nvPr/>
        </p:nvSpPr>
        <p:spPr>
          <a:xfrm>
            <a:off x="11277600" y="309217"/>
            <a:ext cx="649357" cy="592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0" name="CustomShape 3">
            <a:extLst>
              <a:ext uri="{FF2B5EF4-FFF2-40B4-BE49-F238E27FC236}">
                <a16:creationId xmlns:a16="http://schemas.microsoft.com/office/drawing/2014/main" id="{49A7169F-B6B4-9544-62AC-340281364C8C}"/>
              </a:ext>
            </a:extLst>
          </p:cNvPr>
          <p:cNvSpPr/>
          <p:nvPr/>
        </p:nvSpPr>
        <p:spPr>
          <a:xfrm>
            <a:off x="419400" y="3275869"/>
            <a:ext cx="1827720" cy="878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DAmatrix</a:t>
            </a:r>
            <a:endParaRPr lang="sv-SE" sz="18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skärm.</a:t>
            </a:r>
            <a:endParaRPr lang="sv-SE" sz="1100" b="0" strike="noStrike" spc="-1" dirty="0">
              <a:solidFill>
                <a:srgbClr val="000000"/>
              </a:solidFill>
              <a:uFill>
                <a:solidFill>
                  <a:srgbClr val="FFFFFF"/>
                </a:solidFill>
              </a:uFill>
              <a:latin typeface="Arial"/>
            </a:endParaRPr>
          </a:p>
        </p:txBody>
      </p:sp>
      <p:sp>
        <p:nvSpPr>
          <p:cNvPr id="21" name="CustomShape 3">
            <a:extLst>
              <a:ext uri="{FF2B5EF4-FFF2-40B4-BE49-F238E27FC236}">
                <a16:creationId xmlns:a16="http://schemas.microsoft.com/office/drawing/2014/main" id="{3ACECF72-F806-CE6A-1CB5-02851D83FECC}"/>
              </a:ext>
            </a:extLst>
          </p:cNvPr>
          <p:cNvSpPr/>
          <p:nvPr/>
        </p:nvSpPr>
        <p:spPr>
          <a:xfrm>
            <a:off x="419400" y="4339179"/>
            <a:ext cx="1827720" cy="878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DAmatrix</a:t>
            </a:r>
            <a:endParaRPr lang="sv-SE" sz="18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skärm.</a:t>
            </a:r>
            <a:endParaRPr lang="sv-SE" sz="1100" b="0" strike="noStrike" spc="-1" dirty="0">
              <a:solidFill>
                <a:srgbClr val="000000"/>
              </a:solidFill>
              <a:uFill>
                <a:solidFill>
                  <a:srgbClr val="FFFFFF"/>
                </a:solidFill>
              </a:uFill>
              <a:latin typeface="Arial"/>
            </a:endParaRPr>
          </a:p>
        </p:txBody>
      </p:sp>
      <p:sp>
        <p:nvSpPr>
          <p:cNvPr id="2" name="Oval 1">
            <a:extLst>
              <a:ext uri="{FF2B5EF4-FFF2-40B4-BE49-F238E27FC236}">
                <a16:creationId xmlns:a16="http://schemas.microsoft.com/office/drawing/2014/main" id="{C86CE873-91E4-A3C6-43AB-15025081728A}"/>
              </a:ext>
            </a:extLst>
          </p:cNvPr>
          <p:cNvSpPr/>
          <p:nvPr/>
        </p:nvSpPr>
        <p:spPr>
          <a:xfrm>
            <a:off x="293716" y="6245629"/>
            <a:ext cx="121920" cy="121920"/>
          </a:xfrm>
          <a:prstGeom prst="ellipse">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SE"/>
          </a:p>
        </p:txBody>
      </p:sp>
      <p:sp>
        <p:nvSpPr>
          <p:cNvPr id="23" name="TextShape 2">
            <a:extLst>
              <a:ext uri="{FF2B5EF4-FFF2-40B4-BE49-F238E27FC236}">
                <a16:creationId xmlns:a16="http://schemas.microsoft.com/office/drawing/2014/main" id="{2F615D42-C7C2-1064-DA12-3644E7612952}"/>
              </a:ext>
            </a:extLst>
          </p:cNvPr>
          <p:cNvSpPr txBox="1"/>
          <p:nvPr/>
        </p:nvSpPr>
        <p:spPr>
          <a:xfrm>
            <a:off x="479520" y="5760720"/>
            <a:ext cx="4096897" cy="749520"/>
          </a:xfrm>
          <a:prstGeom prst="rect">
            <a:avLst/>
          </a:prstGeom>
          <a:noFill/>
          <a:ln w="9360">
            <a:noFill/>
          </a:ln>
        </p:spPr>
        <p:txBody>
          <a:bodyPr lIns="72000" tIns="36000" rIns="73080" bIns="36720">
            <a:normAutofit fontScale="62500" lnSpcReduction="20000"/>
          </a:bodyPr>
          <a:lstStyle/>
          <a:p>
            <a:pPr>
              <a:lnSpc>
                <a:spcPct val="100000"/>
              </a:lnSpc>
              <a:spcBef>
                <a:spcPts val="300"/>
              </a:spcBef>
            </a:pPr>
            <a:r>
              <a:rPr lang="en-US" sz="4000" spc="-157" dirty="0" err="1">
                <a:solidFill>
                  <a:srgbClr val="181818"/>
                </a:solidFill>
                <a:uFill>
                  <a:solidFill>
                    <a:srgbClr val="FFFFFF"/>
                  </a:solidFill>
                </a:uFill>
                <a:latin typeface="Ericsson Hilda Light"/>
              </a:rPr>
              <a:t>Kommunikation</a:t>
            </a:r>
            <a:r>
              <a:rPr lang="en-US" sz="4000" spc="-157" dirty="0">
                <a:solidFill>
                  <a:srgbClr val="181818"/>
                </a:solidFill>
                <a:uFill>
                  <a:solidFill>
                    <a:srgbClr val="FFFFFF"/>
                  </a:solidFill>
                </a:uFill>
                <a:latin typeface="Ericsson Hilda Light"/>
              </a:rPr>
              <a:t> med TWI </a:t>
            </a:r>
            <a:r>
              <a:rPr lang="en-US" sz="4000" spc="-157" dirty="0" err="1">
                <a:solidFill>
                  <a:srgbClr val="181818"/>
                </a:solidFill>
                <a:uFill>
                  <a:solidFill>
                    <a:srgbClr val="FFFFFF"/>
                  </a:solidFill>
                </a:uFill>
                <a:latin typeface="Ericsson Hilda Light"/>
              </a:rPr>
              <a:t>mellan</a:t>
            </a:r>
            <a:r>
              <a:rPr lang="en-US" sz="4000" spc="-157" dirty="0">
                <a:solidFill>
                  <a:srgbClr val="181818"/>
                </a:solidFill>
                <a:uFill>
                  <a:solidFill>
                    <a:srgbClr val="FFFFFF"/>
                  </a:solidFill>
                </a:uFill>
                <a:latin typeface="Ericsson Hilda Light"/>
              </a:rPr>
              <a:t> </a:t>
            </a:r>
            <a:r>
              <a:rPr lang="en-US" sz="4000" spc="-157" dirty="0" err="1">
                <a:solidFill>
                  <a:srgbClr val="181818"/>
                </a:solidFill>
                <a:uFill>
                  <a:solidFill>
                    <a:srgbClr val="FFFFFF"/>
                  </a:solidFill>
                </a:uFill>
                <a:latin typeface="Ericsson Hilda Light"/>
              </a:rPr>
              <a:t>Komponent</a:t>
            </a:r>
            <a:r>
              <a:rPr lang="en-US" sz="4000" spc="-157" dirty="0">
                <a:solidFill>
                  <a:srgbClr val="181818"/>
                </a:solidFill>
                <a:uFill>
                  <a:solidFill>
                    <a:srgbClr val="FFFFFF"/>
                  </a:solidFill>
                </a:uFill>
                <a:latin typeface="Ericsson Hilda Light"/>
              </a:rPr>
              <a:t> </a:t>
            </a:r>
            <a:r>
              <a:rPr lang="en-US" sz="4000" spc="-157" dirty="0" err="1">
                <a:solidFill>
                  <a:srgbClr val="181818"/>
                </a:solidFill>
                <a:uFill>
                  <a:solidFill>
                    <a:srgbClr val="FFFFFF"/>
                  </a:solidFill>
                </a:uFill>
                <a:latin typeface="Ericsson Hilda Light"/>
              </a:rPr>
              <a:t>och</a:t>
            </a:r>
            <a:r>
              <a:rPr lang="en-US" sz="4000" spc="-157" dirty="0">
                <a:solidFill>
                  <a:srgbClr val="181818"/>
                </a:solidFill>
                <a:uFill>
                  <a:solidFill>
                    <a:srgbClr val="FFFFFF"/>
                  </a:solidFill>
                </a:uFill>
                <a:latin typeface="Ericsson Hilda Light"/>
              </a:rPr>
              <a:t> </a:t>
            </a:r>
            <a:r>
              <a:rPr lang="en-US" sz="4000" spc="-157" dirty="0" err="1">
                <a:solidFill>
                  <a:srgbClr val="181818"/>
                </a:solidFill>
                <a:uFill>
                  <a:solidFill>
                    <a:srgbClr val="FFFFFF"/>
                  </a:solidFill>
                </a:uFill>
                <a:latin typeface="Ericsson Hilda Light"/>
              </a:rPr>
              <a:t>spel</a:t>
            </a:r>
            <a:endParaRPr lang="en-US" sz="4000" b="0" strike="noStrike" spc="-1" dirty="0">
              <a:solidFill>
                <a:srgbClr val="181818"/>
              </a:solidFill>
              <a:uFill>
                <a:solidFill>
                  <a:srgbClr val="FFFFFF"/>
                </a:solidFill>
              </a:uFill>
              <a:latin typeface="Ericsson Hilda"/>
            </a:endParaRPr>
          </a:p>
        </p:txBody>
      </p:sp>
      <p:sp>
        <p:nvSpPr>
          <p:cNvPr id="24" name="CustomShape 2">
            <a:extLst>
              <a:ext uri="{FF2B5EF4-FFF2-40B4-BE49-F238E27FC236}">
                <a16:creationId xmlns:a16="http://schemas.microsoft.com/office/drawing/2014/main" id="{A5B77608-CC78-23D9-8EE7-5D9444B0FE8F}"/>
              </a:ext>
            </a:extLst>
          </p:cNvPr>
          <p:cNvSpPr/>
          <p:nvPr/>
        </p:nvSpPr>
        <p:spPr>
          <a:xfrm>
            <a:off x="3772810" y="784440"/>
            <a:ext cx="1827720" cy="892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Arduino Uno </a:t>
            </a:r>
            <a:endParaRPr lang="sv-SE" sz="18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plattform</a:t>
            </a:r>
            <a:endParaRPr lang="sv-SE" sz="1100" b="0" strike="noStrike" spc="-1" dirty="0">
              <a:solidFill>
                <a:srgbClr val="000000"/>
              </a:solidFill>
              <a:uFill>
                <a:solidFill>
                  <a:srgbClr val="FFFFFF"/>
                </a:solidFill>
              </a:uFill>
              <a:latin typeface="Arial"/>
            </a:endParaRPr>
          </a:p>
        </p:txBody>
      </p:sp>
      <p:cxnSp>
        <p:nvCxnSpPr>
          <p:cNvPr id="4" name="Straight Arrow Connector 3">
            <a:extLst>
              <a:ext uri="{FF2B5EF4-FFF2-40B4-BE49-F238E27FC236}">
                <a16:creationId xmlns:a16="http://schemas.microsoft.com/office/drawing/2014/main" id="{F5EEC351-B179-3861-0EED-AF210C1F1874}"/>
              </a:ext>
            </a:extLst>
          </p:cNvPr>
          <p:cNvCxnSpPr>
            <a:stCxn id="1703" idx="1"/>
            <a:endCxn id="24" idx="3"/>
          </p:cNvCxnSpPr>
          <p:nvPr/>
        </p:nvCxnSpPr>
        <p:spPr>
          <a:xfrm flipH="1">
            <a:off x="5600530" y="1230480"/>
            <a:ext cx="328047"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7988399"/>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3" name="CustomShape 2"/>
          <p:cNvSpPr/>
          <p:nvPr/>
        </p:nvSpPr>
        <p:spPr>
          <a:xfrm>
            <a:off x="7330851" y="1292431"/>
            <a:ext cx="1873440" cy="8920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chemeClr val="bg1"/>
                </a:solidFill>
                <a:uFill>
                  <a:solidFill>
                    <a:srgbClr val="FFFFFF"/>
                  </a:solidFill>
                </a:uFill>
                <a:latin typeface="Ericsson Hilda"/>
              </a:rPr>
              <a:t>DAvid </a:t>
            </a:r>
            <a:endParaRPr lang="sv-SE" sz="1800" b="0" strike="noStrike" spc="-1" dirty="0">
              <a:solidFill>
                <a:schemeClr val="bg1"/>
              </a:solidFill>
              <a:uFill>
                <a:solidFill>
                  <a:srgbClr val="FFFFFF"/>
                </a:solidFill>
              </a:uFill>
              <a:latin typeface="Arial"/>
            </a:endParaRPr>
          </a:p>
          <a:p>
            <a:pPr>
              <a:lnSpc>
                <a:spcPct val="100000"/>
              </a:lnSpc>
            </a:pPr>
            <a:r>
              <a:rPr lang="sv-SE" sz="1100" b="1" strike="noStrike" spc="-1" dirty="0">
                <a:solidFill>
                  <a:schemeClr val="bg1"/>
                </a:solidFill>
                <a:uFill>
                  <a:solidFill>
                    <a:srgbClr val="FFFFFF"/>
                  </a:solidFill>
                </a:uFill>
                <a:latin typeface="Ericsson Hilda"/>
              </a:rPr>
              <a:t>Syfte:</a:t>
            </a:r>
            <a:endParaRPr lang="sv-SE" sz="1100" b="0" strike="noStrike" spc="-1" dirty="0">
              <a:solidFill>
                <a:schemeClr val="bg1"/>
              </a:solidFill>
              <a:uFill>
                <a:solidFill>
                  <a:srgbClr val="FFFFFF"/>
                </a:solidFill>
              </a:uFill>
              <a:latin typeface="Arial"/>
            </a:endParaRPr>
          </a:p>
          <a:p>
            <a:pPr>
              <a:lnSpc>
                <a:spcPct val="100000"/>
              </a:lnSpc>
            </a:pPr>
            <a:r>
              <a:rPr lang="sv-SE" sz="1100" b="0" strike="noStrike" spc="-1" dirty="0">
                <a:solidFill>
                  <a:schemeClr val="bg1"/>
                </a:solidFill>
                <a:uFill>
                  <a:solidFill>
                    <a:srgbClr val="FFFFFF"/>
                  </a:solidFill>
                </a:uFill>
                <a:latin typeface="Ericsson Hilda"/>
              </a:rPr>
              <a:t>Spelplattform</a:t>
            </a:r>
            <a:endParaRPr lang="sv-SE" sz="1100" b="0" strike="noStrike" spc="-1" dirty="0">
              <a:solidFill>
                <a:schemeClr val="bg1"/>
              </a:solidFill>
              <a:uFill>
                <a:solidFill>
                  <a:srgbClr val="FFFFFF"/>
                </a:solidFill>
              </a:uFill>
              <a:latin typeface="Arial"/>
            </a:endParaRPr>
          </a:p>
        </p:txBody>
      </p:sp>
      <p:sp>
        <p:nvSpPr>
          <p:cNvPr id="1704" name="CustomShape 3"/>
          <p:cNvSpPr/>
          <p:nvPr/>
        </p:nvSpPr>
        <p:spPr>
          <a:xfrm>
            <a:off x="5012171" y="3536204"/>
            <a:ext cx="1873440" cy="878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DAmatrix</a:t>
            </a:r>
            <a:endParaRPr lang="sv-SE" sz="18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skärm.</a:t>
            </a:r>
            <a:endParaRPr lang="sv-SE" sz="1100" b="0" strike="noStrike" spc="-1" dirty="0">
              <a:solidFill>
                <a:srgbClr val="000000"/>
              </a:solidFill>
              <a:uFill>
                <a:solidFill>
                  <a:srgbClr val="FFFFFF"/>
                </a:solidFill>
              </a:uFill>
              <a:latin typeface="Arial"/>
            </a:endParaRPr>
          </a:p>
        </p:txBody>
      </p:sp>
      <p:sp>
        <p:nvSpPr>
          <p:cNvPr id="1705" name="CustomShape 4"/>
          <p:cNvSpPr/>
          <p:nvPr/>
        </p:nvSpPr>
        <p:spPr>
          <a:xfrm>
            <a:off x="9639256" y="4600233"/>
            <a:ext cx="1827720" cy="8920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200" b="1" spc="-1" dirty="0">
                <a:solidFill>
                  <a:srgbClr val="181818"/>
                </a:solidFill>
                <a:uFill>
                  <a:solidFill>
                    <a:srgbClr val="FFFFFF"/>
                  </a:solidFill>
                </a:uFill>
                <a:latin typeface="Ericsson Hilda"/>
              </a:rPr>
              <a:t>Manövreringsk</a:t>
            </a:r>
            <a:r>
              <a:rPr lang="sv-SE" sz="1200" b="1" strike="noStrike" spc="-1" dirty="0">
                <a:solidFill>
                  <a:srgbClr val="181818"/>
                </a:solidFill>
                <a:uFill>
                  <a:solidFill>
                    <a:srgbClr val="FFFFFF"/>
                  </a:solidFill>
                </a:uFill>
                <a:latin typeface="Ericsson Hilda"/>
              </a:rPr>
              <a:t>nappar</a:t>
            </a:r>
            <a:endParaRPr lang="sv-SE" sz="12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Möjligöra diverse rörelser för spelaren.</a:t>
            </a:r>
            <a:endParaRPr lang="sv-SE" sz="1100" b="0" strike="noStrike" spc="-1" dirty="0">
              <a:solidFill>
                <a:srgbClr val="000000"/>
              </a:solidFill>
              <a:uFill>
                <a:solidFill>
                  <a:srgbClr val="FFFFFF"/>
                </a:solidFill>
              </a:uFill>
              <a:latin typeface="Arial"/>
            </a:endParaRPr>
          </a:p>
        </p:txBody>
      </p:sp>
      <p:sp>
        <p:nvSpPr>
          <p:cNvPr id="1706" name="CustomShape 5"/>
          <p:cNvSpPr/>
          <p:nvPr/>
        </p:nvSpPr>
        <p:spPr>
          <a:xfrm>
            <a:off x="7330850" y="3531164"/>
            <a:ext cx="1873440" cy="8784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Högtalare</a:t>
            </a:r>
            <a:endParaRPr lang="sv-SE" sz="18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a upp ljud vid start och slut.</a:t>
            </a:r>
            <a:endParaRPr lang="sv-SE" sz="1100" b="0" strike="noStrike" spc="-1" dirty="0">
              <a:solidFill>
                <a:srgbClr val="000000"/>
              </a:solidFill>
              <a:uFill>
                <a:solidFill>
                  <a:srgbClr val="FFFFFF"/>
                </a:solidFill>
              </a:uFill>
              <a:latin typeface="Arial"/>
            </a:endParaRPr>
          </a:p>
        </p:txBody>
      </p:sp>
      <p:sp>
        <p:nvSpPr>
          <p:cNvPr id="1707" name="CustomShape 6"/>
          <p:cNvSpPr/>
          <p:nvPr/>
        </p:nvSpPr>
        <p:spPr>
          <a:xfrm>
            <a:off x="9639256" y="3533780"/>
            <a:ext cx="1827720" cy="8920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jusegment</a:t>
            </a:r>
            <a:endParaRPr lang="sv-SE" sz="18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Visa poäng spelaren har.</a:t>
            </a:r>
            <a:endParaRPr lang="sv-SE" sz="1100" b="0" strike="noStrike" spc="-1" dirty="0">
              <a:solidFill>
                <a:srgbClr val="000000"/>
              </a:solidFill>
              <a:uFill>
                <a:solidFill>
                  <a:srgbClr val="FFFFFF"/>
                </a:solidFill>
              </a:uFill>
              <a:latin typeface="Arial"/>
            </a:endParaRPr>
          </a:p>
        </p:txBody>
      </p:sp>
      <p:sp>
        <p:nvSpPr>
          <p:cNvPr id="1708" name="CustomShape 7"/>
          <p:cNvSpPr/>
          <p:nvPr/>
        </p:nvSpPr>
        <p:spPr>
          <a:xfrm>
            <a:off x="9677061" y="5656703"/>
            <a:ext cx="1790640" cy="8920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LCD Display</a:t>
            </a:r>
            <a:endParaRPr lang="sv-SE" sz="18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spc="-1" dirty="0">
                <a:solidFill>
                  <a:srgbClr val="181818"/>
                </a:solidFill>
                <a:uFill>
                  <a:solidFill>
                    <a:srgbClr val="FFFFFF"/>
                  </a:solidFill>
                </a:uFill>
                <a:latin typeface="Ericsson Hilda"/>
              </a:rPr>
              <a:t>Ge spelare återkoppling</a:t>
            </a:r>
            <a:endParaRPr lang="sv-SE" sz="1100" b="0" strike="noStrike" spc="-1" dirty="0">
              <a:solidFill>
                <a:srgbClr val="000000"/>
              </a:solidFill>
              <a:uFill>
                <a:solidFill>
                  <a:srgbClr val="FFFFFF"/>
                </a:solidFill>
              </a:uFill>
              <a:latin typeface="Arial"/>
            </a:endParaRPr>
          </a:p>
        </p:txBody>
      </p:sp>
      <p:sp>
        <p:nvSpPr>
          <p:cNvPr id="1709" name="CustomShape 8"/>
          <p:cNvSpPr/>
          <p:nvPr/>
        </p:nvSpPr>
        <p:spPr>
          <a:xfrm>
            <a:off x="5012171" y="2458495"/>
            <a:ext cx="1873440" cy="8920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SPI</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Kommunikationsprotokoll.</a:t>
            </a:r>
            <a:endParaRPr lang="sv-SE" sz="1100" b="0" strike="noStrike" spc="-1">
              <a:solidFill>
                <a:srgbClr val="000000"/>
              </a:solidFill>
              <a:uFill>
                <a:solidFill>
                  <a:srgbClr val="FFFFFF"/>
                </a:solidFill>
              </a:uFill>
              <a:latin typeface="Arial"/>
            </a:endParaRPr>
          </a:p>
        </p:txBody>
      </p:sp>
      <p:sp>
        <p:nvSpPr>
          <p:cNvPr id="1710" name="CustomShape 9"/>
          <p:cNvSpPr/>
          <p:nvPr/>
        </p:nvSpPr>
        <p:spPr>
          <a:xfrm>
            <a:off x="9616396" y="2466022"/>
            <a:ext cx="1873440" cy="8920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TWI</a:t>
            </a:r>
            <a:endParaRPr lang="sv-SE" sz="18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Kommunikationsprotokoll.</a:t>
            </a:r>
            <a:endParaRPr lang="sv-SE" sz="1100" b="0" strike="noStrike" spc="-1" dirty="0">
              <a:solidFill>
                <a:srgbClr val="000000"/>
              </a:solidFill>
              <a:uFill>
                <a:solidFill>
                  <a:srgbClr val="FFFFFF"/>
                </a:solidFill>
              </a:uFill>
              <a:latin typeface="Arial"/>
            </a:endParaRPr>
          </a:p>
        </p:txBody>
      </p:sp>
      <p:sp>
        <p:nvSpPr>
          <p:cNvPr id="18" name="TextShape 2">
            <a:extLst>
              <a:ext uri="{FF2B5EF4-FFF2-40B4-BE49-F238E27FC236}">
                <a16:creationId xmlns:a16="http://schemas.microsoft.com/office/drawing/2014/main" id="{78814215-0367-481C-9C55-4D1E578BA9A6}"/>
              </a:ext>
            </a:extLst>
          </p:cNvPr>
          <p:cNvSpPr txBox="1"/>
          <p:nvPr/>
        </p:nvSpPr>
        <p:spPr>
          <a:xfrm>
            <a:off x="393826" y="282517"/>
            <a:ext cx="4096897" cy="568211"/>
          </a:xfrm>
          <a:prstGeom prst="rect">
            <a:avLst/>
          </a:prstGeom>
          <a:noFill/>
          <a:ln w="9360">
            <a:noFill/>
          </a:ln>
        </p:spPr>
        <p:txBody>
          <a:bodyPr lIns="72000" tIns="36000" rIns="73080" bIns="36720">
            <a:normAutofit fontScale="85000" lnSpcReduction="10000"/>
          </a:bodyPr>
          <a:lstStyle/>
          <a:p>
            <a:pPr>
              <a:lnSpc>
                <a:spcPct val="100000"/>
              </a:lnSpc>
              <a:spcBef>
                <a:spcPts val="300"/>
              </a:spcBef>
            </a:pPr>
            <a:r>
              <a:rPr lang="en-US" sz="4000" b="0" strike="noStrike" spc="-157" dirty="0" err="1">
                <a:solidFill>
                  <a:srgbClr val="181818"/>
                </a:solidFill>
                <a:uFill>
                  <a:solidFill>
                    <a:srgbClr val="FFFFFF"/>
                  </a:solidFill>
                </a:uFill>
                <a:latin typeface="Ericsson Hilda Light"/>
              </a:rPr>
              <a:t>Översikt</a:t>
            </a:r>
            <a:r>
              <a:rPr lang="en-US" sz="4000" b="0" strike="noStrike" spc="-157" dirty="0">
                <a:solidFill>
                  <a:srgbClr val="181818"/>
                </a:solidFill>
                <a:uFill>
                  <a:solidFill>
                    <a:srgbClr val="FFFFFF"/>
                  </a:solidFill>
                </a:uFill>
                <a:latin typeface="Ericsson Hilda Light"/>
              </a:rPr>
              <a:t>: </a:t>
            </a:r>
            <a:r>
              <a:rPr lang="en-US" sz="4000" b="0" strike="noStrike" spc="-157" dirty="0" err="1">
                <a:solidFill>
                  <a:srgbClr val="181818"/>
                </a:solidFill>
                <a:uFill>
                  <a:solidFill>
                    <a:srgbClr val="FFFFFF"/>
                  </a:solidFill>
                </a:uFill>
                <a:latin typeface="Ericsson Hilda Light"/>
              </a:rPr>
              <a:t>Komponenter</a:t>
            </a:r>
            <a:endParaRPr lang="en-US" sz="4000" b="0" strike="noStrike" spc="-1" dirty="0">
              <a:solidFill>
                <a:srgbClr val="181818"/>
              </a:solidFill>
              <a:uFill>
                <a:solidFill>
                  <a:srgbClr val="FFFFFF"/>
                </a:solidFill>
              </a:uFill>
              <a:latin typeface="Ericsson Hilda"/>
            </a:endParaRPr>
          </a:p>
        </p:txBody>
      </p:sp>
      <p:sp>
        <p:nvSpPr>
          <p:cNvPr id="19" name="Rectangle 18">
            <a:extLst>
              <a:ext uri="{FF2B5EF4-FFF2-40B4-BE49-F238E27FC236}">
                <a16:creationId xmlns:a16="http://schemas.microsoft.com/office/drawing/2014/main" id="{4FD7642C-D224-4601-9886-17A950AC3206}"/>
              </a:ext>
            </a:extLst>
          </p:cNvPr>
          <p:cNvSpPr/>
          <p:nvPr/>
        </p:nvSpPr>
        <p:spPr>
          <a:xfrm>
            <a:off x="11277600" y="309217"/>
            <a:ext cx="649357" cy="592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0" name="CustomShape 3">
            <a:extLst>
              <a:ext uri="{FF2B5EF4-FFF2-40B4-BE49-F238E27FC236}">
                <a16:creationId xmlns:a16="http://schemas.microsoft.com/office/drawing/2014/main" id="{49A7169F-B6B4-9544-62AC-340281364C8C}"/>
              </a:ext>
            </a:extLst>
          </p:cNvPr>
          <p:cNvSpPr/>
          <p:nvPr/>
        </p:nvSpPr>
        <p:spPr>
          <a:xfrm>
            <a:off x="5012171" y="4600233"/>
            <a:ext cx="1873440" cy="878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DAmatrix</a:t>
            </a:r>
            <a:endParaRPr lang="sv-SE" sz="18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skärm.</a:t>
            </a:r>
            <a:endParaRPr lang="sv-SE" sz="1100" b="0" strike="noStrike" spc="-1" dirty="0">
              <a:solidFill>
                <a:srgbClr val="000000"/>
              </a:solidFill>
              <a:uFill>
                <a:solidFill>
                  <a:srgbClr val="FFFFFF"/>
                </a:solidFill>
              </a:uFill>
              <a:latin typeface="Arial"/>
            </a:endParaRPr>
          </a:p>
        </p:txBody>
      </p:sp>
      <p:sp>
        <p:nvSpPr>
          <p:cNvPr id="21" name="CustomShape 3">
            <a:extLst>
              <a:ext uri="{FF2B5EF4-FFF2-40B4-BE49-F238E27FC236}">
                <a16:creationId xmlns:a16="http://schemas.microsoft.com/office/drawing/2014/main" id="{3ACECF72-F806-CE6A-1CB5-02851D83FECC}"/>
              </a:ext>
            </a:extLst>
          </p:cNvPr>
          <p:cNvSpPr/>
          <p:nvPr/>
        </p:nvSpPr>
        <p:spPr>
          <a:xfrm>
            <a:off x="5012171" y="5663543"/>
            <a:ext cx="1873440" cy="878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DAmatrix</a:t>
            </a:r>
            <a:endParaRPr lang="sv-SE" sz="18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skärm.</a:t>
            </a:r>
            <a:endParaRPr lang="sv-SE" sz="1100" b="0" strike="noStrike" spc="-1" dirty="0">
              <a:solidFill>
                <a:srgbClr val="000000"/>
              </a:solidFill>
              <a:uFill>
                <a:solidFill>
                  <a:srgbClr val="FFFFFF"/>
                </a:solidFill>
              </a:uFill>
              <a:latin typeface="Arial"/>
            </a:endParaRPr>
          </a:p>
        </p:txBody>
      </p:sp>
      <p:sp>
        <p:nvSpPr>
          <p:cNvPr id="24" name="CustomShape 2">
            <a:extLst>
              <a:ext uri="{FF2B5EF4-FFF2-40B4-BE49-F238E27FC236}">
                <a16:creationId xmlns:a16="http://schemas.microsoft.com/office/drawing/2014/main" id="{A5B77608-CC78-23D9-8EE7-5D9444B0FE8F}"/>
              </a:ext>
            </a:extLst>
          </p:cNvPr>
          <p:cNvSpPr/>
          <p:nvPr/>
        </p:nvSpPr>
        <p:spPr>
          <a:xfrm>
            <a:off x="7330850" y="159468"/>
            <a:ext cx="1873440" cy="8920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chemeClr val="bg1"/>
                </a:solidFill>
                <a:uFill>
                  <a:solidFill>
                    <a:srgbClr val="FFFFFF"/>
                  </a:solidFill>
                </a:uFill>
                <a:latin typeface="Ericsson Hilda"/>
              </a:rPr>
              <a:t>Arduino Uno </a:t>
            </a:r>
            <a:endParaRPr lang="sv-SE" sz="1800" b="0" strike="noStrike" spc="-1" dirty="0">
              <a:solidFill>
                <a:schemeClr val="bg1"/>
              </a:solidFill>
              <a:uFill>
                <a:solidFill>
                  <a:srgbClr val="FFFFFF"/>
                </a:solidFill>
              </a:uFill>
              <a:latin typeface="Arial"/>
            </a:endParaRPr>
          </a:p>
          <a:p>
            <a:pPr>
              <a:lnSpc>
                <a:spcPct val="100000"/>
              </a:lnSpc>
            </a:pPr>
            <a:r>
              <a:rPr lang="sv-SE" sz="1100" b="1" strike="noStrike" spc="-1" dirty="0">
                <a:solidFill>
                  <a:schemeClr val="bg1"/>
                </a:solidFill>
                <a:uFill>
                  <a:solidFill>
                    <a:srgbClr val="FFFFFF"/>
                  </a:solidFill>
                </a:uFill>
                <a:latin typeface="Ericsson Hilda"/>
              </a:rPr>
              <a:t>Syfte:</a:t>
            </a:r>
            <a:endParaRPr lang="sv-SE" sz="1100" b="0" strike="noStrike" spc="-1" dirty="0">
              <a:solidFill>
                <a:schemeClr val="bg1"/>
              </a:solidFill>
              <a:uFill>
                <a:solidFill>
                  <a:srgbClr val="FFFFFF"/>
                </a:solidFill>
              </a:uFill>
              <a:latin typeface="Arial"/>
            </a:endParaRPr>
          </a:p>
          <a:p>
            <a:pPr>
              <a:lnSpc>
                <a:spcPct val="100000"/>
              </a:lnSpc>
            </a:pPr>
            <a:r>
              <a:rPr lang="sv-SE" sz="1100" b="0" strike="noStrike" spc="-1" dirty="0">
                <a:solidFill>
                  <a:schemeClr val="bg1"/>
                </a:solidFill>
                <a:uFill>
                  <a:solidFill>
                    <a:srgbClr val="FFFFFF"/>
                  </a:solidFill>
                </a:uFill>
                <a:latin typeface="Ericsson Hilda"/>
              </a:rPr>
              <a:t>Spelplattform</a:t>
            </a:r>
            <a:endParaRPr lang="sv-SE" sz="1100" b="0" strike="noStrike" spc="-1" dirty="0">
              <a:solidFill>
                <a:schemeClr val="bg1"/>
              </a:solidFill>
              <a:uFill>
                <a:solidFill>
                  <a:srgbClr val="FFFFFF"/>
                </a:solidFill>
              </a:uFill>
              <a:latin typeface="Arial"/>
            </a:endParaRPr>
          </a:p>
        </p:txBody>
      </p:sp>
      <p:sp>
        <p:nvSpPr>
          <p:cNvPr id="25" name="CustomShape 9">
            <a:extLst>
              <a:ext uri="{FF2B5EF4-FFF2-40B4-BE49-F238E27FC236}">
                <a16:creationId xmlns:a16="http://schemas.microsoft.com/office/drawing/2014/main" id="{60461610-E5C8-A67A-EAE5-E462A82C0185}"/>
              </a:ext>
            </a:extLst>
          </p:cNvPr>
          <p:cNvSpPr/>
          <p:nvPr/>
        </p:nvSpPr>
        <p:spPr>
          <a:xfrm>
            <a:off x="7330850" y="2463972"/>
            <a:ext cx="1873440" cy="892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200" b="1" strike="noStrike" spc="-1" dirty="0">
                <a:solidFill>
                  <a:schemeClr val="bg1"/>
                </a:solidFill>
                <a:uFill>
                  <a:solidFill>
                    <a:srgbClr val="FFFFFF"/>
                  </a:solidFill>
                </a:uFill>
                <a:latin typeface="Ericsson Hilda"/>
              </a:rPr>
              <a:t>Direktkommunikation</a:t>
            </a:r>
            <a:endParaRPr lang="sv-SE" sz="1200" b="0" strike="noStrike" spc="-1" dirty="0">
              <a:solidFill>
                <a:schemeClr val="bg1"/>
              </a:solidFill>
              <a:uFill>
                <a:solidFill>
                  <a:srgbClr val="FFFFFF"/>
                </a:solidFill>
              </a:uFill>
              <a:latin typeface="Arial"/>
            </a:endParaRPr>
          </a:p>
          <a:p>
            <a:pPr>
              <a:lnSpc>
                <a:spcPct val="100000"/>
              </a:lnSpc>
            </a:pPr>
            <a:r>
              <a:rPr lang="sv-SE" sz="1100" b="1" strike="noStrike" spc="-1" dirty="0">
                <a:solidFill>
                  <a:schemeClr val="bg1"/>
                </a:solidFill>
                <a:uFill>
                  <a:solidFill>
                    <a:srgbClr val="FFFFFF"/>
                  </a:solidFill>
                </a:uFill>
                <a:latin typeface="Ericsson Hilda"/>
              </a:rPr>
              <a:t>Syfte:</a:t>
            </a:r>
            <a:endParaRPr lang="sv-SE" sz="1100" b="0" strike="noStrike" spc="-1" dirty="0">
              <a:solidFill>
                <a:schemeClr val="bg1"/>
              </a:solidFill>
              <a:uFill>
                <a:solidFill>
                  <a:srgbClr val="FFFFFF"/>
                </a:solidFill>
              </a:uFill>
              <a:latin typeface="Arial"/>
            </a:endParaRPr>
          </a:p>
          <a:p>
            <a:pPr>
              <a:lnSpc>
                <a:spcPct val="100000"/>
              </a:lnSpc>
            </a:pPr>
            <a:r>
              <a:rPr lang="sv-SE" sz="1100" b="0" strike="noStrike" spc="-1" dirty="0">
                <a:solidFill>
                  <a:schemeClr val="bg1"/>
                </a:solidFill>
                <a:uFill>
                  <a:solidFill>
                    <a:srgbClr val="FFFFFF"/>
                  </a:solidFill>
                </a:uFill>
                <a:latin typeface="Ericsson Hilda"/>
              </a:rPr>
              <a:t>Kommunikationsprotokoll.</a:t>
            </a:r>
            <a:endParaRPr lang="sv-SE" sz="1100" b="0" strike="noStrike" spc="-1" dirty="0">
              <a:solidFill>
                <a:schemeClr val="bg1"/>
              </a:solidFill>
              <a:uFill>
                <a:solidFill>
                  <a:srgbClr val="FFFFFF"/>
                </a:solidFill>
              </a:uFill>
              <a:latin typeface="Arial"/>
            </a:endParaRPr>
          </a:p>
        </p:txBody>
      </p:sp>
      <p:cxnSp>
        <p:nvCxnSpPr>
          <p:cNvPr id="6" name="Straight Arrow Connector 5">
            <a:extLst>
              <a:ext uri="{FF2B5EF4-FFF2-40B4-BE49-F238E27FC236}">
                <a16:creationId xmlns:a16="http://schemas.microsoft.com/office/drawing/2014/main" id="{72E63F2E-FF27-29A0-15C7-EF799625B252}"/>
              </a:ext>
            </a:extLst>
          </p:cNvPr>
          <p:cNvCxnSpPr>
            <a:cxnSpLocks/>
            <a:stCxn id="25" idx="0"/>
            <a:endCxn id="1703" idx="2"/>
          </p:cNvCxnSpPr>
          <p:nvPr/>
        </p:nvCxnSpPr>
        <p:spPr>
          <a:xfrm flipV="1">
            <a:off x="8267570" y="2184511"/>
            <a:ext cx="1" cy="2794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65FC2E7-D1C3-F623-589C-6BFEE64F1DF8}"/>
              </a:ext>
            </a:extLst>
          </p:cNvPr>
          <p:cNvCxnSpPr>
            <a:stCxn id="1703" idx="0"/>
            <a:endCxn id="24" idx="2"/>
          </p:cNvCxnSpPr>
          <p:nvPr/>
        </p:nvCxnSpPr>
        <p:spPr>
          <a:xfrm flipH="1" flipV="1">
            <a:off x="8267570" y="1051548"/>
            <a:ext cx="1" cy="2408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0084470"/>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3" name="CustomShape 2"/>
          <p:cNvSpPr/>
          <p:nvPr/>
        </p:nvSpPr>
        <p:spPr>
          <a:xfrm>
            <a:off x="5375089" y="3319521"/>
            <a:ext cx="1873440" cy="8920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chemeClr val="bg1"/>
                </a:solidFill>
                <a:uFill>
                  <a:solidFill>
                    <a:srgbClr val="FFFFFF"/>
                  </a:solidFill>
                </a:uFill>
                <a:latin typeface="Ericsson Hilda"/>
              </a:rPr>
              <a:t>DAvid </a:t>
            </a:r>
            <a:endParaRPr lang="sv-SE" sz="1800" b="0" strike="noStrike" spc="-1" dirty="0">
              <a:solidFill>
                <a:schemeClr val="bg1"/>
              </a:solidFill>
              <a:uFill>
                <a:solidFill>
                  <a:srgbClr val="FFFFFF"/>
                </a:solidFill>
              </a:uFill>
              <a:latin typeface="Arial"/>
            </a:endParaRPr>
          </a:p>
          <a:p>
            <a:pPr>
              <a:lnSpc>
                <a:spcPct val="100000"/>
              </a:lnSpc>
            </a:pPr>
            <a:r>
              <a:rPr lang="sv-SE" sz="1100" b="1" strike="noStrike" spc="-1" dirty="0">
                <a:solidFill>
                  <a:schemeClr val="bg1"/>
                </a:solidFill>
                <a:uFill>
                  <a:solidFill>
                    <a:srgbClr val="FFFFFF"/>
                  </a:solidFill>
                </a:uFill>
                <a:latin typeface="Ericsson Hilda"/>
              </a:rPr>
              <a:t>Syfte:</a:t>
            </a:r>
            <a:endParaRPr lang="sv-SE" sz="1100" b="0" strike="noStrike" spc="-1" dirty="0">
              <a:solidFill>
                <a:schemeClr val="bg1"/>
              </a:solidFill>
              <a:uFill>
                <a:solidFill>
                  <a:srgbClr val="FFFFFF"/>
                </a:solidFill>
              </a:uFill>
              <a:latin typeface="Arial"/>
            </a:endParaRPr>
          </a:p>
          <a:p>
            <a:pPr>
              <a:lnSpc>
                <a:spcPct val="100000"/>
              </a:lnSpc>
            </a:pPr>
            <a:r>
              <a:rPr lang="sv-SE" sz="1100" b="0" strike="noStrike" spc="-1" dirty="0">
                <a:solidFill>
                  <a:schemeClr val="bg1"/>
                </a:solidFill>
                <a:uFill>
                  <a:solidFill>
                    <a:srgbClr val="FFFFFF"/>
                  </a:solidFill>
                </a:uFill>
                <a:latin typeface="Ericsson Hilda"/>
              </a:rPr>
              <a:t>Spelplattform</a:t>
            </a:r>
            <a:endParaRPr lang="sv-SE" sz="1100" b="0" strike="noStrike" spc="-1" dirty="0">
              <a:solidFill>
                <a:schemeClr val="bg1"/>
              </a:solidFill>
              <a:uFill>
                <a:solidFill>
                  <a:srgbClr val="FFFFFF"/>
                </a:solidFill>
              </a:uFill>
              <a:latin typeface="Arial"/>
            </a:endParaRPr>
          </a:p>
        </p:txBody>
      </p:sp>
      <p:sp>
        <p:nvSpPr>
          <p:cNvPr id="1704" name="CustomShape 3"/>
          <p:cNvSpPr/>
          <p:nvPr/>
        </p:nvSpPr>
        <p:spPr>
          <a:xfrm>
            <a:off x="3034652" y="5818108"/>
            <a:ext cx="1327670" cy="878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DAmatrix</a:t>
            </a:r>
            <a:endParaRPr lang="sv-SE" sz="18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skärm.</a:t>
            </a:r>
            <a:endParaRPr lang="sv-SE" sz="1100" b="0" strike="noStrike" spc="-1" dirty="0">
              <a:solidFill>
                <a:srgbClr val="000000"/>
              </a:solidFill>
              <a:uFill>
                <a:solidFill>
                  <a:srgbClr val="FFFFFF"/>
                </a:solidFill>
              </a:uFill>
              <a:latin typeface="Arial"/>
            </a:endParaRPr>
          </a:p>
        </p:txBody>
      </p:sp>
      <p:sp>
        <p:nvSpPr>
          <p:cNvPr id="1706" name="CustomShape 5"/>
          <p:cNvSpPr/>
          <p:nvPr/>
        </p:nvSpPr>
        <p:spPr>
          <a:xfrm>
            <a:off x="4559511" y="5824948"/>
            <a:ext cx="1475529" cy="8784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Högtalare</a:t>
            </a:r>
            <a:endParaRPr lang="sv-SE" sz="18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a upp ljud vid start och slut.</a:t>
            </a:r>
            <a:endParaRPr lang="sv-SE" sz="1100" b="0" strike="noStrike" spc="-1" dirty="0">
              <a:solidFill>
                <a:srgbClr val="000000"/>
              </a:solidFill>
              <a:uFill>
                <a:solidFill>
                  <a:srgbClr val="FFFFFF"/>
                </a:solidFill>
              </a:uFill>
              <a:latin typeface="Arial"/>
            </a:endParaRPr>
          </a:p>
        </p:txBody>
      </p:sp>
      <p:sp>
        <p:nvSpPr>
          <p:cNvPr id="1709" name="CustomShape 8"/>
          <p:cNvSpPr/>
          <p:nvPr/>
        </p:nvSpPr>
        <p:spPr>
          <a:xfrm>
            <a:off x="1327241" y="4650802"/>
            <a:ext cx="1873440" cy="8920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chemeClr val="bg1"/>
                </a:solidFill>
                <a:uFill>
                  <a:solidFill>
                    <a:srgbClr val="FFFFFF"/>
                  </a:solidFill>
                </a:uFill>
                <a:latin typeface="Ericsson Hilda"/>
              </a:rPr>
              <a:t>SPI</a:t>
            </a:r>
            <a:endParaRPr lang="sv-SE" sz="1800" b="0" strike="noStrike" spc="-1" dirty="0">
              <a:solidFill>
                <a:schemeClr val="bg1"/>
              </a:solidFill>
              <a:uFill>
                <a:solidFill>
                  <a:srgbClr val="FFFFFF"/>
                </a:solidFill>
              </a:uFill>
              <a:latin typeface="Arial"/>
            </a:endParaRPr>
          </a:p>
          <a:p>
            <a:pPr>
              <a:lnSpc>
                <a:spcPct val="100000"/>
              </a:lnSpc>
            </a:pPr>
            <a:r>
              <a:rPr lang="sv-SE" sz="1100" b="1" strike="noStrike" spc="-1" dirty="0">
                <a:solidFill>
                  <a:schemeClr val="bg1"/>
                </a:solidFill>
                <a:uFill>
                  <a:solidFill>
                    <a:srgbClr val="FFFFFF"/>
                  </a:solidFill>
                </a:uFill>
                <a:latin typeface="Ericsson Hilda"/>
              </a:rPr>
              <a:t>Syfte:</a:t>
            </a:r>
            <a:endParaRPr lang="sv-SE" sz="1100" b="0" strike="noStrike" spc="-1" dirty="0">
              <a:solidFill>
                <a:schemeClr val="bg1"/>
              </a:solidFill>
              <a:uFill>
                <a:solidFill>
                  <a:srgbClr val="FFFFFF"/>
                </a:solidFill>
              </a:uFill>
              <a:latin typeface="Arial"/>
            </a:endParaRPr>
          </a:p>
          <a:p>
            <a:pPr>
              <a:lnSpc>
                <a:spcPct val="100000"/>
              </a:lnSpc>
            </a:pPr>
            <a:r>
              <a:rPr lang="sv-SE" sz="1100" b="0" strike="noStrike" spc="-1" dirty="0">
                <a:solidFill>
                  <a:schemeClr val="bg1"/>
                </a:solidFill>
                <a:uFill>
                  <a:solidFill>
                    <a:srgbClr val="FFFFFF"/>
                  </a:solidFill>
                </a:uFill>
                <a:latin typeface="Ericsson Hilda"/>
              </a:rPr>
              <a:t>Kommunikationsprotokoll.</a:t>
            </a:r>
            <a:endParaRPr lang="sv-SE" sz="1100" b="0" strike="noStrike" spc="-1" dirty="0">
              <a:solidFill>
                <a:schemeClr val="bg1"/>
              </a:solidFill>
              <a:uFill>
                <a:solidFill>
                  <a:srgbClr val="FFFFFF"/>
                </a:solidFill>
              </a:uFill>
              <a:latin typeface="Arial"/>
            </a:endParaRPr>
          </a:p>
        </p:txBody>
      </p:sp>
      <p:sp>
        <p:nvSpPr>
          <p:cNvPr id="1710" name="CustomShape 9"/>
          <p:cNvSpPr/>
          <p:nvPr/>
        </p:nvSpPr>
        <p:spPr>
          <a:xfrm>
            <a:off x="8764155" y="4650801"/>
            <a:ext cx="1827719" cy="8920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chemeClr val="bg1"/>
                </a:solidFill>
                <a:uFill>
                  <a:solidFill>
                    <a:srgbClr val="FFFFFF"/>
                  </a:solidFill>
                </a:uFill>
                <a:latin typeface="Ericsson Hilda"/>
              </a:rPr>
              <a:t>TWI</a:t>
            </a:r>
            <a:endParaRPr lang="sv-SE" sz="1800" b="0" strike="noStrike" spc="-1" dirty="0">
              <a:solidFill>
                <a:schemeClr val="bg1"/>
              </a:solidFill>
              <a:uFill>
                <a:solidFill>
                  <a:srgbClr val="FFFFFF"/>
                </a:solidFill>
              </a:uFill>
              <a:latin typeface="Arial"/>
            </a:endParaRPr>
          </a:p>
          <a:p>
            <a:pPr>
              <a:lnSpc>
                <a:spcPct val="100000"/>
              </a:lnSpc>
            </a:pPr>
            <a:r>
              <a:rPr lang="sv-SE" sz="1100" b="1" strike="noStrike" spc="-1" dirty="0">
                <a:solidFill>
                  <a:schemeClr val="bg1"/>
                </a:solidFill>
                <a:uFill>
                  <a:solidFill>
                    <a:srgbClr val="FFFFFF"/>
                  </a:solidFill>
                </a:uFill>
                <a:latin typeface="Ericsson Hilda"/>
              </a:rPr>
              <a:t>Syfte:</a:t>
            </a:r>
            <a:endParaRPr lang="sv-SE" sz="1100" b="0" strike="noStrike" spc="-1" dirty="0">
              <a:solidFill>
                <a:schemeClr val="bg1"/>
              </a:solidFill>
              <a:uFill>
                <a:solidFill>
                  <a:srgbClr val="FFFFFF"/>
                </a:solidFill>
              </a:uFill>
              <a:latin typeface="Arial"/>
            </a:endParaRPr>
          </a:p>
          <a:p>
            <a:pPr>
              <a:lnSpc>
                <a:spcPct val="100000"/>
              </a:lnSpc>
            </a:pPr>
            <a:r>
              <a:rPr lang="sv-SE" sz="1100" b="0" strike="noStrike" spc="-1" dirty="0">
                <a:solidFill>
                  <a:schemeClr val="bg1"/>
                </a:solidFill>
                <a:uFill>
                  <a:solidFill>
                    <a:srgbClr val="FFFFFF"/>
                  </a:solidFill>
                </a:uFill>
                <a:latin typeface="Ericsson Hilda"/>
              </a:rPr>
              <a:t>Kommunikationsprotokoll.</a:t>
            </a:r>
            <a:endParaRPr lang="sv-SE" sz="1100" b="0" strike="noStrike" spc="-1" dirty="0">
              <a:solidFill>
                <a:schemeClr val="bg1"/>
              </a:solidFill>
              <a:uFill>
                <a:solidFill>
                  <a:srgbClr val="FFFFFF"/>
                </a:solidFill>
              </a:uFill>
              <a:latin typeface="Arial"/>
            </a:endParaRPr>
          </a:p>
        </p:txBody>
      </p:sp>
      <p:sp>
        <p:nvSpPr>
          <p:cNvPr id="19" name="Rectangle 18">
            <a:extLst>
              <a:ext uri="{FF2B5EF4-FFF2-40B4-BE49-F238E27FC236}">
                <a16:creationId xmlns:a16="http://schemas.microsoft.com/office/drawing/2014/main" id="{4FD7642C-D224-4601-9886-17A950AC3206}"/>
              </a:ext>
            </a:extLst>
          </p:cNvPr>
          <p:cNvSpPr/>
          <p:nvPr/>
        </p:nvSpPr>
        <p:spPr>
          <a:xfrm>
            <a:off x="11277600" y="309217"/>
            <a:ext cx="649357" cy="592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4" name="CustomShape 2">
            <a:extLst>
              <a:ext uri="{FF2B5EF4-FFF2-40B4-BE49-F238E27FC236}">
                <a16:creationId xmlns:a16="http://schemas.microsoft.com/office/drawing/2014/main" id="{A5B77608-CC78-23D9-8EE7-5D9444B0FE8F}"/>
              </a:ext>
            </a:extLst>
          </p:cNvPr>
          <p:cNvSpPr/>
          <p:nvPr/>
        </p:nvSpPr>
        <p:spPr>
          <a:xfrm>
            <a:off x="5375089" y="2145374"/>
            <a:ext cx="1873440" cy="8920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chemeClr val="bg1"/>
                </a:solidFill>
                <a:uFill>
                  <a:solidFill>
                    <a:srgbClr val="FFFFFF"/>
                  </a:solidFill>
                </a:uFill>
                <a:latin typeface="Ericsson Hilda"/>
              </a:rPr>
              <a:t>Arduino Uno </a:t>
            </a:r>
            <a:endParaRPr lang="sv-SE" sz="1800" b="0" strike="noStrike" spc="-1" dirty="0">
              <a:solidFill>
                <a:schemeClr val="bg1"/>
              </a:solidFill>
              <a:uFill>
                <a:solidFill>
                  <a:srgbClr val="FFFFFF"/>
                </a:solidFill>
              </a:uFill>
              <a:latin typeface="Arial"/>
            </a:endParaRPr>
          </a:p>
          <a:p>
            <a:pPr>
              <a:lnSpc>
                <a:spcPct val="100000"/>
              </a:lnSpc>
            </a:pPr>
            <a:r>
              <a:rPr lang="sv-SE" sz="1100" b="1" strike="noStrike" spc="-1" dirty="0">
                <a:solidFill>
                  <a:schemeClr val="bg1"/>
                </a:solidFill>
                <a:uFill>
                  <a:solidFill>
                    <a:srgbClr val="FFFFFF"/>
                  </a:solidFill>
                </a:uFill>
                <a:latin typeface="Ericsson Hilda"/>
              </a:rPr>
              <a:t>Syfte:</a:t>
            </a:r>
            <a:endParaRPr lang="sv-SE" sz="1100" b="0" strike="noStrike" spc="-1" dirty="0">
              <a:solidFill>
                <a:schemeClr val="bg1"/>
              </a:solidFill>
              <a:uFill>
                <a:solidFill>
                  <a:srgbClr val="FFFFFF"/>
                </a:solidFill>
              </a:uFill>
              <a:latin typeface="Arial"/>
            </a:endParaRPr>
          </a:p>
          <a:p>
            <a:pPr>
              <a:lnSpc>
                <a:spcPct val="100000"/>
              </a:lnSpc>
            </a:pPr>
            <a:r>
              <a:rPr lang="sv-SE" sz="1100" b="0" strike="noStrike" spc="-1" dirty="0">
                <a:solidFill>
                  <a:schemeClr val="bg1"/>
                </a:solidFill>
                <a:uFill>
                  <a:solidFill>
                    <a:srgbClr val="FFFFFF"/>
                  </a:solidFill>
                </a:uFill>
                <a:latin typeface="Ericsson Hilda"/>
              </a:rPr>
              <a:t>Mikroprocessor</a:t>
            </a:r>
            <a:endParaRPr lang="sv-SE" sz="1100" b="0" strike="noStrike" spc="-1" dirty="0">
              <a:solidFill>
                <a:schemeClr val="bg1"/>
              </a:solidFill>
              <a:uFill>
                <a:solidFill>
                  <a:srgbClr val="FFFFFF"/>
                </a:solidFill>
              </a:uFill>
              <a:latin typeface="Arial"/>
            </a:endParaRPr>
          </a:p>
        </p:txBody>
      </p:sp>
      <p:sp>
        <p:nvSpPr>
          <p:cNvPr id="25" name="CustomShape 9">
            <a:extLst>
              <a:ext uri="{FF2B5EF4-FFF2-40B4-BE49-F238E27FC236}">
                <a16:creationId xmlns:a16="http://schemas.microsoft.com/office/drawing/2014/main" id="{60461610-E5C8-A67A-EAE5-E462A82C0185}"/>
              </a:ext>
            </a:extLst>
          </p:cNvPr>
          <p:cNvSpPr/>
          <p:nvPr/>
        </p:nvSpPr>
        <p:spPr>
          <a:xfrm>
            <a:off x="5375088" y="4650801"/>
            <a:ext cx="1873440" cy="892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200" b="1" strike="noStrike" spc="-1" dirty="0">
                <a:solidFill>
                  <a:schemeClr val="bg1"/>
                </a:solidFill>
                <a:uFill>
                  <a:solidFill>
                    <a:srgbClr val="FFFFFF"/>
                  </a:solidFill>
                </a:uFill>
                <a:latin typeface="Ericsson Hilda"/>
              </a:rPr>
              <a:t>Direktkommunikation</a:t>
            </a:r>
            <a:endParaRPr lang="sv-SE" sz="1200" b="0" strike="noStrike" spc="-1" dirty="0">
              <a:solidFill>
                <a:schemeClr val="bg1"/>
              </a:solidFill>
              <a:uFill>
                <a:solidFill>
                  <a:srgbClr val="FFFFFF"/>
                </a:solidFill>
              </a:uFill>
              <a:latin typeface="Arial"/>
            </a:endParaRPr>
          </a:p>
          <a:p>
            <a:pPr>
              <a:lnSpc>
                <a:spcPct val="100000"/>
              </a:lnSpc>
            </a:pPr>
            <a:r>
              <a:rPr lang="sv-SE" sz="1100" b="1" strike="noStrike" spc="-1" dirty="0">
                <a:solidFill>
                  <a:schemeClr val="bg1"/>
                </a:solidFill>
                <a:uFill>
                  <a:solidFill>
                    <a:srgbClr val="FFFFFF"/>
                  </a:solidFill>
                </a:uFill>
                <a:latin typeface="Ericsson Hilda"/>
              </a:rPr>
              <a:t>Syfte:</a:t>
            </a:r>
            <a:endParaRPr lang="sv-SE" sz="1100" b="0" strike="noStrike" spc="-1" dirty="0">
              <a:solidFill>
                <a:schemeClr val="bg1"/>
              </a:solidFill>
              <a:uFill>
                <a:solidFill>
                  <a:srgbClr val="FFFFFF"/>
                </a:solidFill>
              </a:uFill>
              <a:latin typeface="Arial"/>
            </a:endParaRPr>
          </a:p>
          <a:p>
            <a:pPr>
              <a:lnSpc>
                <a:spcPct val="100000"/>
              </a:lnSpc>
            </a:pPr>
            <a:r>
              <a:rPr lang="sv-SE" sz="1100" b="0" strike="noStrike" spc="-1" dirty="0">
                <a:solidFill>
                  <a:schemeClr val="bg1"/>
                </a:solidFill>
                <a:uFill>
                  <a:solidFill>
                    <a:srgbClr val="FFFFFF"/>
                  </a:solidFill>
                </a:uFill>
                <a:latin typeface="Ericsson Hilda"/>
              </a:rPr>
              <a:t>Kommunikationsprotokoll.</a:t>
            </a:r>
            <a:endParaRPr lang="sv-SE" sz="1100" b="0" strike="noStrike" spc="-1" dirty="0">
              <a:solidFill>
                <a:schemeClr val="bg1"/>
              </a:solidFill>
              <a:uFill>
                <a:solidFill>
                  <a:srgbClr val="FFFFFF"/>
                </a:solidFill>
              </a:uFill>
              <a:latin typeface="Arial"/>
            </a:endParaRPr>
          </a:p>
        </p:txBody>
      </p:sp>
      <p:cxnSp>
        <p:nvCxnSpPr>
          <p:cNvPr id="6" name="Straight Arrow Connector 5">
            <a:extLst>
              <a:ext uri="{FF2B5EF4-FFF2-40B4-BE49-F238E27FC236}">
                <a16:creationId xmlns:a16="http://schemas.microsoft.com/office/drawing/2014/main" id="{72E63F2E-FF27-29A0-15C7-EF799625B252}"/>
              </a:ext>
            </a:extLst>
          </p:cNvPr>
          <p:cNvCxnSpPr>
            <a:cxnSpLocks/>
            <a:stCxn id="25" idx="0"/>
            <a:endCxn id="1703" idx="2"/>
          </p:cNvCxnSpPr>
          <p:nvPr/>
        </p:nvCxnSpPr>
        <p:spPr>
          <a:xfrm flipV="1">
            <a:off x="6311808" y="4211601"/>
            <a:ext cx="1" cy="43920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65FC2E7-D1C3-F623-589C-6BFEE64F1DF8}"/>
              </a:ext>
            </a:extLst>
          </p:cNvPr>
          <p:cNvCxnSpPr>
            <a:stCxn id="1703" idx="0"/>
            <a:endCxn id="24" idx="2"/>
          </p:cNvCxnSpPr>
          <p:nvPr/>
        </p:nvCxnSpPr>
        <p:spPr>
          <a:xfrm flipV="1">
            <a:off x="6311809" y="3037454"/>
            <a:ext cx="0" cy="28206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 name="Straight Arrow Connector 2">
            <a:extLst>
              <a:ext uri="{FF2B5EF4-FFF2-40B4-BE49-F238E27FC236}">
                <a16:creationId xmlns:a16="http://schemas.microsoft.com/office/drawing/2014/main" id="{DAA37092-0352-4A3C-A14B-0F10E9BB0BB0}"/>
              </a:ext>
            </a:extLst>
          </p:cNvPr>
          <p:cNvCxnSpPr>
            <a:cxnSpLocks/>
            <a:stCxn id="42" idx="0"/>
            <a:endCxn id="1709" idx="2"/>
          </p:cNvCxnSpPr>
          <p:nvPr/>
        </p:nvCxnSpPr>
        <p:spPr>
          <a:xfrm rot="5400000" flipH="1" flipV="1">
            <a:off x="1406555" y="4960702"/>
            <a:ext cx="275226" cy="1439586"/>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24270099-0590-9F75-E5A5-9D1C2E14396A}"/>
              </a:ext>
            </a:extLst>
          </p:cNvPr>
          <p:cNvCxnSpPr>
            <a:cxnSpLocks/>
            <a:stCxn id="1704" idx="0"/>
            <a:endCxn id="1709" idx="2"/>
          </p:cNvCxnSpPr>
          <p:nvPr/>
        </p:nvCxnSpPr>
        <p:spPr>
          <a:xfrm rot="16200000" flipV="1">
            <a:off x="2843611" y="4963232"/>
            <a:ext cx="275226" cy="1434526"/>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1A6E09CA-6DB8-9B3C-EB97-11AF6D914D3C}"/>
              </a:ext>
            </a:extLst>
          </p:cNvPr>
          <p:cNvCxnSpPr>
            <a:cxnSpLocks/>
            <a:stCxn id="39" idx="0"/>
            <a:endCxn id="1709" idx="2"/>
          </p:cNvCxnSpPr>
          <p:nvPr/>
        </p:nvCxnSpPr>
        <p:spPr>
          <a:xfrm flipV="1">
            <a:off x="2263961" y="5542882"/>
            <a:ext cx="0" cy="27522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C501C88D-257A-8C46-7B7C-5BAD41F6C908}"/>
              </a:ext>
            </a:extLst>
          </p:cNvPr>
          <p:cNvCxnSpPr>
            <a:cxnSpLocks/>
            <a:stCxn id="50" idx="0"/>
            <a:endCxn id="1710" idx="2"/>
          </p:cNvCxnSpPr>
          <p:nvPr/>
        </p:nvCxnSpPr>
        <p:spPr>
          <a:xfrm rot="5400000" flipH="1" flipV="1">
            <a:off x="9492907" y="5633000"/>
            <a:ext cx="275227" cy="94990"/>
          </a:xfrm>
          <a:prstGeom prst="bentConnector3">
            <a:avLst>
              <a:gd name="adj1" fmla="val 50000"/>
            </a:avLst>
          </a:prstGeom>
          <a:ln w="28575">
            <a:tailEnd type="triangle"/>
          </a:ln>
        </p:spPr>
        <p:style>
          <a:lnRef idx="1">
            <a:schemeClr val="accent3"/>
          </a:lnRef>
          <a:fillRef idx="0">
            <a:schemeClr val="accent3"/>
          </a:fillRef>
          <a:effectRef idx="0">
            <a:schemeClr val="accent3"/>
          </a:effectRef>
          <a:fontRef idx="minor">
            <a:schemeClr val="tx1"/>
          </a:fontRef>
        </p:style>
      </p:cxnSp>
      <p:cxnSp>
        <p:nvCxnSpPr>
          <p:cNvPr id="12" name="Connector: Elbow 11">
            <a:extLst>
              <a:ext uri="{FF2B5EF4-FFF2-40B4-BE49-F238E27FC236}">
                <a16:creationId xmlns:a16="http://schemas.microsoft.com/office/drawing/2014/main" id="{DB524CC8-79B0-7802-5951-4AE4E248A453}"/>
              </a:ext>
            </a:extLst>
          </p:cNvPr>
          <p:cNvCxnSpPr>
            <a:cxnSpLocks/>
            <a:stCxn id="53" idx="0"/>
            <a:endCxn id="1710" idx="2"/>
          </p:cNvCxnSpPr>
          <p:nvPr/>
        </p:nvCxnSpPr>
        <p:spPr>
          <a:xfrm rot="16200000" flipV="1">
            <a:off x="10385207" y="4835690"/>
            <a:ext cx="275227" cy="1689610"/>
          </a:xfrm>
          <a:prstGeom prst="bentConnector3">
            <a:avLst/>
          </a:prstGeom>
          <a:ln w="28575">
            <a:tailEnd type="triangle"/>
          </a:ln>
        </p:spPr>
        <p:style>
          <a:lnRef idx="1">
            <a:schemeClr val="accent3"/>
          </a:lnRef>
          <a:fillRef idx="0">
            <a:schemeClr val="accent3"/>
          </a:fillRef>
          <a:effectRef idx="0">
            <a:schemeClr val="accent3"/>
          </a:effectRef>
          <a:fontRef idx="minor">
            <a:schemeClr val="tx1"/>
          </a:fontRef>
        </p:style>
      </p:cxnSp>
      <p:sp>
        <p:nvSpPr>
          <p:cNvPr id="39" name="CustomShape 3">
            <a:extLst>
              <a:ext uri="{FF2B5EF4-FFF2-40B4-BE49-F238E27FC236}">
                <a16:creationId xmlns:a16="http://schemas.microsoft.com/office/drawing/2014/main" id="{052E31E9-ABA5-C642-76EC-84403DCBFB10}"/>
              </a:ext>
            </a:extLst>
          </p:cNvPr>
          <p:cNvSpPr/>
          <p:nvPr/>
        </p:nvSpPr>
        <p:spPr>
          <a:xfrm>
            <a:off x="1600126" y="5818108"/>
            <a:ext cx="1327670" cy="878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DAmatrix</a:t>
            </a:r>
            <a:endParaRPr lang="sv-SE" sz="18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skärm.</a:t>
            </a:r>
            <a:endParaRPr lang="sv-SE" sz="1100" b="0" strike="noStrike" spc="-1" dirty="0">
              <a:solidFill>
                <a:srgbClr val="000000"/>
              </a:solidFill>
              <a:uFill>
                <a:solidFill>
                  <a:srgbClr val="FFFFFF"/>
                </a:solidFill>
              </a:uFill>
              <a:latin typeface="Arial"/>
            </a:endParaRPr>
          </a:p>
        </p:txBody>
      </p:sp>
      <p:sp>
        <p:nvSpPr>
          <p:cNvPr id="42" name="CustomShape 3">
            <a:extLst>
              <a:ext uri="{FF2B5EF4-FFF2-40B4-BE49-F238E27FC236}">
                <a16:creationId xmlns:a16="http://schemas.microsoft.com/office/drawing/2014/main" id="{0706C61A-BFEC-6296-41A5-C5AD369FBDF9}"/>
              </a:ext>
            </a:extLst>
          </p:cNvPr>
          <p:cNvSpPr/>
          <p:nvPr/>
        </p:nvSpPr>
        <p:spPr>
          <a:xfrm>
            <a:off x="160540" y="5818108"/>
            <a:ext cx="1327670" cy="878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DAmatrix</a:t>
            </a:r>
            <a:endParaRPr lang="sv-SE" sz="18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skärm.</a:t>
            </a:r>
            <a:endParaRPr lang="sv-SE" sz="1100" b="0" strike="noStrike" spc="-1" dirty="0">
              <a:solidFill>
                <a:srgbClr val="000000"/>
              </a:solidFill>
              <a:uFill>
                <a:solidFill>
                  <a:srgbClr val="FFFFFF"/>
                </a:solidFill>
              </a:uFill>
              <a:latin typeface="Arial"/>
            </a:endParaRPr>
          </a:p>
        </p:txBody>
      </p:sp>
      <p:sp>
        <p:nvSpPr>
          <p:cNvPr id="50" name="CustomShape 3">
            <a:extLst>
              <a:ext uri="{FF2B5EF4-FFF2-40B4-BE49-F238E27FC236}">
                <a16:creationId xmlns:a16="http://schemas.microsoft.com/office/drawing/2014/main" id="{96042235-BCF0-0F7F-29A5-554B1F2B86B2}"/>
              </a:ext>
            </a:extLst>
          </p:cNvPr>
          <p:cNvSpPr/>
          <p:nvPr/>
        </p:nvSpPr>
        <p:spPr>
          <a:xfrm>
            <a:off x="8919190" y="5818108"/>
            <a:ext cx="1327670" cy="8784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600" b="1" strike="noStrike" spc="-1" dirty="0">
                <a:solidFill>
                  <a:srgbClr val="181818"/>
                </a:solidFill>
                <a:uFill>
                  <a:solidFill>
                    <a:srgbClr val="FFFFFF"/>
                  </a:solidFill>
                </a:uFill>
                <a:latin typeface="Ericsson Hilda"/>
              </a:rPr>
              <a:t>Sjusegment</a:t>
            </a:r>
            <a:endParaRPr lang="sv-SE" sz="16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a:t>
            </a:r>
            <a:endParaRPr lang="sv-SE" sz="1100" b="0" strike="noStrike" spc="-1" dirty="0">
              <a:solidFill>
                <a:srgbClr val="000000"/>
              </a:solidFill>
              <a:uFill>
                <a:solidFill>
                  <a:srgbClr val="FFFFFF"/>
                </a:solidFill>
              </a:uFill>
              <a:latin typeface="Arial"/>
            </a:endParaRPr>
          </a:p>
          <a:p>
            <a:r>
              <a:rPr lang="sv-SE" sz="1100" b="0" strike="noStrike" spc="-1" dirty="0">
                <a:solidFill>
                  <a:srgbClr val="181818"/>
                </a:solidFill>
                <a:uFill>
                  <a:solidFill>
                    <a:srgbClr val="FFFFFF"/>
                  </a:solidFill>
                </a:uFill>
                <a:latin typeface="Ericsson Hilda"/>
              </a:rPr>
              <a:t>Visa poäng spelaren har</a:t>
            </a:r>
            <a:r>
              <a:rPr lang="sv-SE" sz="1100" spc="-1" dirty="0">
                <a:solidFill>
                  <a:srgbClr val="000000"/>
                </a:solidFill>
                <a:uFill>
                  <a:solidFill>
                    <a:srgbClr val="FFFFFF"/>
                  </a:solidFill>
                </a:uFill>
                <a:latin typeface="Arial"/>
              </a:rPr>
              <a:t>.</a:t>
            </a:r>
            <a:endParaRPr lang="sv-SE" sz="1100" b="0" strike="noStrike" spc="-1" dirty="0">
              <a:solidFill>
                <a:srgbClr val="000000"/>
              </a:solidFill>
              <a:uFill>
                <a:solidFill>
                  <a:srgbClr val="FFFFFF"/>
                </a:solidFill>
              </a:uFill>
              <a:latin typeface="Arial"/>
            </a:endParaRPr>
          </a:p>
        </p:txBody>
      </p:sp>
      <p:sp>
        <p:nvSpPr>
          <p:cNvPr id="53" name="CustomShape 3">
            <a:extLst>
              <a:ext uri="{FF2B5EF4-FFF2-40B4-BE49-F238E27FC236}">
                <a16:creationId xmlns:a16="http://schemas.microsoft.com/office/drawing/2014/main" id="{DB900979-1713-1CAD-445F-C2BF89AE9045}"/>
              </a:ext>
            </a:extLst>
          </p:cNvPr>
          <p:cNvSpPr/>
          <p:nvPr/>
        </p:nvSpPr>
        <p:spPr>
          <a:xfrm>
            <a:off x="10703790" y="5818108"/>
            <a:ext cx="1327670" cy="8784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r>
              <a:rPr lang="sv-SE" sz="1600" b="1" strike="noStrike" spc="-1" dirty="0">
                <a:solidFill>
                  <a:srgbClr val="181818"/>
                </a:solidFill>
                <a:uFill>
                  <a:solidFill>
                    <a:srgbClr val="FFFFFF"/>
                  </a:solidFill>
                </a:uFill>
                <a:latin typeface="Ericsson Hilda"/>
              </a:rPr>
              <a:t>LCD Display</a:t>
            </a:r>
            <a:endParaRPr lang="sv-SE" sz="16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a:t>
            </a:r>
            <a:endParaRPr lang="sv-SE" sz="1100" b="0" strike="noStrike" spc="-1" dirty="0">
              <a:solidFill>
                <a:srgbClr val="000000"/>
              </a:solidFill>
              <a:uFill>
                <a:solidFill>
                  <a:srgbClr val="FFFFFF"/>
                </a:solidFill>
              </a:uFill>
              <a:latin typeface="Arial"/>
            </a:endParaRPr>
          </a:p>
          <a:p>
            <a:pPr>
              <a:lnSpc>
                <a:spcPct val="100000"/>
              </a:lnSpc>
            </a:pPr>
            <a:r>
              <a:rPr lang="sv-SE" sz="1100" spc="-1" dirty="0">
                <a:solidFill>
                  <a:srgbClr val="181818"/>
                </a:solidFill>
                <a:uFill>
                  <a:solidFill>
                    <a:srgbClr val="FFFFFF"/>
                  </a:solidFill>
                </a:uFill>
                <a:latin typeface="Ericsson Hilda"/>
              </a:rPr>
              <a:t>Ge spelare återkoppling.</a:t>
            </a:r>
            <a:endParaRPr lang="sv-SE" sz="1100" b="0" strike="noStrike" spc="-1" dirty="0">
              <a:solidFill>
                <a:srgbClr val="000000"/>
              </a:solidFill>
              <a:uFill>
                <a:solidFill>
                  <a:srgbClr val="FFFFFF"/>
                </a:solidFill>
              </a:uFill>
              <a:latin typeface="Arial"/>
            </a:endParaRPr>
          </a:p>
        </p:txBody>
      </p:sp>
      <p:cxnSp>
        <p:nvCxnSpPr>
          <p:cNvPr id="47" name="Straight Arrow Connector 46">
            <a:extLst>
              <a:ext uri="{FF2B5EF4-FFF2-40B4-BE49-F238E27FC236}">
                <a16:creationId xmlns:a16="http://schemas.microsoft.com/office/drawing/2014/main" id="{319A1DD6-ECD8-49EE-065C-30DF46248EAC}"/>
              </a:ext>
            </a:extLst>
          </p:cNvPr>
          <p:cNvCxnSpPr>
            <a:cxnSpLocks/>
            <a:stCxn id="1706" idx="0"/>
            <a:endCxn id="25" idx="2"/>
          </p:cNvCxnSpPr>
          <p:nvPr/>
        </p:nvCxnSpPr>
        <p:spPr>
          <a:xfrm rot="5400000" flipH="1" flipV="1">
            <a:off x="5663509" y="5176649"/>
            <a:ext cx="282067" cy="1014532"/>
          </a:xfrm>
          <a:prstGeom prst="bentConnector3">
            <a:avLst>
              <a:gd name="adj1" fmla="val 50000"/>
            </a:avLst>
          </a:prstGeom>
          <a:ln w="28575">
            <a:tailEnd type="triangle"/>
          </a:ln>
        </p:spPr>
        <p:style>
          <a:lnRef idx="1">
            <a:schemeClr val="accent2"/>
          </a:lnRef>
          <a:fillRef idx="0">
            <a:schemeClr val="accent2"/>
          </a:fillRef>
          <a:effectRef idx="0">
            <a:schemeClr val="accent2"/>
          </a:effectRef>
          <a:fontRef idx="minor">
            <a:schemeClr val="tx1"/>
          </a:fontRef>
        </p:style>
      </p:cxnSp>
      <p:cxnSp>
        <p:nvCxnSpPr>
          <p:cNvPr id="60" name="Straight Arrow Connector 59">
            <a:extLst>
              <a:ext uri="{FF2B5EF4-FFF2-40B4-BE49-F238E27FC236}">
                <a16:creationId xmlns:a16="http://schemas.microsoft.com/office/drawing/2014/main" id="{7139EB1C-EB95-45AC-E7C7-E6F121419133}"/>
              </a:ext>
            </a:extLst>
          </p:cNvPr>
          <p:cNvCxnSpPr>
            <a:cxnSpLocks/>
            <a:stCxn id="1710" idx="0"/>
            <a:endCxn id="1703" idx="2"/>
          </p:cNvCxnSpPr>
          <p:nvPr/>
        </p:nvCxnSpPr>
        <p:spPr>
          <a:xfrm rot="16200000" flipV="1">
            <a:off x="7775312" y="2748098"/>
            <a:ext cx="439200" cy="3366206"/>
          </a:xfrm>
          <a:prstGeom prst="bentConnector3">
            <a:avLst>
              <a:gd name="adj1" fmla="val 50000"/>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nvGrpSpPr>
          <p:cNvPr id="1666" name="Group 1665">
            <a:extLst>
              <a:ext uri="{FF2B5EF4-FFF2-40B4-BE49-F238E27FC236}">
                <a16:creationId xmlns:a16="http://schemas.microsoft.com/office/drawing/2014/main" id="{D8C6DB3D-ADCF-9149-2B8B-34438EFE3A3B}"/>
              </a:ext>
            </a:extLst>
          </p:cNvPr>
          <p:cNvGrpSpPr/>
          <p:nvPr/>
        </p:nvGrpSpPr>
        <p:grpSpPr>
          <a:xfrm>
            <a:off x="488374" y="1178299"/>
            <a:ext cx="5092555" cy="1221374"/>
            <a:chOff x="750890" y="1938417"/>
            <a:chExt cx="5092555" cy="1221374"/>
          </a:xfrm>
        </p:grpSpPr>
        <p:sp>
          <p:nvSpPr>
            <p:cNvPr id="73" name="Oval 72">
              <a:extLst>
                <a:ext uri="{FF2B5EF4-FFF2-40B4-BE49-F238E27FC236}">
                  <a16:creationId xmlns:a16="http://schemas.microsoft.com/office/drawing/2014/main" id="{CB86E50C-BE28-81E1-4006-F22A585BB459}"/>
                </a:ext>
              </a:extLst>
            </p:cNvPr>
            <p:cNvSpPr/>
            <p:nvPr/>
          </p:nvSpPr>
          <p:spPr>
            <a:xfrm>
              <a:off x="750890" y="2023987"/>
              <a:ext cx="121920" cy="121920"/>
            </a:xfrm>
            <a:prstGeom prst="ellipse">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SE"/>
            </a:p>
          </p:txBody>
        </p:sp>
        <p:sp>
          <p:nvSpPr>
            <p:cNvPr id="1665" name="TextBox 1664">
              <a:extLst>
                <a:ext uri="{FF2B5EF4-FFF2-40B4-BE49-F238E27FC236}">
                  <a16:creationId xmlns:a16="http://schemas.microsoft.com/office/drawing/2014/main" id="{03C8F327-E2D6-06B5-E608-A204B3178202}"/>
                </a:ext>
              </a:extLst>
            </p:cNvPr>
            <p:cNvSpPr txBox="1"/>
            <p:nvPr/>
          </p:nvSpPr>
          <p:spPr>
            <a:xfrm>
              <a:off x="872810" y="1938417"/>
              <a:ext cx="4890680" cy="261610"/>
            </a:xfrm>
            <a:prstGeom prst="rect">
              <a:avLst/>
            </a:prstGeom>
            <a:noFill/>
          </p:spPr>
          <p:txBody>
            <a:bodyPr wrap="square" rtlCol="0">
              <a:spAutoFit/>
            </a:bodyPr>
            <a:lstStyle/>
            <a:p>
              <a:r>
                <a:rPr lang="sv-SE" sz="1100" dirty="0">
                  <a:latin typeface="Ericsson Hilda" panose="00000500000000000000" pitchFamily="2" charset="0"/>
                </a:rPr>
                <a:t>Kommunikation med </a:t>
              </a:r>
              <a:r>
                <a:rPr lang="sv-SE" sz="1100" i="1" dirty="0">
                  <a:latin typeface="Ericsson Hilda" panose="00000500000000000000" pitchFamily="2" charset="0"/>
                </a:rPr>
                <a:t>SPI-protokollet</a:t>
              </a:r>
              <a:r>
                <a:rPr lang="sv-SE" sz="1100" dirty="0">
                  <a:latin typeface="Ericsson Hilda" panose="00000500000000000000" pitchFamily="2" charset="0"/>
                </a:rPr>
                <a:t> mellan komponent och spelplattform</a:t>
              </a:r>
            </a:p>
          </p:txBody>
        </p:sp>
        <p:sp>
          <p:nvSpPr>
            <p:cNvPr id="76" name="Oval 75">
              <a:extLst>
                <a:ext uri="{FF2B5EF4-FFF2-40B4-BE49-F238E27FC236}">
                  <a16:creationId xmlns:a16="http://schemas.microsoft.com/office/drawing/2014/main" id="{F69138A5-4927-2752-2C8A-CA718625C75C}"/>
                </a:ext>
              </a:extLst>
            </p:cNvPr>
            <p:cNvSpPr/>
            <p:nvPr/>
          </p:nvSpPr>
          <p:spPr>
            <a:xfrm>
              <a:off x="750890" y="2309961"/>
              <a:ext cx="121920" cy="121920"/>
            </a:xfrm>
            <a:prstGeom prst="ellipse">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SE"/>
            </a:p>
          </p:txBody>
        </p:sp>
        <p:sp>
          <p:nvSpPr>
            <p:cNvPr id="77" name="TextBox 76">
              <a:extLst>
                <a:ext uri="{FF2B5EF4-FFF2-40B4-BE49-F238E27FC236}">
                  <a16:creationId xmlns:a16="http://schemas.microsoft.com/office/drawing/2014/main" id="{6ED3F055-443A-E230-1D1A-2D18D5BA71EE}"/>
                </a:ext>
              </a:extLst>
            </p:cNvPr>
            <p:cNvSpPr txBox="1"/>
            <p:nvPr/>
          </p:nvSpPr>
          <p:spPr>
            <a:xfrm>
              <a:off x="872810" y="2224391"/>
              <a:ext cx="4033915" cy="261610"/>
            </a:xfrm>
            <a:prstGeom prst="rect">
              <a:avLst/>
            </a:prstGeom>
            <a:noFill/>
          </p:spPr>
          <p:txBody>
            <a:bodyPr wrap="square" rtlCol="0">
              <a:spAutoFit/>
            </a:bodyPr>
            <a:lstStyle/>
            <a:p>
              <a:r>
                <a:rPr lang="sv-SE" sz="1100" dirty="0">
                  <a:latin typeface="Ericsson Hilda" panose="00000500000000000000" pitchFamily="2" charset="0"/>
                </a:rPr>
                <a:t>Direktkommunikation mellan komponent och spelplattform</a:t>
              </a:r>
            </a:p>
          </p:txBody>
        </p:sp>
        <p:sp>
          <p:nvSpPr>
            <p:cNvPr id="78" name="Oval 77">
              <a:extLst>
                <a:ext uri="{FF2B5EF4-FFF2-40B4-BE49-F238E27FC236}">
                  <a16:creationId xmlns:a16="http://schemas.microsoft.com/office/drawing/2014/main" id="{D69DE338-2544-12D4-849E-EF2D91E74F6B}"/>
                </a:ext>
              </a:extLst>
            </p:cNvPr>
            <p:cNvSpPr/>
            <p:nvPr/>
          </p:nvSpPr>
          <p:spPr>
            <a:xfrm>
              <a:off x="750890" y="2633273"/>
              <a:ext cx="121920" cy="121920"/>
            </a:xfrm>
            <a:prstGeom prst="ellipse">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SE"/>
            </a:p>
          </p:txBody>
        </p:sp>
        <p:sp>
          <p:nvSpPr>
            <p:cNvPr id="79" name="TextBox 78">
              <a:extLst>
                <a:ext uri="{FF2B5EF4-FFF2-40B4-BE49-F238E27FC236}">
                  <a16:creationId xmlns:a16="http://schemas.microsoft.com/office/drawing/2014/main" id="{467B8C07-8721-6D08-6781-6E034BCE99B4}"/>
                </a:ext>
              </a:extLst>
            </p:cNvPr>
            <p:cNvSpPr txBox="1"/>
            <p:nvPr/>
          </p:nvSpPr>
          <p:spPr>
            <a:xfrm>
              <a:off x="872810" y="2547703"/>
              <a:ext cx="4970635" cy="261610"/>
            </a:xfrm>
            <a:prstGeom prst="rect">
              <a:avLst/>
            </a:prstGeom>
            <a:noFill/>
          </p:spPr>
          <p:txBody>
            <a:bodyPr wrap="square" rtlCol="0">
              <a:spAutoFit/>
            </a:bodyPr>
            <a:lstStyle/>
            <a:p>
              <a:r>
                <a:rPr lang="sv-SE" sz="1100" dirty="0">
                  <a:latin typeface="Ericsson Hilda" panose="00000500000000000000" pitchFamily="2" charset="0"/>
                </a:rPr>
                <a:t>Kommunikation med </a:t>
              </a:r>
              <a:r>
                <a:rPr lang="sv-SE" sz="1100" i="1" dirty="0">
                  <a:latin typeface="Ericsson Hilda" panose="00000500000000000000" pitchFamily="2" charset="0"/>
                </a:rPr>
                <a:t>TWI-protokollet</a:t>
              </a:r>
              <a:r>
                <a:rPr lang="sv-SE" sz="1100" dirty="0">
                  <a:latin typeface="Ericsson Hilda" panose="00000500000000000000" pitchFamily="2" charset="0"/>
                </a:rPr>
                <a:t> mellan komponent och spelplattform</a:t>
              </a:r>
            </a:p>
          </p:txBody>
        </p:sp>
        <p:sp>
          <p:nvSpPr>
            <p:cNvPr id="80" name="Oval 79">
              <a:extLst>
                <a:ext uri="{FF2B5EF4-FFF2-40B4-BE49-F238E27FC236}">
                  <a16:creationId xmlns:a16="http://schemas.microsoft.com/office/drawing/2014/main" id="{61F5C874-A4F5-74F9-4806-4E7692880E71}"/>
                </a:ext>
              </a:extLst>
            </p:cNvPr>
            <p:cNvSpPr/>
            <p:nvPr/>
          </p:nvSpPr>
          <p:spPr>
            <a:xfrm>
              <a:off x="750890" y="2983751"/>
              <a:ext cx="121920" cy="121920"/>
            </a:xfrm>
            <a:prstGeom prst="ellipse">
              <a:avLst/>
            </a:prstGeom>
            <a:solidFill>
              <a:schemeClr val="tx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SE"/>
            </a:p>
          </p:txBody>
        </p:sp>
        <p:sp>
          <p:nvSpPr>
            <p:cNvPr id="81" name="TextBox 80">
              <a:extLst>
                <a:ext uri="{FF2B5EF4-FFF2-40B4-BE49-F238E27FC236}">
                  <a16:creationId xmlns:a16="http://schemas.microsoft.com/office/drawing/2014/main" id="{B0FF096F-7BC6-524D-C089-F6549E4006EC}"/>
                </a:ext>
              </a:extLst>
            </p:cNvPr>
            <p:cNvSpPr txBox="1"/>
            <p:nvPr/>
          </p:nvSpPr>
          <p:spPr>
            <a:xfrm>
              <a:off x="872810" y="2898181"/>
              <a:ext cx="4033915" cy="261610"/>
            </a:xfrm>
            <a:prstGeom prst="rect">
              <a:avLst/>
            </a:prstGeom>
            <a:noFill/>
          </p:spPr>
          <p:txBody>
            <a:bodyPr wrap="square" rtlCol="0">
              <a:spAutoFit/>
            </a:bodyPr>
            <a:lstStyle/>
            <a:p>
              <a:r>
                <a:rPr lang="sv-SE" sz="1100" dirty="0">
                  <a:latin typeface="Ericsson Hilda" panose="00000500000000000000" pitchFamily="2" charset="0"/>
                </a:rPr>
                <a:t>Kommunikation mellan spelplattform och mikrokontroller</a:t>
              </a:r>
            </a:p>
          </p:txBody>
        </p:sp>
      </p:grpSp>
      <p:sp>
        <p:nvSpPr>
          <p:cNvPr id="83" name="TextBox 82">
            <a:extLst>
              <a:ext uri="{FF2B5EF4-FFF2-40B4-BE49-F238E27FC236}">
                <a16:creationId xmlns:a16="http://schemas.microsoft.com/office/drawing/2014/main" id="{D407FA0E-1647-BFD9-7845-44AF2FA41C1C}"/>
              </a:ext>
            </a:extLst>
          </p:cNvPr>
          <p:cNvSpPr txBox="1"/>
          <p:nvPr/>
        </p:nvSpPr>
        <p:spPr>
          <a:xfrm>
            <a:off x="393826" y="2523143"/>
            <a:ext cx="4033915" cy="261610"/>
          </a:xfrm>
          <a:prstGeom prst="rect">
            <a:avLst/>
          </a:prstGeom>
          <a:noFill/>
        </p:spPr>
        <p:txBody>
          <a:bodyPr wrap="square" rtlCol="0">
            <a:spAutoFit/>
          </a:bodyPr>
          <a:lstStyle/>
          <a:p>
            <a:r>
              <a:rPr lang="sv-SE" sz="1100" b="1" dirty="0">
                <a:latin typeface="Ericsson Hilda" panose="00000500000000000000" pitchFamily="2" charset="0"/>
              </a:rPr>
              <a:t>Programmeringspråk: Assembler</a:t>
            </a:r>
          </a:p>
        </p:txBody>
      </p:sp>
      <p:sp>
        <p:nvSpPr>
          <p:cNvPr id="84" name="CustomShape 196">
            <a:extLst>
              <a:ext uri="{FF2B5EF4-FFF2-40B4-BE49-F238E27FC236}">
                <a16:creationId xmlns:a16="http://schemas.microsoft.com/office/drawing/2014/main" id="{F880E24C-5597-00C7-3693-6625534B3575}"/>
              </a:ext>
            </a:extLst>
          </p:cNvPr>
          <p:cNvSpPr/>
          <p:nvPr/>
        </p:nvSpPr>
        <p:spPr>
          <a:xfrm>
            <a:off x="495719" y="328680"/>
            <a:ext cx="8576237" cy="534240"/>
          </a:xfrm>
          <a:prstGeom prst="rect">
            <a:avLst/>
          </a:prstGeom>
          <a:noFill/>
          <a:ln w="12600">
            <a:noFill/>
          </a:ln>
        </p:spPr>
        <p:style>
          <a:lnRef idx="0">
            <a:scrgbClr r="0" g="0" b="0"/>
          </a:lnRef>
          <a:fillRef idx="0">
            <a:scrgbClr r="0" g="0" b="0"/>
          </a:fillRef>
          <a:effectRef idx="0">
            <a:scrgbClr r="0" g="0" b="0"/>
          </a:effectRef>
          <a:fontRef idx="minor"/>
        </p:style>
        <p:txBody>
          <a:bodyPr lIns="72000" tIns="36000" rIns="73080" bIns="36720"/>
          <a:lstStyle/>
          <a:p>
            <a:pPr>
              <a:lnSpc>
                <a:spcPct val="100000"/>
              </a:lnSpc>
            </a:pPr>
            <a:r>
              <a:rPr lang="sv-SE" sz="4000" b="0" strike="noStrike" spc="-1" dirty="0">
                <a:solidFill>
                  <a:srgbClr val="181818"/>
                </a:solidFill>
                <a:uFill>
                  <a:solidFill>
                    <a:srgbClr val="FFFFFF"/>
                  </a:solidFill>
                </a:uFill>
                <a:latin typeface="Ericsson Hilda"/>
              </a:rPr>
              <a:t>Översikt: Hårdvarukomponenter</a:t>
            </a:r>
            <a:endParaRPr lang="sv-SE" sz="4000" b="0" strike="noStrike" spc="-1" dirty="0">
              <a:solidFill>
                <a:srgbClr val="000000"/>
              </a:solidFill>
              <a:uFill>
                <a:solidFill>
                  <a:srgbClr val="FFFFFF"/>
                </a:solidFill>
              </a:uFill>
              <a:latin typeface="Arial"/>
            </a:endParaRPr>
          </a:p>
        </p:txBody>
      </p:sp>
      <p:sp>
        <p:nvSpPr>
          <p:cNvPr id="87" name="CustomShape 4">
            <a:extLst>
              <a:ext uri="{FF2B5EF4-FFF2-40B4-BE49-F238E27FC236}">
                <a16:creationId xmlns:a16="http://schemas.microsoft.com/office/drawing/2014/main" id="{6DEBDE6F-02BE-1366-2AEC-96D6267FA4C6}"/>
              </a:ext>
            </a:extLst>
          </p:cNvPr>
          <p:cNvSpPr/>
          <p:nvPr/>
        </p:nvSpPr>
        <p:spPr>
          <a:xfrm>
            <a:off x="6542862" y="5811268"/>
            <a:ext cx="1827720" cy="89208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200" b="1" spc="-1" dirty="0">
                <a:solidFill>
                  <a:srgbClr val="181818"/>
                </a:solidFill>
                <a:uFill>
                  <a:solidFill>
                    <a:srgbClr val="FFFFFF"/>
                  </a:solidFill>
                </a:uFill>
                <a:latin typeface="Ericsson Hilda"/>
              </a:rPr>
              <a:t>Manövreringsk</a:t>
            </a:r>
            <a:r>
              <a:rPr lang="sv-SE" sz="1200" b="1" strike="noStrike" spc="-1" dirty="0">
                <a:solidFill>
                  <a:srgbClr val="181818"/>
                </a:solidFill>
                <a:uFill>
                  <a:solidFill>
                    <a:srgbClr val="FFFFFF"/>
                  </a:solidFill>
                </a:uFill>
                <a:latin typeface="Ericsson Hilda"/>
              </a:rPr>
              <a:t>nappar</a:t>
            </a:r>
            <a:endParaRPr lang="sv-SE" sz="1200" b="0" strike="noStrike" spc="-1" dirty="0">
              <a:solidFill>
                <a:srgbClr val="000000"/>
              </a:solidFill>
              <a:uFill>
                <a:solidFill>
                  <a:srgbClr val="FFFFFF"/>
                </a:solidFill>
              </a:uFill>
              <a:latin typeface="Arial"/>
            </a:endParaRPr>
          </a:p>
          <a:p>
            <a:pPr>
              <a:lnSpc>
                <a:spcPct val="100000"/>
              </a:lnSpc>
            </a:pPr>
            <a:r>
              <a:rPr lang="sv-SE" sz="1100" b="1" strike="noStrike" spc="-1" dirty="0">
                <a:solidFill>
                  <a:srgbClr val="181818"/>
                </a:solidFill>
                <a:uFill>
                  <a:solidFill>
                    <a:srgbClr val="FFFFFF"/>
                  </a:solidFill>
                </a:uFill>
                <a:latin typeface="Ericsson Hilda"/>
              </a:rPr>
              <a:t>Syfte:</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Möjligöra diverse rörelser för spelaren.</a:t>
            </a:r>
            <a:endParaRPr lang="sv-SE" sz="1100" b="0" strike="noStrike" spc="-1" dirty="0">
              <a:solidFill>
                <a:srgbClr val="000000"/>
              </a:solidFill>
              <a:uFill>
                <a:solidFill>
                  <a:srgbClr val="FFFFFF"/>
                </a:solidFill>
              </a:uFill>
              <a:latin typeface="Arial"/>
            </a:endParaRPr>
          </a:p>
        </p:txBody>
      </p:sp>
      <p:cxnSp>
        <p:nvCxnSpPr>
          <p:cNvPr id="1671" name="Straight Arrow Connector 1670">
            <a:extLst>
              <a:ext uri="{FF2B5EF4-FFF2-40B4-BE49-F238E27FC236}">
                <a16:creationId xmlns:a16="http://schemas.microsoft.com/office/drawing/2014/main" id="{7CF7676E-913A-9EAD-6E36-E84F788FF8AB}"/>
              </a:ext>
            </a:extLst>
          </p:cNvPr>
          <p:cNvCxnSpPr>
            <a:cxnSpLocks/>
            <a:stCxn id="87" idx="0"/>
            <a:endCxn id="25" idx="2"/>
          </p:cNvCxnSpPr>
          <p:nvPr/>
        </p:nvCxnSpPr>
        <p:spPr>
          <a:xfrm rot="16200000" flipV="1">
            <a:off x="6750072" y="5104618"/>
            <a:ext cx="268387" cy="1144914"/>
          </a:xfrm>
          <a:prstGeom prst="bentConnector3">
            <a:avLst>
              <a:gd name="adj1" fmla="val 50000"/>
            </a:avLst>
          </a:prstGeom>
          <a:ln w="28575">
            <a:tailEnd type="triangle"/>
          </a:ln>
        </p:spPr>
        <p:style>
          <a:lnRef idx="1">
            <a:schemeClr val="accent2"/>
          </a:lnRef>
          <a:fillRef idx="0">
            <a:schemeClr val="accent2"/>
          </a:fillRef>
          <a:effectRef idx="0">
            <a:schemeClr val="accent2"/>
          </a:effectRef>
          <a:fontRef idx="minor">
            <a:schemeClr val="tx1"/>
          </a:fontRef>
        </p:style>
      </p:cxnSp>
      <p:cxnSp>
        <p:nvCxnSpPr>
          <p:cNvPr id="1690" name="Connector: Elbow 1689">
            <a:extLst>
              <a:ext uri="{FF2B5EF4-FFF2-40B4-BE49-F238E27FC236}">
                <a16:creationId xmlns:a16="http://schemas.microsoft.com/office/drawing/2014/main" id="{95AB5376-D958-CF9C-C890-241AB6990480}"/>
              </a:ext>
            </a:extLst>
          </p:cNvPr>
          <p:cNvCxnSpPr>
            <a:stCxn id="1709" idx="0"/>
            <a:endCxn id="1703" idx="2"/>
          </p:cNvCxnSpPr>
          <p:nvPr/>
        </p:nvCxnSpPr>
        <p:spPr>
          <a:xfrm rot="5400000" flipH="1" flipV="1">
            <a:off x="4068285" y="2407278"/>
            <a:ext cx="439201" cy="4047848"/>
          </a:xfrm>
          <a:prstGeom prst="bentConnector3">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9102908"/>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0" name="TextShape 1"/>
          <p:cNvSpPr txBox="1"/>
          <p:nvPr/>
        </p:nvSpPr>
        <p:spPr>
          <a:xfrm>
            <a:off x="479520" y="476280"/>
            <a:ext cx="8353080" cy="3457080"/>
          </a:xfrm>
          <a:prstGeom prst="rect">
            <a:avLst/>
          </a:prstGeom>
          <a:noFill/>
          <a:ln w="9360">
            <a:noFill/>
          </a:ln>
        </p:spPr>
        <p:txBody>
          <a:bodyPr lIns="72000" tIns="36000" rIns="73080" bIns="36720" anchor="t"/>
          <a:lstStyle/>
          <a:p>
            <a:pPr>
              <a:spcBef>
                <a:spcPts val="300"/>
              </a:spcBef>
            </a:pPr>
            <a:r>
              <a:rPr lang="en-US" sz="6000" spc="-157" err="1">
                <a:solidFill>
                  <a:srgbClr val="FFFFFF"/>
                </a:solidFill>
                <a:uFill>
                  <a:solidFill>
                    <a:srgbClr val="FFFFFF"/>
                  </a:solidFill>
                </a:uFill>
                <a:latin typeface="Ericsson Hilda Light"/>
              </a:rPr>
              <a:t>Spelet</a:t>
            </a:r>
            <a:r>
              <a:rPr lang="en-US" sz="6000" spc="-157">
                <a:solidFill>
                  <a:srgbClr val="FFFFFF"/>
                </a:solidFill>
                <a:uFill>
                  <a:solidFill>
                    <a:srgbClr val="FFFFFF"/>
                  </a:solidFill>
                </a:uFill>
                <a:latin typeface="Ericsson Hilda Light"/>
              </a:rPr>
              <a:t> </a:t>
            </a:r>
          </a:p>
          <a:p>
            <a:pPr>
              <a:spcBef>
                <a:spcPts val="300"/>
              </a:spcBef>
            </a:pPr>
            <a:endParaRPr lang="en-US" sz="6000" spc="-157">
              <a:solidFill>
                <a:srgbClr val="FFFFFF"/>
              </a:solidFill>
              <a:uFill>
                <a:solidFill>
                  <a:srgbClr val="FFFFFF"/>
                </a:solidFill>
              </a:uFill>
              <a:latin typeface="Ericsson Hilda Light"/>
            </a:endParaRPr>
          </a:p>
          <a:p>
            <a:pPr>
              <a:lnSpc>
                <a:spcPct val="100000"/>
              </a:lnSpc>
              <a:spcBef>
                <a:spcPts val="300"/>
              </a:spcBef>
            </a:pPr>
            <a:endParaRPr lang="en-US" sz="6000" b="0" strike="noStrike" spc="-157">
              <a:solidFill>
                <a:srgbClr val="FFFFFF"/>
              </a:solidFill>
              <a:uFill>
                <a:solidFill>
                  <a:srgbClr val="FFFFFF"/>
                </a:solidFill>
              </a:uFill>
              <a:latin typeface="Ericsson Hilda Light"/>
            </a:endParaRPr>
          </a:p>
        </p:txBody>
      </p:sp>
      <p:sp>
        <p:nvSpPr>
          <p:cNvPr id="1701" name="TextShape 2"/>
          <p:cNvSpPr txBox="1"/>
          <p:nvPr/>
        </p:nvSpPr>
        <p:spPr>
          <a:xfrm>
            <a:off x="479520" y="4149720"/>
            <a:ext cx="5471640" cy="2087280"/>
          </a:xfrm>
          <a:prstGeom prst="rect">
            <a:avLst/>
          </a:prstGeom>
          <a:noFill/>
          <a:ln w="9360">
            <a:noFill/>
          </a:ln>
        </p:spPr>
        <p:txBody>
          <a:bodyPr lIns="72000" tIns="36000" rIns="0" bIns="36000" anchor="ctr"/>
          <a:lstStyle/>
          <a:p>
            <a:pPr algn="ctr"/>
            <a:endParaRPr lang="sv-SE" sz="3200" b="0" strike="noStrike" spc="-1">
              <a:solidFill>
                <a:srgbClr val="000000"/>
              </a:solidFill>
              <a:uFill>
                <a:solidFill>
                  <a:srgbClr val="FFFFFF"/>
                </a:solidFill>
              </a:uFill>
              <a:latin typeface="Arial"/>
            </a:endParaRPr>
          </a:p>
        </p:txBody>
      </p:sp>
      <p:sp>
        <p:nvSpPr>
          <p:cNvPr id="4" name="Rectangle 3">
            <a:extLst>
              <a:ext uri="{FF2B5EF4-FFF2-40B4-BE49-F238E27FC236}">
                <a16:creationId xmlns:a16="http://schemas.microsoft.com/office/drawing/2014/main" id="{C07068C8-72DD-461D-A5D3-B78A2682029C}"/>
              </a:ext>
            </a:extLst>
          </p:cNvPr>
          <p:cNvSpPr/>
          <p:nvPr/>
        </p:nvSpPr>
        <p:spPr>
          <a:xfrm>
            <a:off x="11277600" y="309217"/>
            <a:ext cx="649357" cy="6493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2429919112"/>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9" name="CustomShape 196"/>
          <p:cNvSpPr/>
          <p:nvPr/>
        </p:nvSpPr>
        <p:spPr>
          <a:xfrm>
            <a:off x="495720" y="328680"/>
            <a:ext cx="3186720" cy="534240"/>
          </a:xfrm>
          <a:prstGeom prst="rect">
            <a:avLst/>
          </a:prstGeom>
          <a:noFill/>
          <a:ln w="12600">
            <a:noFill/>
          </a:ln>
        </p:spPr>
        <p:style>
          <a:lnRef idx="0">
            <a:scrgbClr r="0" g="0" b="0"/>
          </a:lnRef>
          <a:fillRef idx="0">
            <a:scrgbClr r="0" g="0" b="0"/>
          </a:fillRef>
          <a:effectRef idx="0">
            <a:scrgbClr r="0" g="0" b="0"/>
          </a:effectRef>
          <a:fontRef idx="minor"/>
        </p:style>
        <p:txBody>
          <a:bodyPr lIns="72000" tIns="36000" rIns="73080" bIns="36720"/>
          <a:lstStyle/>
          <a:p>
            <a:pPr>
              <a:lnSpc>
                <a:spcPct val="100000"/>
              </a:lnSpc>
            </a:pPr>
            <a:r>
              <a:rPr lang="sv-SE" sz="4000" b="0" strike="noStrike" spc="-1">
                <a:solidFill>
                  <a:srgbClr val="181818"/>
                </a:solidFill>
                <a:uFill>
                  <a:solidFill>
                    <a:srgbClr val="FFFFFF"/>
                  </a:solidFill>
                </a:uFill>
                <a:latin typeface="Ericsson Hilda"/>
              </a:rPr>
              <a:t>Spelmekanik</a:t>
            </a:r>
            <a:endParaRPr lang="sv-SE" sz="4000" b="0" strike="noStrike" spc="-1">
              <a:solidFill>
                <a:srgbClr val="000000"/>
              </a:solidFill>
              <a:uFill>
                <a:solidFill>
                  <a:srgbClr val="FFFFFF"/>
                </a:solidFill>
              </a:uFill>
              <a:latin typeface="Arial"/>
            </a:endParaRPr>
          </a:p>
        </p:txBody>
      </p:sp>
      <p:sp>
        <p:nvSpPr>
          <p:cNvPr id="1110" name="Rectangle 1109">
            <a:extLst>
              <a:ext uri="{FF2B5EF4-FFF2-40B4-BE49-F238E27FC236}">
                <a16:creationId xmlns:a16="http://schemas.microsoft.com/office/drawing/2014/main" id="{74D20775-402D-4802-A3BA-22E3763FD413}"/>
              </a:ext>
            </a:extLst>
          </p:cNvPr>
          <p:cNvSpPr/>
          <p:nvPr/>
        </p:nvSpPr>
        <p:spPr>
          <a:xfrm>
            <a:off x="11277600" y="309217"/>
            <a:ext cx="649357" cy="506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0" name="Rectangle 9">
            <a:extLst>
              <a:ext uri="{FF2B5EF4-FFF2-40B4-BE49-F238E27FC236}">
                <a16:creationId xmlns:a16="http://schemas.microsoft.com/office/drawing/2014/main" id="{6EF9F996-B0E4-4CC8-BCB5-8CBDFF77E898}"/>
              </a:ext>
            </a:extLst>
          </p:cNvPr>
          <p:cNvSpPr/>
          <p:nvPr/>
        </p:nvSpPr>
        <p:spPr>
          <a:xfrm>
            <a:off x="3033711" y="4252706"/>
            <a:ext cx="2563525" cy="19930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1" name="Rectangle 10">
            <a:extLst>
              <a:ext uri="{FF2B5EF4-FFF2-40B4-BE49-F238E27FC236}">
                <a16:creationId xmlns:a16="http://schemas.microsoft.com/office/drawing/2014/main" id="{C651408D-4C61-4F51-A7FD-D866AB775722}"/>
              </a:ext>
            </a:extLst>
          </p:cNvPr>
          <p:cNvSpPr/>
          <p:nvPr/>
        </p:nvSpPr>
        <p:spPr>
          <a:xfrm>
            <a:off x="3317207" y="4903373"/>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14" name="Rectangle 413">
            <a:extLst>
              <a:ext uri="{FF2B5EF4-FFF2-40B4-BE49-F238E27FC236}">
                <a16:creationId xmlns:a16="http://schemas.microsoft.com/office/drawing/2014/main" id="{6E70624B-820D-45A7-9DB8-2166056F1374}"/>
              </a:ext>
            </a:extLst>
          </p:cNvPr>
          <p:cNvSpPr/>
          <p:nvPr/>
        </p:nvSpPr>
        <p:spPr>
          <a:xfrm>
            <a:off x="3317207"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0</a:t>
            </a:r>
            <a:endParaRPr lang="en-SE" dirty="0">
              <a:solidFill>
                <a:schemeClr val="accent6"/>
              </a:solidFill>
            </a:endParaRPr>
          </a:p>
        </p:txBody>
      </p:sp>
      <p:sp>
        <p:nvSpPr>
          <p:cNvPr id="415" name="Rectangle 414">
            <a:extLst>
              <a:ext uri="{FF2B5EF4-FFF2-40B4-BE49-F238E27FC236}">
                <a16:creationId xmlns:a16="http://schemas.microsoft.com/office/drawing/2014/main" id="{66391A57-C7E4-4726-917D-6BEE196AD60C}"/>
              </a:ext>
            </a:extLst>
          </p:cNvPr>
          <p:cNvSpPr/>
          <p:nvPr/>
        </p:nvSpPr>
        <p:spPr>
          <a:xfrm>
            <a:off x="4909787"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6"/>
                </a:solidFill>
              </a:rPr>
              <a:t>0</a:t>
            </a:r>
            <a:endParaRPr lang="en-SE">
              <a:solidFill>
                <a:schemeClr val="accent6"/>
              </a:solidFill>
            </a:endParaRPr>
          </a:p>
        </p:txBody>
      </p:sp>
      <p:grpSp>
        <p:nvGrpSpPr>
          <p:cNvPr id="15" name="Group 14">
            <a:extLst>
              <a:ext uri="{FF2B5EF4-FFF2-40B4-BE49-F238E27FC236}">
                <a16:creationId xmlns:a16="http://schemas.microsoft.com/office/drawing/2014/main" id="{30AE0F30-8DAA-8D0E-6763-900B13609EB3}"/>
              </a:ext>
            </a:extLst>
          </p:cNvPr>
          <p:cNvGrpSpPr/>
          <p:nvPr/>
        </p:nvGrpSpPr>
        <p:grpSpPr>
          <a:xfrm>
            <a:off x="3860132" y="5753290"/>
            <a:ext cx="849630" cy="424460"/>
            <a:chOff x="4855755" y="5897034"/>
            <a:chExt cx="849630" cy="424460"/>
          </a:xfrm>
        </p:grpSpPr>
        <p:grpSp>
          <p:nvGrpSpPr>
            <p:cNvPr id="14" name="Group 13">
              <a:extLst>
                <a:ext uri="{FF2B5EF4-FFF2-40B4-BE49-F238E27FC236}">
                  <a16:creationId xmlns:a16="http://schemas.microsoft.com/office/drawing/2014/main" id="{004DDBE9-F609-9AE9-07A8-D8B96A5BCD7B}"/>
                </a:ext>
              </a:extLst>
            </p:cNvPr>
            <p:cNvGrpSpPr/>
            <p:nvPr/>
          </p:nvGrpSpPr>
          <p:grpSpPr>
            <a:xfrm>
              <a:off x="4855755" y="5897034"/>
              <a:ext cx="849630" cy="411480"/>
              <a:chOff x="4855755" y="5897034"/>
              <a:chExt cx="849630" cy="411480"/>
            </a:xfrm>
          </p:grpSpPr>
          <p:sp>
            <p:nvSpPr>
              <p:cNvPr id="416" name="Rectangle 415">
                <a:extLst>
                  <a:ext uri="{FF2B5EF4-FFF2-40B4-BE49-F238E27FC236}">
                    <a16:creationId xmlns:a16="http://schemas.microsoft.com/office/drawing/2014/main" id="{332C25AE-26CC-4BEA-BB1D-470A85712EF1}"/>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17" name="Rectangle 416">
                <a:extLst>
                  <a:ext uri="{FF2B5EF4-FFF2-40B4-BE49-F238E27FC236}">
                    <a16:creationId xmlns:a16="http://schemas.microsoft.com/office/drawing/2014/main" id="{69EB01B7-7DC1-49E7-8F88-B72ED4FC5E4C}"/>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grpSp>
        <p:grpSp>
          <p:nvGrpSpPr>
            <p:cNvPr id="12" name="Group 11">
              <a:extLst>
                <a:ext uri="{FF2B5EF4-FFF2-40B4-BE49-F238E27FC236}">
                  <a16:creationId xmlns:a16="http://schemas.microsoft.com/office/drawing/2014/main" id="{F3D80BE7-867D-ECAC-A695-147DE7389305}"/>
                </a:ext>
              </a:extLst>
            </p:cNvPr>
            <p:cNvGrpSpPr/>
            <p:nvPr/>
          </p:nvGrpSpPr>
          <p:grpSpPr>
            <a:xfrm>
              <a:off x="4855755" y="5978593"/>
              <a:ext cx="849630" cy="342901"/>
              <a:chOff x="7368540" y="4794551"/>
              <a:chExt cx="849630" cy="342901"/>
            </a:xfrm>
          </p:grpSpPr>
          <p:pic>
            <p:nvPicPr>
              <p:cNvPr id="418" name="Picture Placeholder 49">
                <a:extLst>
                  <a:ext uri="{FF2B5EF4-FFF2-40B4-BE49-F238E27FC236}">
                    <a16:creationId xmlns:a16="http://schemas.microsoft.com/office/drawing/2014/main" id="{8DF8607A-F34F-47CE-9F9F-AA7872A7AA0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10" b="110"/>
              <a:stretch>
                <a:fillRect/>
              </a:stretch>
            </p:blipFill>
            <p:spPr>
              <a:xfrm>
                <a:off x="7368540" y="4794551"/>
                <a:ext cx="342901" cy="342901"/>
              </a:xfrm>
              <a:prstGeom prst="rect">
                <a:avLst/>
              </a:prstGeom>
            </p:spPr>
          </p:pic>
          <p:pic>
            <p:nvPicPr>
              <p:cNvPr id="419" name="Picture Placeholder 57">
                <a:extLst>
                  <a:ext uri="{FF2B5EF4-FFF2-40B4-BE49-F238E27FC236}">
                    <a16:creationId xmlns:a16="http://schemas.microsoft.com/office/drawing/2014/main" id="{250AF66A-E695-46AA-B50F-CE65E2A363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10" b="110"/>
              <a:stretch>
                <a:fillRect/>
              </a:stretch>
            </p:blipFill>
            <p:spPr>
              <a:xfrm>
                <a:off x="7875270" y="4794551"/>
                <a:ext cx="342900" cy="342900"/>
              </a:xfrm>
              <a:prstGeom prst="rect">
                <a:avLst/>
              </a:prstGeom>
            </p:spPr>
          </p:pic>
        </p:grpSp>
      </p:grpSp>
      <p:sp>
        <p:nvSpPr>
          <p:cNvPr id="1882" name="Oval 1881">
            <a:extLst>
              <a:ext uri="{FF2B5EF4-FFF2-40B4-BE49-F238E27FC236}">
                <a16:creationId xmlns:a16="http://schemas.microsoft.com/office/drawing/2014/main" id="{CB682833-4826-48B1-A7A8-6F9F41CEF769}"/>
              </a:ext>
            </a:extLst>
          </p:cNvPr>
          <p:cNvSpPr/>
          <p:nvPr/>
        </p:nvSpPr>
        <p:spPr>
          <a:xfrm>
            <a:off x="3443976" y="4422227"/>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5" name="Straight Connector 4">
            <a:extLst>
              <a:ext uri="{FF2B5EF4-FFF2-40B4-BE49-F238E27FC236}">
                <a16:creationId xmlns:a16="http://schemas.microsoft.com/office/drawing/2014/main" id="{5F102939-5D57-0FC6-44AD-742E08D724D1}"/>
              </a:ext>
            </a:extLst>
          </p:cNvPr>
          <p:cNvCxnSpPr/>
          <p:nvPr/>
        </p:nvCxnSpPr>
        <p:spPr>
          <a:xfrm flipH="1">
            <a:off x="3084451" y="4598477"/>
            <a:ext cx="2327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B6E9552-4BC6-D980-BE8A-DB96CB5C0E90}"/>
              </a:ext>
            </a:extLst>
          </p:cNvPr>
          <p:cNvCxnSpPr/>
          <p:nvPr/>
        </p:nvCxnSpPr>
        <p:spPr>
          <a:xfrm flipH="1">
            <a:off x="3200829" y="465692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903E2AD-E3CF-57C8-1029-9B689348A555}"/>
              </a:ext>
            </a:extLst>
          </p:cNvPr>
          <p:cNvCxnSpPr/>
          <p:nvPr/>
        </p:nvCxnSpPr>
        <p:spPr>
          <a:xfrm flipH="1" flipV="1">
            <a:off x="3200829" y="438213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36" name="Picture 35">
            <a:extLst>
              <a:ext uri="{FF2B5EF4-FFF2-40B4-BE49-F238E27FC236}">
                <a16:creationId xmlns:a16="http://schemas.microsoft.com/office/drawing/2014/main" id="{5180B81E-BAFE-8E6B-6929-D7BCD7B75612}"/>
              </a:ext>
            </a:extLst>
          </p:cNvPr>
          <p:cNvPicPr>
            <a:picLocks noChangeAspect="1"/>
          </p:cNvPicPr>
          <p:nvPr/>
        </p:nvPicPr>
        <p:blipFill rotWithShape="1">
          <a:blip r:embed="rId6"/>
          <a:srcRect r="66344"/>
          <a:stretch/>
        </p:blipFill>
        <p:spPr>
          <a:xfrm>
            <a:off x="8831698" y="1595493"/>
            <a:ext cx="2563525" cy="2281156"/>
          </a:xfrm>
          <a:prstGeom prst="rect">
            <a:avLst/>
          </a:prstGeom>
        </p:spPr>
      </p:pic>
      <p:pic>
        <p:nvPicPr>
          <p:cNvPr id="37" name="Picture 36">
            <a:extLst>
              <a:ext uri="{FF2B5EF4-FFF2-40B4-BE49-F238E27FC236}">
                <a16:creationId xmlns:a16="http://schemas.microsoft.com/office/drawing/2014/main" id="{B52A0456-8812-6E4B-2433-0155C78785F1}"/>
              </a:ext>
            </a:extLst>
          </p:cNvPr>
          <p:cNvPicPr>
            <a:picLocks noChangeAspect="1"/>
          </p:cNvPicPr>
          <p:nvPr/>
        </p:nvPicPr>
        <p:blipFill rotWithShape="1">
          <a:blip r:embed="rId7"/>
          <a:srcRect r="66482"/>
          <a:stretch/>
        </p:blipFill>
        <p:spPr>
          <a:xfrm>
            <a:off x="5945391" y="1608785"/>
            <a:ext cx="2538153" cy="2267864"/>
          </a:xfrm>
          <a:prstGeom prst="rect">
            <a:avLst/>
          </a:prstGeom>
        </p:spPr>
      </p:pic>
      <p:pic>
        <p:nvPicPr>
          <p:cNvPr id="38" name="Picture 37">
            <a:extLst>
              <a:ext uri="{FF2B5EF4-FFF2-40B4-BE49-F238E27FC236}">
                <a16:creationId xmlns:a16="http://schemas.microsoft.com/office/drawing/2014/main" id="{56221977-C61F-7B03-6C8A-F849B98256AF}"/>
              </a:ext>
            </a:extLst>
          </p:cNvPr>
          <p:cNvPicPr>
            <a:picLocks noChangeAspect="1"/>
          </p:cNvPicPr>
          <p:nvPr/>
        </p:nvPicPr>
        <p:blipFill rotWithShape="1">
          <a:blip r:embed="rId8"/>
          <a:srcRect r="66250"/>
          <a:stretch/>
        </p:blipFill>
        <p:spPr>
          <a:xfrm>
            <a:off x="3033712" y="1608785"/>
            <a:ext cx="2563525" cy="2274805"/>
          </a:xfrm>
          <a:prstGeom prst="rect">
            <a:avLst/>
          </a:prstGeom>
        </p:spPr>
      </p:pic>
      <p:pic>
        <p:nvPicPr>
          <p:cNvPr id="42" name="Picture 41">
            <a:extLst>
              <a:ext uri="{FF2B5EF4-FFF2-40B4-BE49-F238E27FC236}">
                <a16:creationId xmlns:a16="http://schemas.microsoft.com/office/drawing/2014/main" id="{7AD7CC39-C907-0507-6ED2-DC4D5EF4DBC6}"/>
              </a:ext>
            </a:extLst>
          </p:cNvPr>
          <p:cNvPicPr>
            <a:picLocks noChangeAspect="1"/>
          </p:cNvPicPr>
          <p:nvPr/>
        </p:nvPicPr>
        <p:blipFill>
          <a:blip r:embed="rId9"/>
          <a:stretch>
            <a:fillRect/>
          </a:stretch>
        </p:blipFill>
        <p:spPr>
          <a:xfrm>
            <a:off x="124778" y="1608785"/>
            <a:ext cx="2560780" cy="2274805"/>
          </a:xfrm>
          <a:prstGeom prst="rect">
            <a:avLst/>
          </a:prstGeom>
        </p:spPr>
      </p:pic>
      <p:sp>
        <p:nvSpPr>
          <p:cNvPr id="43" name="Rectangle 42">
            <a:extLst>
              <a:ext uri="{FF2B5EF4-FFF2-40B4-BE49-F238E27FC236}">
                <a16:creationId xmlns:a16="http://schemas.microsoft.com/office/drawing/2014/main" id="{916C7F7D-11E3-E8C4-77B2-1F94AAF35F20}"/>
              </a:ext>
            </a:extLst>
          </p:cNvPr>
          <p:cNvSpPr/>
          <p:nvPr/>
        </p:nvSpPr>
        <p:spPr>
          <a:xfrm>
            <a:off x="118306" y="4252706"/>
            <a:ext cx="2563525" cy="19930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4" name="Rectangle 43">
            <a:extLst>
              <a:ext uri="{FF2B5EF4-FFF2-40B4-BE49-F238E27FC236}">
                <a16:creationId xmlns:a16="http://schemas.microsoft.com/office/drawing/2014/main" id="{B9D829D3-3B40-61D4-1E28-63B45EB2B56F}"/>
              </a:ext>
            </a:extLst>
          </p:cNvPr>
          <p:cNvSpPr/>
          <p:nvPr/>
        </p:nvSpPr>
        <p:spPr>
          <a:xfrm>
            <a:off x="401802" y="4903373"/>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5" name="Rectangle 44">
            <a:extLst>
              <a:ext uri="{FF2B5EF4-FFF2-40B4-BE49-F238E27FC236}">
                <a16:creationId xmlns:a16="http://schemas.microsoft.com/office/drawing/2014/main" id="{6DF2406D-1598-56C6-E1F7-57A97BACB1C5}"/>
              </a:ext>
            </a:extLst>
          </p:cNvPr>
          <p:cNvSpPr/>
          <p:nvPr/>
        </p:nvSpPr>
        <p:spPr>
          <a:xfrm>
            <a:off x="401802"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0</a:t>
            </a:r>
            <a:endParaRPr lang="en-SE" dirty="0">
              <a:solidFill>
                <a:schemeClr val="accent6"/>
              </a:solidFill>
            </a:endParaRPr>
          </a:p>
        </p:txBody>
      </p:sp>
      <p:sp>
        <p:nvSpPr>
          <p:cNvPr id="46" name="Rectangle 45">
            <a:extLst>
              <a:ext uri="{FF2B5EF4-FFF2-40B4-BE49-F238E27FC236}">
                <a16:creationId xmlns:a16="http://schemas.microsoft.com/office/drawing/2014/main" id="{612B9B92-2EA4-7EE4-1493-59861F2D92A8}"/>
              </a:ext>
            </a:extLst>
          </p:cNvPr>
          <p:cNvSpPr/>
          <p:nvPr/>
        </p:nvSpPr>
        <p:spPr>
          <a:xfrm>
            <a:off x="1994382"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6"/>
                </a:solidFill>
              </a:rPr>
              <a:t>0</a:t>
            </a:r>
            <a:endParaRPr lang="en-SE">
              <a:solidFill>
                <a:schemeClr val="accent6"/>
              </a:solidFill>
            </a:endParaRPr>
          </a:p>
        </p:txBody>
      </p:sp>
      <p:grpSp>
        <p:nvGrpSpPr>
          <p:cNvPr id="47" name="Group 46">
            <a:extLst>
              <a:ext uri="{FF2B5EF4-FFF2-40B4-BE49-F238E27FC236}">
                <a16:creationId xmlns:a16="http://schemas.microsoft.com/office/drawing/2014/main" id="{86AF7F0F-EDA7-D373-75ED-56822AA7CBAD}"/>
              </a:ext>
            </a:extLst>
          </p:cNvPr>
          <p:cNvGrpSpPr/>
          <p:nvPr/>
        </p:nvGrpSpPr>
        <p:grpSpPr>
          <a:xfrm>
            <a:off x="944727" y="5753290"/>
            <a:ext cx="849630" cy="424460"/>
            <a:chOff x="4855755" y="5897034"/>
            <a:chExt cx="849630" cy="424460"/>
          </a:xfrm>
        </p:grpSpPr>
        <p:grpSp>
          <p:nvGrpSpPr>
            <p:cNvPr id="48" name="Group 47">
              <a:extLst>
                <a:ext uri="{FF2B5EF4-FFF2-40B4-BE49-F238E27FC236}">
                  <a16:creationId xmlns:a16="http://schemas.microsoft.com/office/drawing/2014/main" id="{6E927A4B-6A7F-EBB9-4B2D-EDECE1FDD249}"/>
                </a:ext>
              </a:extLst>
            </p:cNvPr>
            <p:cNvGrpSpPr/>
            <p:nvPr/>
          </p:nvGrpSpPr>
          <p:grpSpPr>
            <a:xfrm>
              <a:off x="4855755" y="5897034"/>
              <a:ext cx="849630" cy="411480"/>
              <a:chOff x="4855755" y="5897034"/>
              <a:chExt cx="849630" cy="411480"/>
            </a:xfrm>
          </p:grpSpPr>
          <p:sp>
            <p:nvSpPr>
              <p:cNvPr id="52" name="Rectangle 51">
                <a:extLst>
                  <a:ext uri="{FF2B5EF4-FFF2-40B4-BE49-F238E27FC236}">
                    <a16:creationId xmlns:a16="http://schemas.microsoft.com/office/drawing/2014/main" id="{A8009EBE-C29C-61C0-191D-807EDC3A8012}"/>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53" name="Rectangle 52">
                <a:extLst>
                  <a:ext uri="{FF2B5EF4-FFF2-40B4-BE49-F238E27FC236}">
                    <a16:creationId xmlns:a16="http://schemas.microsoft.com/office/drawing/2014/main" id="{1A0D292F-29CD-B00F-4EE0-0078EADE0EFE}"/>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grpSp>
        <p:grpSp>
          <p:nvGrpSpPr>
            <p:cNvPr id="49" name="Group 48">
              <a:extLst>
                <a:ext uri="{FF2B5EF4-FFF2-40B4-BE49-F238E27FC236}">
                  <a16:creationId xmlns:a16="http://schemas.microsoft.com/office/drawing/2014/main" id="{3D5505B1-9B7C-67BD-2B15-1717681C5E0D}"/>
                </a:ext>
              </a:extLst>
            </p:cNvPr>
            <p:cNvGrpSpPr/>
            <p:nvPr/>
          </p:nvGrpSpPr>
          <p:grpSpPr>
            <a:xfrm>
              <a:off x="4855755" y="5978593"/>
              <a:ext cx="849630" cy="342901"/>
              <a:chOff x="7368540" y="4794551"/>
              <a:chExt cx="849630" cy="342901"/>
            </a:xfrm>
          </p:grpSpPr>
          <p:pic>
            <p:nvPicPr>
              <p:cNvPr id="50" name="Picture Placeholder 49">
                <a:extLst>
                  <a:ext uri="{FF2B5EF4-FFF2-40B4-BE49-F238E27FC236}">
                    <a16:creationId xmlns:a16="http://schemas.microsoft.com/office/drawing/2014/main" id="{3DC2FFA2-BC84-7055-9493-21D3AA2DF41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10" b="110"/>
              <a:stretch>
                <a:fillRect/>
              </a:stretch>
            </p:blipFill>
            <p:spPr>
              <a:xfrm>
                <a:off x="7368540" y="4794551"/>
                <a:ext cx="342901" cy="342901"/>
              </a:xfrm>
              <a:prstGeom prst="rect">
                <a:avLst/>
              </a:prstGeom>
            </p:spPr>
          </p:pic>
          <p:pic>
            <p:nvPicPr>
              <p:cNvPr id="51" name="Picture Placeholder 57">
                <a:extLst>
                  <a:ext uri="{FF2B5EF4-FFF2-40B4-BE49-F238E27FC236}">
                    <a16:creationId xmlns:a16="http://schemas.microsoft.com/office/drawing/2014/main" id="{AEF89187-6127-2482-953A-E75CA54E8B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10" b="110"/>
              <a:stretch>
                <a:fillRect/>
              </a:stretch>
            </p:blipFill>
            <p:spPr>
              <a:xfrm>
                <a:off x="7875270" y="4794551"/>
                <a:ext cx="342900" cy="342900"/>
              </a:xfrm>
              <a:prstGeom prst="rect">
                <a:avLst/>
              </a:prstGeom>
            </p:spPr>
          </p:pic>
        </p:grpSp>
      </p:grpSp>
      <p:sp>
        <p:nvSpPr>
          <p:cNvPr id="54" name="Oval 53">
            <a:extLst>
              <a:ext uri="{FF2B5EF4-FFF2-40B4-BE49-F238E27FC236}">
                <a16:creationId xmlns:a16="http://schemas.microsoft.com/office/drawing/2014/main" id="{26BCC45D-332F-0F2F-C7B8-ED470F350E32}"/>
              </a:ext>
            </a:extLst>
          </p:cNvPr>
          <p:cNvSpPr/>
          <p:nvPr/>
        </p:nvSpPr>
        <p:spPr>
          <a:xfrm>
            <a:off x="528571" y="4422227"/>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55" name="Straight Connector 54">
            <a:extLst>
              <a:ext uri="{FF2B5EF4-FFF2-40B4-BE49-F238E27FC236}">
                <a16:creationId xmlns:a16="http://schemas.microsoft.com/office/drawing/2014/main" id="{A0226E73-6F80-5E22-423B-A3191DA35055}"/>
              </a:ext>
            </a:extLst>
          </p:cNvPr>
          <p:cNvCxnSpPr/>
          <p:nvPr/>
        </p:nvCxnSpPr>
        <p:spPr>
          <a:xfrm flipH="1">
            <a:off x="169046" y="4598477"/>
            <a:ext cx="2327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231AFA-CF3C-A963-25EF-C696E535AC38}"/>
              </a:ext>
            </a:extLst>
          </p:cNvPr>
          <p:cNvCxnSpPr/>
          <p:nvPr/>
        </p:nvCxnSpPr>
        <p:spPr>
          <a:xfrm flipH="1">
            <a:off x="285424" y="465692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4803D7C-5CFF-2043-5A68-D06C8788F880}"/>
              </a:ext>
            </a:extLst>
          </p:cNvPr>
          <p:cNvCxnSpPr/>
          <p:nvPr/>
        </p:nvCxnSpPr>
        <p:spPr>
          <a:xfrm flipH="1" flipV="1">
            <a:off x="285424" y="438213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ADF7A3B7-2FA0-E532-F6A9-CDD6BB45B44B}"/>
              </a:ext>
            </a:extLst>
          </p:cNvPr>
          <p:cNvSpPr/>
          <p:nvPr/>
        </p:nvSpPr>
        <p:spPr>
          <a:xfrm>
            <a:off x="5945391" y="4252706"/>
            <a:ext cx="2563525" cy="19930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74" name="Rectangle 73">
            <a:extLst>
              <a:ext uri="{FF2B5EF4-FFF2-40B4-BE49-F238E27FC236}">
                <a16:creationId xmlns:a16="http://schemas.microsoft.com/office/drawing/2014/main" id="{B8E57D5B-7C68-5633-9AFC-44F0B008592A}"/>
              </a:ext>
            </a:extLst>
          </p:cNvPr>
          <p:cNvSpPr/>
          <p:nvPr/>
        </p:nvSpPr>
        <p:spPr>
          <a:xfrm>
            <a:off x="6228887" y="4903373"/>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75" name="Rectangle 74">
            <a:extLst>
              <a:ext uri="{FF2B5EF4-FFF2-40B4-BE49-F238E27FC236}">
                <a16:creationId xmlns:a16="http://schemas.microsoft.com/office/drawing/2014/main" id="{0ABD77B7-B48B-78A7-D3BB-BF7EFE540752}"/>
              </a:ext>
            </a:extLst>
          </p:cNvPr>
          <p:cNvSpPr/>
          <p:nvPr/>
        </p:nvSpPr>
        <p:spPr>
          <a:xfrm>
            <a:off x="6228887"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0</a:t>
            </a:r>
            <a:endParaRPr lang="en-SE" dirty="0">
              <a:solidFill>
                <a:schemeClr val="accent6"/>
              </a:solidFill>
            </a:endParaRPr>
          </a:p>
        </p:txBody>
      </p:sp>
      <p:sp>
        <p:nvSpPr>
          <p:cNvPr id="76" name="Rectangle 75">
            <a:extLst>
              <a:ext uri="{FF2B5EF4-FFF2-40B4-BE49-F238E27FC236}">
                <a16:creationId xmlns:a16="http://schemas.microsoft.com/office/drawing/2014/main" id="{6719CA14-657C-B17E-3344-4319B49A3DF7}"/>
              </a:ext>
            </a:extLst>
          </p:cNvPr>
          <p:cNvSpPr/>
          <p:nvPr/>
        </p:nvSpPr>
        <p:spPr>
          <a:xfrm>
            <a:off x="7821467"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6"/>
                </a:solidFill>
              </a:rPr>
              <a:t>0</a:t>
            </a:r>
            <a:endParaRPr lang="en-SE">
              <a:solidFill>
                <a:schemeClr val="accent6"/>
              </a:solidFill>
            </a:endParaRPr>
          </a:p>
        </p:txBody>
      </p:sp>
      <p:grpSp>
        <p:nvGrpSpPr>
          <p:cNvPr id="77" name="Group 76">
            <a:extLst>
              <a:ext uri="{FF2B5EF4-FFF2-40B4-BE49-F238E27FC236}">
                <a16:creationId xmlns:a16="http://schemas.microsoft.com/office/drawing/2014/main" id="{BF6A59A4-34E2-B07A-7419-4DDAC849417B}"/>
              </a:ext>
            </a:extLst>
          </p:cNvPr>
          <p:cNvGrpSpPr/>
          <p:nvPr/>
        </p:nvGrpSpPr>
        <p:grpSpPr>
          <a:xfrm>
            <a:off x="6771812" y="5753290"/>
            <a:ext cx="849630" cy="424460"/>
            <a:chOff x="4855755" y="5897034"/>
            <a:chExt cx="849630" cy="424460"/>
          </a:xfrm>
        </p:grpSpPr>
        <p:grpSp>
          <p:nvGrpSpPr>
            <p:cNvPr id="78" name="Group 77">
              <a:extLst>
                <a:ext uri="{FF2B5EF4-FFF2-40B4-BE49-F238E27FC236}">
                  <a16:creationId xmlns:a16="http://schemas.microsoft.com/office/drawing/2014/main" id="{3A75E07A-A3B4-0509-B1F8-7D5F0DE29835}"/>
                </a:ext>
              </a:extLst>
            </p:cNvPr>
            <p:cNvGrpSpPr/>
            <p:nvPr/>
          </p:nvGrpSpPr>
          <p:grpSpPr>
            <a:xfrm>
              <a:off x="4855755" y="5897034"/>
              <a:ext cx="849630" cy="411480"/>
              <a:chOff x="4855755" y="5897034"/>
              <a:chExt cx="849630" cy="411480"/>
            </a:xfrm>
          </p:grpSpPr>
          <p:sp>
            <p:nvSpPr>
              <p:cNvPr id="82" name="Rectangle 81">
                <a:extLst>
                  <a:ext uri="{FF2B5EF4-FFF2-40B4-BE49-F238E27FC236}">
                    <a16:creationId xmlns:a16="http://schemas.microsoft.com/office/drawing/2014/main" id="{C71C2D05-07C1-7BCE-6B81-504448E65546}"/>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83" name="Rectangle 82">
                <a:extLst>
                  <a:ext uri="{FF2B5EF4-FFF2-40B4-BE49-F238E27FC236}">
                    <a16:creationId xmlns:a16="http://schemas.microsoft.com/office/drawing/2014/main" id="{B321F1EB-BC6F-75A4-5131-9E5812C692CF}"/>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grpSp>
        <p:grpSp>
          <p:nvGrpSpPr>
            <p:cNvPr id="79" name="Group 78">
              <a:extLst>
                <a:ext uri="{FF2B5EF4-FFF2-40B4-BE49-F238E27FC236}">
                  <a16:creationId xmlns:a16="http://schemas.microsoft.com/office/drawing/2014/main" id="{AFB1B2EE-0349-91DD-EF8A-D94D69168EAC}"/>
                </a:ext>
              </a:extLst>
            </p:cNvPr>
            <p:cNvGrpSpPr/>
            <p:nvPr/>
          </p:nvGrpSpPr>
          <p:grpSpPr>
            <a:xfrm>
              <a:off x="4855755" y="5978593"/>
              <a:ext cx="849630" cy="342901"/>
              <a:chOff x="7368540" y="4794551"/>
              <a:chExt cx="849630" cy="342901"/>
            </a:xfrm>
          </p:grpSpPr>
          <p:pic>
            <p:nvPicPr>
              <p:cNvPr id="80" name="Picture Placeholder 49">
                <a:extLst>
                  <a:ext uri="{FF2B5EF4-FFF2-40B4-BE49-F238E27FC236}">
                    <a16:creationId xmlns:a16="http://schemas.microsoft.com/office/drawing/2014/main" id="{8D5B4E07-8FEC-19A8-D580-5BFD7503542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10" b="110"/>
              <a:stretch>
                <a:fillRect/>
              </a:stretch>
            </p:blipFill>
            <p:spPr>
              <a:xfrm>
                <a:off x="7368540" y="4794551"/>
                <a:ext cx="342901" cy="342901"/>
              </a:xfrm>
              <a:prstGeom prst="rect">
                <a:avLst/>
              </a:prstGeom>
            </p:spPr>
          </p:pic>
          <p:pic>
            <p:nvPicPr>
              <p:cNvPr id="81" name="Picture Placeholder 57">
                <a:extLst>
                  <a:ext uri="{FF2B5EF4-FFF2-40B4-BE49-F238E27FC236}">
                    <a16:creationId xmlns:a16="http://schemas.microsoft.com/office/drawing/2014/main" id="{3DE24861-BDE5-E16E-38A4-6E7F639B97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10" b="110"/>
              <a:stretch>
                <a:fillRect/>
              </a:stretch>
            </p:blipFill>
            <p:spPr>
              <a:xfrm>
                <a:off x="7875270" y="4794551"/>
                <a:ext cx="342900" cy="342900"/>
              </a:xfrm>
              <a:prstGeom prst="rect">
                <a:avLst/>
              </a:prstGeom>
            </p:spPr>
          </p:pic>
        </p:grpSp>
      </p:grpSp>
      <p:sp>
        <p:nvSpPr>
          <p:cNvPr id="84" name="Oval 83">
            <a:extLst>
              <a:ext uri="{FF2B5EF4-FFF2-40B4-BE49-F238E27FC236}">
                <a16:creationId xmlns:a16="http://schemas.microsoft.com/office/drawing/2014/main" id="{5B21DA3E-BDD6-C92E-76EF-FFAE43666004}"/>
              </a:ext>
            </a:extLst>
          </p:cNvPr>
          <p:cNvSpPr/>
          <p:nvPr/>
        </p:nvSpPr>
        <p:spPr>
          <a:xfrm>
            <a:off x="6355656" y="4422227"/>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85" name="Straight Connector 84">
            <a:extLst>
              <a:ext uri="{FF2B5EF4-FFF2-40B4-BE49-F238E27FC236}">
                <a16:creationId xmlns:a16="http://schemas.microsoft.com/office/drawing/2014/main" id="{BC57EF7D-F29E-D6E5-97AB-4B9F5FA0941D}"/>
              </a:ext>
            </a:extLst>
          </p:cNvPr>
          <p:cNvCxnSpPr/>
          <p:nvPr/>
        </p:nvCxnSpPr>
        <p:spPr>
          <a:xfrm flipH="1">
            <a:off x="5996131" y="4598477"/>
            <a:ext cx="2327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8D8B3BED-B349-41B6-8022-7D8592D5EE4B}"/>
              </a:ext>
            </a:extLst>
          </p:cNvPr>
          <p:cNvCxnSpPr/>
          <p:nvPr/>
        </p:nvCxnSpPr>
        <p:spPr>
          <a:xfrm flipH="1">
            <a:off x="6112509" y="465692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08F9FF9-1C56-9414-7857-165E64019EC8}"/>
              </a:ext>
            </a:extLst>
          </p:cNvPr>
          <p:cNvCxnSpPr/>
          <p:nvPr/>
        </p:nvCxnSpPr>
        <p:spPr>
          <a:xfrm flipH="1" flipV="1">
            <a:off x="6112509" y="438213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67CA4F71-B5B4-8052-F617-6F426EC82BCC}"/>
              </a:ext>
            </a:extLst>
          </p:cNvPr>
          <p:cNvSpPr/>
          <p:nvPr/>
        </p:nvSpPr>
        <p:spPr>
          <a:xfrm>
            <a:off x="8831698" y="4252706"/>
            <a:ext cx="2563525" cy="19930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89" name="Rectangle 88">
            <a:extLst>
              <a:ext uri="{FF2B5EF4-FFF2-40B4-BE49-F238E27FC236}">
                <a16:creationId xmlns:a16="http://schemas.microsoft.com/office/drawing/2014/main" id="{00D2E9FC-F61E-1A35-1347-01E25F419164}"/>
              </a:ext>
            </a:extLst>
          </p:cNvPr>
          <p:cNvSpPr/>
          <p:nvPr/>
        </p:nvSpPr>
        <p:spPr>
          <a:xfrm>
            <a:off x="9115194" y="4903373"/>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90" name="Rectangle 89">
            <a:extLst>
              <a:ext uri="{FF2B5EF4-FFF2-40B4-BE49-F238E27FC236}">
                <a16:creationId xmlns:a16="http://schemas.microsoft.com/office/drawing/2014/main" id="{0B1BAB65-7F46-BB08-2F56-571F075AA2BD}"/>
              </a:ext>
            </a:extLst>
          </p:cNvPr>
          <p:cNvSpPr/>
          <p:nvPr/>
        </p:nvSpPr>
        <p:spPr>
          <a:xfrm>
            <a:off x="9115194"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0</a:t>
            </a:r>
            <a:endParaRPr lang="en-SE" dirty="0">
              <a:solidFill>
                <a:schemeClr val="accent6"/>
              </a:solidFill>
            </a:endParaRPr>
          </a:p>
        </p:txBody>
      </p:sp>
      <p:sp>
        <p:nvSpPr>
          <p:cNvPr id="91" name="Rectangle 90">
            <a:extLst>
              <a:ext uri="{FF2B5EF4-FFF2-40B4-BE49-F238E27FC236}">
                <a16:creationId xmlns:a16="http://schemas.microsoft.com/office/drawing/2014/main" id="{254694F4-C5EB-1F5B-0DB3-CEDDF55ADA84}"/>
              </a:ext>
            </a:extLst>
          </p:cNvPr>
          <p:cNvSpPr/>
          <p:nvPr/>
        </p:nvSpPr>
        <p:spPr>
          <a:xfrm>
            <a:off x="10707774"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6"/>
                </a:solidFill>
              </a:rPr>
              <a:t>0</a:t>
            </a:r>
            <a:endParaRPr lang="en-SE">
              <a:solidFill>
                <a:schemeClr val="accent6"/>
              </a:solidFill>
            </a:endParaRPr>
          </a:p>
        </p:txBody>
      </p:sp>
      <p:grpSp>
        <p:nvGrpSpPr>
          <p:cNvPr id="92" name="Group 91">
            <a:extLst>
              <a:ext uri="{FF2B5EF4-FFF2-40B4-BE49-F238E27FC236}">
                <a16:creationId xmlns:a16="http://schemas.microsoft.com/office/drawing/2014/main" id="{76EE25ED-AD63-5A18-449F-A9A8721A6254}"/>
              </a:ext>
            </a:extLst>
          </p:cNvPr>
          <p:cNvGrpSpPr/>
          <p:nvPr/>
        </p:nvGrpSpPr>
        <p:grpSpPr>
          <a:xfrm>
            <a:off x="9658119" y="5753290"/>
            <a:ext cx="849630" cy="424460"/>
            <a:chOff x="4855755" y="5897034"/>
            <a:chExt cx="849630" cy="424460"/>
          </a:xfrm>
        </p:grpSpPr>
        <p:grpSp>
          <p:nvGrpSpPr>
            <p:cNvPr id="93" name="Group 92">
              <a:extLst>
                <a:ext uri="{FF2B5EF4-FFF2-40B4-BE49-F238E27FC236}">
                  <a16:creationId xmlns:a16="http://schemas.microsoft.com/office/drawing/2014/main" id="{A9A5BF2E-A6B9-C5B0-9478-2657F8125786}"/>
                </a:ext>
              </a:extLst>
            </p:cNvPr>
            <p:cNvGrpSpPr/>
            <p:nvPr/>
          </p:nvGrpSpPr>
          <p:grpSpPr>
            <a:xfrm>
              <a:off x="4855755" y="5897034"/>
              <a:ext cx="849630" cy="411480"/>
              <a:chOff x="4855755" y="5897034"/>
              <a:chExt cx="849630" cy="411480"/>
            </a:xfrm>
          </p:grpSpPr>
          <p:sp>
            <p:nvSpPr>
              <p:cNvPr id="97" name="Rectangle 96">
                <a:extLst>
                  <a:ext uri="{FF2B5EF4-FFF2-40B4-BE49-F238E27FC236}">
                    <a16:creationId xmlns:a16="http://schemas.microsoft.com/office/drawing/2014/main" id="{755E6B15-474E-E8C6-6A0E-7A71CBA2AABA}"/>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98" name="Rectangle 97">
                <a:extLst>
                  <a:ext uri="{FF2B5EF4-FFF2-40B4-BE49-F238E27FC236}">
                    <a16:creationId xmlns:a16="http://schemas.microsoft.com/office/drawing/2014/main" id="{4E8B5862-644E-B891-7BFF-6EB8D057C4FC}"/>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grpSp>
        <p:grpSp>
          <p:nvGrpSpPr>
            <p:cNvPr id="94" name="Group 93">
              <a:extLst>
                <a:ext uri="{FF2B5EF4-FFF2-40B4-BE49-F238E27FC236}">
                  <a16:creationId xmlns:a16="http://schemas.microsoft.com/office/drawing/2014/main" id="{39F341A7-CA98-59B5-C1CD-11B95422A27D}"/>
                </a:ext>
              </a:extLst>
            </p:cNvPr>
            <p:cNvGrpSpPr/>
            <p:nvPr/>
          </p:nvGrpSpPr>
          <p:grpSpPr>
            <a:xfrm>
              <a:off x="4855755" y="5978593"/>
              <a:ext cx="849630" cy="342901"/>
              <a:chOff x="7368540" y="4794551"/>
              <a:chExt cx="849630" cy="342901"/>
            </a:xfrm>
          </p:grpSpPr>
          <p:pic>
            <p:nvPicPr>
              <p:cNvPr id="95" name="Picture Placeholder 49">
                <a:extLst>
                  <a:ext uri="{FF2B5EF4-FFF2-40B4-BE49-F238E27FC236}">
                    <a16:creationId xmlns:a16="http://schemas.microsoft.com/office/drawing/2014/main" id="{C05EFCE9-9E99-FDBF-D7FE-B73C23E7370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10" b="110"/>
              <a:stretch>
                <a:fillRect/>
              </a:stretch>
            </p:blipFill>
            <p:spPr>
              <a:xfrm>
                <a:off x="7368540" y="4794551"/>
                <a:ext cx="342901" cy="342901"/>
              </a:xfrm>
              <a:prstGeom prst="rect">
                <a:avLst/>
              </a:prstGeom>
            </p:spPr>
          </p:pic>
          <p:pic>
            <p:nvPicPr>
              <p:cNvPr id="96" name="Picture Placeholder 57">
                <a:extLst>
                  <a:ext uri="{FF2B5EF4-FFF2-40B4-BE49-F238E27FC236}">
                    <a16:creationId xmlns:a16="http://schemas.microsoft.com/office/drawing/2014/main" id="{2310359C-935F-3A3C-F762-B41D8DE4D0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10" b="110"/>
              <a:stretch>
                <a:fillRect/>
              </a:stretch>
            </p:blipFill>
            <p:spPr>
              <a:xfrm>
                <a:off x="7875270" y="4794551"/>
                <a:ext cx="342900" cy="342900"/>
              </a:xfrm>
              <a:prstGeom prst="rect">
                <a:avLst/>
              </a:prstGeom>
            </p:spPr>
          </p:pic>
        </p:grpSp>
      </p:grpSp>
      <p:sp>
        <p:nvSpPr>
          <p:cNvPr id="99" name="Oval 98">
            <a:extLst>
              <a:ext uri="{FF2B5EF4-FFF2-40B4-BE49-F238E27FC236}">
                <a16:creationId xmlns:a16="http://schemas.microsoft.com/office/drawing/2014/main" id="{97C6C728-188F-CA8C-E078-4DCBBDC30BCB}"/>
              </a:ext>
            </a:extLst>
          </p:cNvPr>
          <p:cNvSpPr/>
          <p:nvPr/>
        </p:nvSpPr>
        <p:spPr>
          <a:xfrm>
            <a:off x="9241963" y="4422227"/>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100" name="Straight Connector 99">
            <a:extLst>
              <a:ext uri="{FF2B5EF4-FFF2-40B4-BE49-F238E27FC236}">
                <a16:creationId xmlns:a16="http://schemas.microsoft.com/office/drawing/2014/main" id="{7418FE7C-9CFC-AC67-A65B-45DA233456E8}"/>
              </a:ext>
            </a:extLst>
          </p:cNvPr>
          <p:cNvCxnSpPr/>
          <p:nvPr/>
        </p:nvCxnSpPr>
        <p:spPr>
          <a:xfrm flipH="1">
            <a:off x="8882438" y="4598477"/>
            <a:ext cx="2327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D2E28B97-6ED6-61BC-3D9B-E56927C13AD8}"/>
              </a:ext>
            </a:extLst>
          </p:cNvPr>
          <p:cNvCxnSpPr/>
          <p:nvPr/>
        </p:nvCxnSpPr>
        <p:spPr>
          <a:xfrm flipH="1">
            <a:off x="8998816" y="465692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5C251FC8-C852-8862-060F-79554F024AD9}"/>
              </a:ext>
            </a:extLst>
          </p:cNvPr>
          <p:cNvCxnSpPr/>
          <p:nvPr/>
        </p:nvCxnSpPr>
        <p:spPr>
          <a:xfrm flipH="1" flipV="1">
            <a:off x="8998816" y="438213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4528059"/>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9" name="CustomShape 196"/>
          <p:cNvSpPr/>
          <p:nvPr/>
        </p:nvSpPr>
        <p:spPr>
          <a:xfrm>
            <a:off x="495720" y="328680"/>
            <a:ext cx="5345356" cy="534240"/>
          </a:xfrm>
          <a:prstGeom prst="rect">
            <a:avLst/>
          </a:prstGeom>
          <a:noFill/>
          <a:ln w="12600">
            <a:noFill/>
          </a:ln>
        </p:spPr>
        <p:style>
          <a:lnRef idx="0">
            <a:scrgbClr r="0" g="0" b="0"/>
          </a:lnRef>
          <a:fillRef idx="0">
            <a:scrgbClr r="0" g="0" b="0"/>
          </a:fillRef>
          <a:effectRef idx="0">
            <a:scrgbClr r="0" g="0" b="0"/>
          </a:effectRef>
          <a:fontRef idx="minor"/>
        </p:style>
        <p:txBody>
          <a:bodyPr lIns="72000" tIns="36000" rIns="73080" bIns="36720"/>
          <a:lstStyle/>
          <a:p>
            <a:pPr>
              <a:lnSpc>
                <a:spcPct val="100000"/>
              </a:lnSpc>
            </a:pPr>
            <a:r>
              <a:rPr lang="sv-SE" sz="4000" b="0" strike="noStrike" spc="-1" dirty="0">
                <a:solidFill>
                  <a:srgbClr val="181818"/>
                </a:solidFill>
                <a:uFill>
                  <a:solidFill>
                    <a:srgbClr val="FFFFFF"/>
                  </a:solidFill>
                </a:uFill>
                <a:latin typeface="Ericsson Hilda"/>
              </a:rPr>
              <a:t>Översikt: Spelprocess</a:t>
            </a:r>
            <a:endParaRPr lang="sv-SE" sz="4000" b="0" strike="noStrike" spc="-1" dirty="0">
              <a:solidFill>
                <a:srgbClr val="000000"/>
              </a:solidFill>
              <a:uFill>
                <a:solidFill>
                  <a:srgbClr val="FFFFFF"/>
                </a:solidFill>
              </a:uFill>
              <a:latin typeface="Arial"/>
            </a:endParaRPr>
          </a:p>
        </p:txBody>
      </p:sp>
      <p:sp>
        <p:nvSpPr>
          <p:cNvPr id="1110" name="Rectangle 1109">
            <a:extLst>
              <a:ext uri="{FF2B5EF4-FFF2-40B4-BE49-F238E27FC236}">
                <a16:creationId xmlns:a16="http://schemas.microsoft.com/office/drawing/2014/main" id="{74D20775-402D-4802-A3BA-22E3763FD413}"/>
              </a:ext>
            </a:extLst>
          </p:cNvPr>
          <p:cNvSpPr/>
          <p:nvPr/>
        </p:nvSpPr>
        <p:spPr>
          <a:xfrm>
            <a:off x="11277600" y="309217"/>
            <a:ext cx="649357" cy="506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pic>
        <p:nvPicPr>
          <p:cNvPr id="42" name="Picture 41">
            <a:extLst>
              <a:ext uri="{FF2B5EF4-FFF2-40B4-BE49-F238E27FC236}">
                <a16:creationId xmlns:a16="http://schemas.microsoft.com/office/drawing/2014/main" id="{7AD7CC39-C907-0507-6ED2-DC4D5EF4DBC6}"/>
              </a:ext>
            </a:extLst>
          </p:cNvPr>
          <p:cNvPicPr>
            <a:picLocks noChangeAspect="1"/>
          </p:cNvPicPr>
          <p:nvPr/>
        </p:nvPicPr>
        <p:blipFill>
          <a:blip r:embed="rId3"/>
          <a:stretch>
            <a:fillRect/>
          </a:stretch>
        </p:blipFill>
        <p:spPr>
          <a:xfrm>
            <a:off x="640167" y="1608785"/>
            <a:ext cx="2560780" cy="2274805"/>
          </a:xfrm>
          <a:prstGeom prst="rect">
            <a:avLst/>
          </a:prstGeom>
        </p:spPr>
      </p:pic>
      <p:sp>
        <p:nvSpPr>
          <p:cNvPr id="43" name="Rectangle 42">
            <a:extLst>
              <a:ext uri="{FF2B5EF4-FFF2-40B4-BE49-F238E27FC236}">
                <a16:creationId xmlns:a16="http://schemas.microsoft.com/office/drawing/2014/main" id="{916C7F7D-11E3-E8C4-77B2-1F94AAF35F20}"/>
              </a:ext>
            </a:extLst>
          </p:cNvPr>
          <p:cNvSpPr/>
          <p:nvPr/>
        </p:nvSpPr>
        <p:spPr>
          <a:xfrm>
            <a:off x="633695" y="4252706"/>
            <a:ext cx="2563525" cy="19930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4" name="Rectangle 43">
            <a:extLst>
              <a:ext uri="{FF2B5EF4-FFF2-40B4-BE49-F238E27FC236}">
                <a16:creationId xmlns:a16="http://schemas.microsoft.com/office/drawing/2014/main" id="{B9D829D3-3B40-61D4-1E28-63B45EB2B56F}"/>
              </a:ext>
            </a:extLst>
          </p:cNvPr>
          <p:cNvSpPr/>
          <p:nvPr/>
        </p:nvSpPr>
        <p:spPr>
          <a:xfrm>
            <a:off x="917191" y="4903373"/>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Press to start</a:t>
            </a:r>
            <a:endParaRPr lang="en-SE" dirty="0"/>
          </a:p>
        </p:txBody>
      </p:sp>
      <p:sp>
        <p:nvSpPr>
          <p:cNvPr id="45" name="Rectangle 44">
            <a:extLst>
              <a:ext uri="{FF2B5EF4-FFF2-40B4-BE49-F238E27FC236}">
                <a16:creationId xmlns:a16="http://schemas.microsoft.com/office/drawing/2014/main" id="{6DF2406D-1598-56C6-E1F7-57A97BACB1C5}"/>
              </a:ext>
            </a:extLst>
          </p:cNvPr>
          <p:cNvSpPr/>
          <p:nvPr/>
        </p:nvSpPr>
        <p:spPr>
          <a:xfrm>
            <a:off x="917191"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accent6"/>
                </a:solidFill>
              </a:rPr>
              <a:t>-</a:t>
            </a:r>
            <a:endParaRPr lang="en-SE" dirty="0">
              <a:solidFill>
                <a:schemeClr val="accent6"/>
              </a:solidFill>
            </a:endParaRPr>
          </a:p>
        </p:txBody>
      </p:sp>
      <p:sp>
        <p:nvSpPr>
          <p:cNvPr id="46" name="Rectangle 45">
            <a:extLst>
              <a:ext uri="{FF2B5EF4-FFF2-40B4-BE49-F238E27FC236}">
                <a16:creationId xmlns:a16="http://schemas.microsoft.com/office/drawing/2014/main" id="{612B9B92-2EA4-7EE4-1493-59861F2D92A8}"/>
              </a:ext>
            </a:extLst>
          </p:cNvPr>
          <p:cNvSpPr/>
          <p:nvPr/>
        </p:nvSpPr>
        <p:spPr>
          <a:xfrm>
            <a:off x="2509771"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a:t>
            </a:r>
            <a:endParaRPr lang="en-SE" dirty="0">
              <a:solidFill>
                <a:schemeClr val="accent6"/>
              </a:solidFill>
            </a:endParaRPr>
          </a:p>
        </p:txBody>
      </p:sp>
      <p:grpSp>
        <p:nvGrpSpPr>
          <p:cNvPr id="48" name="Group 47">
            <a:extLst>
              <a:ext uri="{FF2B5EF4-FFF2-40B4-BE49-F238E27FC236}">
                <a16:creationId xmlns:a16="http://schemas.microsoft.com/office/drawing/2014/main" id="{6E927A4B-6A7F-EBB9-4B2D-EDECE1FDD249}"/>
              </a:ext>
            </a:extLst>
          </p:cNvPr>
          <p:cNvGrpSpPr/>
          <p:nvPr/>
        </p:nvGrpSpPr>
        <p:grpSpPr>
          <a:xfrm>
            <a:off x="1460116" y="5753290"/>
            <a:ext cx="849630" cy="411480"/>
            <a:chOff x="4855755" y="5897034"/>
            <a:chExt cx="849630" cy="411480"/>
          </a:xfrm>
        </p:grpSpPr>
        <p:sp>
          <p:nvSpPr>
            <p:cNvPr id="52" name="Rectangle 51">
              <a:extLst>
                <a:ext uri="{FF2B5EF4-FFF2-40B4-BE49-F238E27FC236}">
                  <a16:creationId xmlns:a16="http://schemas.microsoft.com/office/drawing/2014/main" id="{A8009EBE-C29C-61C0-191D-807EDC3A8012}"/>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53" name="Rectangle 52">
              <a:extLst>
                <a:ext uri="{FF2B5EF4-FFF2-40B4-BE49-F238E27FC236}">
                  <a16:creationId xmlns:a16="http://schemas.microsoft.com/office/drawing/2014/main" id="{1A0D292F-29CD-B00F-4EE0-0078EADE0EFE}"/>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dirty="0"/>
            </a:p>
          </p:txBody>
        </p:sp>
      </p:grpSp>
      <p:sp>
        <p:nvSpPr>
          <p:cNvPr id="54" name="Oval 53">
            <a:extLst>
              <a:ext uri="{FF2B5EF4-FFF2-40B4-BE49-F238E27FC236}">
                <a16:creationId xmlns:a16="http://schemas.microsoft.com/office/drawing/2014/main" id="{26BCC45D-332F-0F2F-C7B8-ED470F350E32}"/>
              </a:ext>
            </a:extLst>
          </p:cNvPr>
          <p:cNvSpPr/>
          <p:nvPr/>
        </p:nvSpPr>
        <p:spPr>
          <a:xfrm>
            <a:off x="1043960" y="4422227"/>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55" name="Straight Connector 54">
            <a:extLst>
              <a:ext uri="{FF2B5EF4-FFF2-40B4-BE49-F238E27FC236}">
                <a16:creationId xmlns:a16="http://schemas.microsoft.com/office/drawing/2014/main" id="{A0226E73-6F80-5E22-423B-A3191DA35055}"/>
              </a:ext>
            </a:extLst>
          </p:cNvPr>
          <p:cNvCxnSpPr/>
          <p:nvPr/>
        </p:nvCxnSpPr>
        <p:spPr>
          <a:xfrm flipH="1">
            <a:off x="684435" y="4598477"/>
            <a:ext cx="2327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231AFA-CF3C-A963-25EF-C696E535AC38}"/>
              </a:ext>
            </a:extLst>
          </p:cNvPr>
          <p:cNvCxnSpPr/>
          <p:nvPr/>
        </p:nvCxnSpPr>
        <p:spPr>
          <a:xfrm flipH="1">
            <a:off x="800813" y="465692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4803D7C-5CFF-2043-5A68-D06C8788F880}"/>
              </a:ext>
            </a:extLst>
          </p:cNvPr>
          <p:cNvCxnSpPr/>
          <p:nvPr/>
        </p:nvCxnSpPr>
        <p:spPr>
          <a:xfrm flipH="1" flipV="1">
            <a:off x="800813" y="438213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CustomShape 5">
            <a:extLst>
              <a:ext uri="{FF2B5EF4-FFF2-40B4-BE49-F238E27FC236}">
                <a16:creationId xmlns:a16="http://schemas.microsoft.com/office/drawing/2014/main" id="{C59AE025-3E26-D903-A38B-F260857264C4}"/>
              </a:ext>
            </a:extLst>
          </p:cNvPr>
          <p:cNvSpPr/>
          <p:nvPr/>
        </p:nvSpPr>
        <p:spPr>
          <a:xfrm>
            <a:off x="3682440" y="1262797"/>
            <a:ext cx="1827720" cy="14763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1</a:t>
            </a:r>
            <a:endParaRPr lang="sv-SE" sz="1800" b="0" strike="noStrike" spc="-1" dirty="0">
              <a:solidFill>
                <a:srgbClr val="000000"/>
              </a:solidFill>
              <a:uFill>
                <a:solidFill>
                  <a:srgbClr val="FFFFFF"/>
                </a:solidFill>
              </a:uFill>
              <a:latin typeface="Arial"/>
            </a:endParaRPr>
          </a:p>
          <a:p>
            <a:pPr>
              <a:lnSpc>
                <a:spcPct val="100000"/>
              </a:lnSpc>
            </a:pPr>
            <a:r>
              <a:rPr lang="sv-SE" sz="1100" b="1" spc="-1" dirty="0">
                <a:solidFill>
                  <a:srgbClr val="181818"/>
                </a:solidFill>
                <a:uFill>
                  <a:solidFill>
                    <a:srgbClr val="FFFFFF"/>
                  </a:solidFill>
                </a:uFill>
                <a:latin typeface="Ericsson Hilda"/>
              </a:rPr>
              <a:t>Komponent</a:t>
            </a:r>
            <a:r>
              <a:rPr lang="sv-SE" sz="1100" b="1" strike="noStrike" spc="-1" dirty="0">
                <a:solidFill>
                  <a:srgbClr val="181818"/>
                </a:solidFill>
                <a:uFill>
                  <a:solidFill>
                    <a:srgbClr val="FFFFFF"/>
                  </a:solidFill>
                </a:uFill>
                <a:latin typeface="Ericsson Hilda"/>
              </a:rPr>
              <a:t>:  </a:t>
            </a:r>
            <a:r>
              <a:rPr lang="sv-SE" sz="1100" strike="noStrike" spc="-1" dirty="0">
                <a:solidFill>
                  <a:srgbClr val="181818"/>
                </a:solidFill>
                <a:uFill>
                  <a:solidFill>
                    <a:srgbClr val="FFFFFF"/>
                  </a:solidFill>
                </a:uFill>
                <a:latin typeface="Ericsson Hilda"/>
              </a:rPr>
              <a:t>LCD-Display</a:t>
            </a:r>
            <a:endParaRPr lang="sv-SE" sz="1100" b="1" strike="noStrike" spc="-1" dirty="0">
              <a:solidFill>
                <a:srgbClr val="181818"/>
              </a:solidFill>
              <a:uFill>
                <a:solidFill>
                  <a:srgbClr val="FFFFFF"/>
                </a:solidFill>
              </a:uFill>
              <a:latin typeface="Ericsson Hilda"/>
            </a:endParaRPr>
          </a:p>
          <a:p>
            <a:endParaRPr lang="sv-SE" sz="1100" b="1" strike="noStrike" spc="-1" dirty="0">
              <a:solidFill>
                <a:srgbClr val="181818"/>
              </a:solidFill>
              <a:uFill>
                <a:solidFill>
                  <a:srgbClr val="FFFFFF"/>
                </a:solidFill>
              </a:uFill>
              <a:latin typeface="Ericsson Hilda"/>
            </a:endParaRPr>
          </a:p>
          <a:p>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Interagera med användare, hådvara redo för ny spelomgång</a:t>
            </a:r>
            <a:endParaRPr lang="sv-SE" sz="1100" b="0" strike="noStrike" spc="-1" dirty="0">
              <a:solidFill>
                <a:srgbClr val="000000"/>
              </a:solidFill>
              <a:uFill>
                <a:solidFill>
                  <a:srgbClr val="FFFFFF"/>
                </a:solidFill>
              </a:uFill>
              <a:latin typeface="Arial"/>
            </a:endParaRPr>
          </a:p>
        </p:txBody>
      </p:sp>
      <p:sp>
        <p:nvSpPr>
          <p:cNvPr id="103" name="CustomShape 5">
            <a:extLst>
              <a:ext uri="{FF2B5EF4-FFF2-40B4-BE49-F238E27FC236}">
                <a16:creationId xmlns:a16="http://schemas.microsoft.com/office/drawing/2014/main" id="{FD07050B-D750-EEFE-D543-E9B3F7C0D0F8}"/>
              </a:ext>
            </a:extLst>
          </p:cNvPr>
          <p:cNvSpPr/>
          <p:nvPr/>
        </p:nvSpPr>
        <p:spPr>
          <a:xfrm>
            <a:off x="3682440" y="3068877"/>
            <a:ext cx="1827720" cy="137144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2</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Tryckknappar</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tarta spel</a:t>
            </a:r>
            <a:endParaRPr lang="sv-SE" sz="1100" b="0" strike="noStrike" spc="-1" dirty="0">
              <a:solidFill>
                <a:srgbClr val="000000"/>
              </a:solidFill>
              <a:uFill>
                <a:solidFill>
                  <a:srgbClr val="FFFFFF"/>
                </a:solidFill>
              </a:uFill>
              <a:latin typeface="Arial"/>
            </a:endParaRPr>
          </a:p>
        </p:txBody>
      </p:sp>
      <p:sp>
        <p:nvSpPr>
          <p:cNvPr id="104" name="CustomShape 5">
            <a:extLst>
              <a:ext uri="{FF2B5EF4-FFF2-40B4-BE49-F238E27FC236}">
                <a16:creationId xmlns:a16="http://schemas.microsoft.com/office/drawing/2014/main" id="{99C502BD-83D6-E38C-6D32-8AD52CBC4098}"/>
              </a:ext>
            </a:extLst>
          </p:cNvPr>
          <p:cNvSpPr/>
          <p:nvPr/>
        </p:nvSpPr>
        <p:spPr>
          <a:xfrm>
            <a:off x="3679092" y="4840681"/>
            <a:ext cx="1827720" cy="137144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3</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Högtalare</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Återkoppling i form av melodi</a:t>
            </a:r>
            <a:endParaRPr lang="sv-SE" sz="1100" b="0" strike="noStrike" spc="-1" dirty="0">
              <a:solidFill>
                <a:srgbClr val="000000"/>
              </a:solidFill>
              <a:uFill>
                <a:solidFill>
                  <a:srgbClr val="FFFFFF"/>
                </a:solidFill>
              </a:uFill>
              <a:latin typeface="Arial"/>
            </a:endParaRPr>
          </a:p>
        </p:txBody>
      </p:sp>
      <p:sp>
        <p:nvSpPr>
          <p:cNvPr id="106" name="Rectangle 105">
            <a:extLst>
              <a:ext uri="{FF2B5EF4-FFF2-40B4-BE49-F238E27FC236}">
                <a16:creationId xmlns:a16="http://schemas.microsoft.com/office/drawing/2014/main" id="{D7B91B25-31AA-BDB3-FC2F-34D5782CAA36}"/>
              </a:ext>
            </a:extLst>
          </p:cNvPr>
          <p:cNvSpPr/>
          <p:nvPr/>
        </p:nvSpPr>
        <p:spPr>
          <a:xfrm>
            <a:off x="6243658" y="4252706"/>
            <a:ext cx="2563525" cy="19930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07" name="Rectangle 106">
            <a:extLst>
              <a:ext uri="{FF2B5EF4-FFF2-40B4-BE49-F238E27FC236}">
                <a16:creationId xmlns:a16="http://schemas.microsoft.com/office/drawing/2014/main" id="{31C03F66-C09D-E036-872C-B586DE69F4BF}"/>
              </a:ext>
            </a:extLst>
          </p:cNvPr>
          <p:cNvSpPr/>
          <p:nvPr/>
        </p:nvSpPr>
        <p:spPr>
          <a:xfrm>
            <a:off x="6527154" y="4903373"/>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New Game Started</a:t>
            </a:r>
            <a:endParaRPr lang="en-SE" sz="1400" dirty="0"/>
          </a:p>
        </p:txBody>
      </p:sp>
      <p:sp>
        <p:nvSpPr>
          <p:cNvPr id="108" name="Rectangle 107">
            <a:extLst>
              <a:ext uri="{FF2B5EF4-FFF2-40B4-BE49-F238E27FC236}">
                <a16:creationId xmlns:a16="http://schemas.microsoft.com/office/drawing/2014/main" id="{E36B2B14-9615-BE55-583D-FF66B0157266}"/>
              </a:ext>
            </a:extLst>
          </p:cNvPr>
          <p:cNvSpPr/>
          <p:nvPr/>
        </p:nvSpPr>
        <p:spPr>
          <a:xfrm>
            <a:off x="6527154"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0</a:t>
            </a:r>
            <a:endParaRPr lang="en-SE" dirty="0">
              <a:solidFill>
                <a:schemeClr val="accent6"/>
              </a:solidFill>
            </a:endParaRPr>
          </a:p>
        </p:txBody>
      </p:sp>
      <p:sp>
        <p:nvSpPr>
          <p:cNvPr id="109" name="Rectangle 108">
            <a:extLst>
              <a:ext uri="{FF2B5EF4-FFF2-40B4-BE49-F238E27FC236}">
                <a16:creationId xmlns:a16="http://schemas.microsoft.com/office/drawing/2014/main" id="{BD514BF0-7041-DFF7-47C2-18DCE427D55B}"/>
              </a:ext>
            </a:extLst>
          </p:cNvPr>
          <p:cNvSpPr/>
          <p:nvPr/>
        </p:nvSpPr>
        <p:spPr>
          <a:xfrm>
            <a:off x="8119734"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6"/>
                </a:solidFill>
              </a:rPr>
              <a:t>0</a:t>
            </a:r>
            <a:endParaRPr lang="en-SE">
              <a:solidFill>
                <a:schemeClr val="accent6"/>
              </a:solidFill>
            </a:endParaRPr>
          </a:p>
        </p:txBody>
      </p:sp>
      <p:grpSp>
        <p:nvGrpSpPr>
          <p:cNvPr id="110" name="Group 109">
            <a:extLst>
              <a:ext uri="{FF2B5EF4-FFF2-40B4-BE49-F238E27FC236}">
                <a16:creationId xmlns:a16="http://schemas.microsoft.com/office/drawing/2014/main" id="{5E3EBD17-8BE9-1FBF-40D2-E560FAE4AAB7}"/>
              </a:ext>
            </a:extLst>
          </p:cNvPr>
          <p:cNvGrpSpPr/>
          <p:nvPr/>
        </p:nvGrpSpPr>
        <p:grpSpPr>
          <a:xfrm>
            <a:off x="7070079" y="5753290"/>
            <a:ext cx="849630" cy="411480"/>
            <a:chOff x="4855755" y="5897034"/>
            <a:chExt cx="849630" cy="411480"/>
          </a:xfrm>
        </p:grpSpPr>
        <p:sp>
          <p:nvSpPr>
            <p:cNvPr id="111" name="Rectangle 110">
              <a:extLst>
                <a:ext uri="{FF2B5EF4-FFF2-40B4-BE49-F238E27FC236}">
                  <a16:creationId xmlns:a16="http://schemas.microsoft.com/office/drawing/2014/main" id="{06FF38C4-CD98-25B4-F14C-3384DBFD9FC8}"/>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12" name="Rectangle 111">
              <a:extLst>
                <a:ext uri="{FF2B5EF4-FFF2-40B4-BE49-F238E27FC236}">
                  <a16:creationId xmlns:a16="http://schemas.microsoft.com/office/drawing/2014/main" id="{00657F17-DE6C-7E73-36D7-6185DCE77DCC}"/>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dirty="0"/>
            </a:p>
          </p:txBody>
        </p:sp>
      </p:grpSp>
      <p:sp>
        <p:nvSpPr>
          <p:cNvPr id="113" name="Oval 112">
            <a:extLst>
              <a:ext uri="{FF2B5EF4-FFF2-40B4-BE49-F238E27FC236}">
                <a16:creationId xmlns:a16="http://schemas.microsoft.com/office/drawing/2014/main" id="{F1E5177C-545E-A93A-39F1-87BE3487015F}"/>
              </a:ext>
            </a:extLst>
          </p:cNvPr>
          <p:cNvSpPr/>
          <p:nvPr/>
        </p:nvSpPr>
        <p:spPr>
          <a:xfrm>
            <a:off x="6653923" y="4422227"/>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114" name="Straight Connector 113">
            <a:extLst>
              <a:ext uri="{FF2B5EF4-FFF2-40B4-BE49-F238E27FC236}">
                <a16:creationId xmlns:a16="http://schemas.microsoft.com/office/drawing/2014/main" id="{99F1EFAC-15AC-5E07-4C98-E4222D365BF8}"/>
              </a:ext>
            </a:extLst>
          </p:cNvPr>
          <p:cNvCxnSpPr/>
          <p:nvPr/>
        </p:nvCxnSpPr>
        <p:spPr>
          <a:xfrm flipH="1">
            <a:off x="6294398" y="4598477"/>
            <a:ext cx="2327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FAEDE84-B1BE-67BF-D673-E9BBDB4B4054}"/>
              </a:ext>
            </a:extLst>
          </p:cNvPr>
          <p:cNvCxnSpPr/>
          <p:nvPr/>
        </p:nvCxnSpPr>
        <p:spPr>
          <a:xfrm flipH="1">
            <a:off x="6410776" y="465692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7F225662-B972-D153-AF1D-D5153A23C31D}"/>
              </a:ext>
            </a:extLst>
          </p:cNvPr>
          <p:cNvCxnSpPr/>
          <p:nvPr/>
        </p:nvCxnSpPr>
        <p:spPr>
          <a:xfrm flipH="1" flipV="1">
            <a:off x="6410776" y="438213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7" name="CustomShape 5">
            <a:extLst>
              <a:ext uri="{FF2B5EF4-FFF2-40B4-BE49-F238E27FC236}">
                <a16:creationId xmlns:a16="http://schemas.microsoft.com/office/drawing/2014/main" id="{10C9E4C0-4DED-391D-AB4C-3D9E1E86AD88}"/>
              </a:ext>
            </a:extLst>
          </p:cNvPr>
          <p:cNvSpPr/>
          <p:nvPr/>
        </p:nvSpPr>
        <p:spPr>
          <a:xfrm>
            <a:off x="9393713" y="1280263"/>
            <a:ext cx="1827720" cy="12756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4</a:t>
            </a:r>
            <a:endParaRPr lang="sv-SE" sz="1800" b="0" strike="noStrike" spc="-1" dirty="0">
              <a:solidFill>
                <a:srgbClr val="000000"/>
              </a:solidFill>
              <a:uFill>
                <a:solidFill>
                  <a:srgbClr val="FFFFFF"/>
                </a:solidFill>
              </a:uFill>
              <a:latin typeface="Arial"/>
            </a:endParaRPr>
          </a:p>
          <a:p>
            <a:pPr>
              <a:lnSpc>
                <a:spcPct val="100000"/>
              </a:lnSpc>
            </a:pPr>
            <a:r>
              <a:rPr lang="sv-SE" sz="1100" b="1" spc="-1" dirty="0">
                <a:solidFill>
                  <a:srgbClr val="181818"/>
                </a:solidFill>
                <a:uFill>
                  <a:solidFill>
                    <a:srgbClr val="FFFFFF"/>
                  </a:solidFill>
                </a:uFill>
                <a:latin typeface="Ericsson Hilda"/>
              </a:rPr>
              <a:t>Komponent</a:t>
            </a:r>
            <a:r>
              <a:rPr lang="sv-SE" sz="1100" b="1" strike="noStrike" spc="-1" dirty="0">
                <a:solidFill>
                  <a:srgbClr val="181818"/>
                </a:solidFill>
                <a:uFill>
                  <a:solidFill>
                    <a:srgbClr val="FFFFFF"/>
                  </a:solidFill>
                </a:uFill>
                <a:latin typeface="Ericsson Hilda"/>
              </a:rPr>
              <a:t>:  </a:t>
            </a:r>
            <a:r>
              <a:rPr lang="sv-SE" sz="1100" strike="noStrike" spc="-1" dirty="0">
                <a:solidFill>
                  <a:srgbClr val="181818"/>
                </a:solidFill>
                <a:uFill>
                  <a:solidFill>
                    <a:srgbClr val="FFFFFF"/>
                  </a:solidFill>
                </a:uFill>
                <a:latin typeface="Ericsson Hilda"/>
              </a:rPr>
              <a:t>LCD-Display</a:t>
            </a:r>
            <a:endParaRPr lang="sv-SE" sz="1100" b="1" strike="noStrike" spc="-1" dirty="0">
              <a:solidFill>
                <a:srgbClr val="181818"/>
              </a:solidFill>
              <a:uFill>
                <a:solidFill>
                  <a:srgbClr val="FFFFFF"/>
                </a:solidFill>
              </a:uFill>
              <a:latin typeface="Ericsson Hilda"/>
            </a:endParaRPr>
          </a:p>
          <a:p>
            <a:endParaRPr lang="sv-SE" sz="1100" b="1" strike="noStrike" spc="-1" dirty="0">
              <a:solidFill>
                <a:srgbClr val="181818"/>
              </a:solidFill>
              <a:uFill>
                <a:solidFill>
                  <a:srgbClr val="FFFFFF"/>
                </a:solidFill>
              </a:uFill>
              <a:latin typeface="Ericsson Hilda"/>
            </a:endParaRPr>
          </a:p>
          <a:p>
            <a:r>
              <a:rPr lang="sv-SE" sz="1100" b="1" strike="noStrike" spc="-1" dirty="0">
                <a:solidFill>
                  <a:srgbClr val="181818"/>
                </a:solidFill>
                <a:uFill>
                  <a:solidFill>
                    <a:srgbClr val="FFFFFF"/>
                  </a:solidFill>
                </a:uFill>
                <a:latin typeface="Ericsson Hilda"/>
              </a:rPr>
              <a:t>Vad händer: </a:t>
            </a:r>
            <a:endParaRPr lang="sv-SE" sz="1100" b="0" strike="noStrike" spc="-1" dirty="0">
              <a:solidFill>
                <a:srgbClr val="000000"/>
              </a:solidFill>
              <a:uFill>
                <a:solidFill>
                  <a:srgbClr val="FFFFFF"/>
                </a:solidFill>
              </a:uFill>
              <a:latin typeface="Arial"/>
            </a:endParaRPr>
          </a:p>
          <a:p>
            <a:pPr>
              <a:lnSpc>
                <a:spcPct val="100000"/>
              </a:lnSpc>
            </a:pPr>
            <a:r>
              <a:rPr lang="sv-SE" sz="1100" spc="-1" dirty="0">
                <a:solidFill>
                  <a:srgbClr val="181818"/>
                </a:solidFill>
                <a:uFill>
                  <a:solidFill>
                    <a:srgbClr val="FFFFFF"/>
                  </a:solidFill>
                </a:uFill>
                <a:latin typeface="Ericsson Hilda"/>
              </a:rPr>
              <a:t>Ge återkoppling om att spelomgång är påbörjad.</a:t>
            </a:r>
            <a:endParaRPr lang="sv-SE" sz="1100" b="0" strike="noStrike" spc="-1" dirty="0">
              <a:solidFill>
                <a:srgbClr val="000000"/>
              </a:solidFill>
              <a:uFill>
                <a:solidFill>
                  <a:srgbClr val="FFFFFF"/>
                </a:solidFill>
              </a:uFill>
              <a:latin typeface="Arial"/>
            </a:endParaRPr>
          </a:p>
        </p:txBody>
      </p:sp>
      <p:sp>
        <p:nvSpPr>
          <p:cNvPr id="118" name="CustomShape 5">
            <a:extLst>
              <a:ext uri="{FF2B5EF4-FFF2-40B4-BE49-F238E27FC236}">
                <a16:creationId xmlns:a16="http://schemas.microsoft.com/office/drawing/2014/main" id="{29642D7E-8268-8911-FDBD-736D0E7CD20B}"/>
              </a:ext>
            </a:extLst>
          </p:cNvPr>
          <p:cNvSpPr/>
          <p:nvPr/>
        </p:nvSpPr>
        <p:spPr>
          <a:xfrm>
            <a:off x="9393713" y="2739107"/>
            <a:ext cx="1827720" cy="1185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5</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sjusegment</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Poängräknare, visar poäng användare samlat.</a:t>
            </a:r>
            <a:endParaRPr lang="sv-SE" sz="1100" b="0" strike="noStrike" spc="-1" dirty="0">
              <a:solidFill>
                <a:srgbClr val="000000"/>
              </a:solidFill>
              <a:uFill>
                <a:solidFill>
                  <a:srgbClr val="FFFFFF"/>
                </a:solidFill>
              </a:uFill>
              <a:latin typeface="Arial"/>
            </a:endParaRPr>
          </a:p>
        </p:txBody>
      </p:sp>
      <p:sp>
        <p:nvSpPr>
          <p:cNvPr id="119" name="CustomShape 5">
            <a:extLst>
              <a:ext uri="{FF2B5EF4-FFF2-40B4-BE49-F238E27FC236}">
                <a16:creationId xmlns:a16="http://schemas.microsoft.com/office/drawing/2014/main" id="{58D324CF-F00E-5EB8-F518-7F6A1C7B3AD8}"/>
              </a:ext>
            </a:extLst>
          </p:cNvPr>
          <p:cNvSpPr/>
          <p:nvPr/>
        </p:nvSpPr>
        <p:spPr>
          <a:xfrm>
            <a:off x="9393713" y="4093705"/>
            <a:ext cx="1827720" cy="1185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6</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DAmatrix</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karaktär och hinder visas</a:t>
            </a:r>
            <a:endParaRPr lang="sv-SE" sz="1100" b="0" strike="noStrike" spc="-1" dirty="0">
              <a:solidFill>
                <a:srgbClr val="000000"/>
              </a:solidFill>
              <a:uFill>
                <a:solidFill>
                  <a:srgbClr val="FFFFFF"/>
                </a:solidFill>
              </a:uFill>
              <a:latin typeface="Arial"/>
            </a:endParaRPr>
          </a:p>
        </p:txBody>
      </p:sp>
      <p:sp>
        <p:nvSpPr>
          <p:cNvPr id="120" name="CustomShape 5">
            <a:extLst>
              <a:ext uri="{FF2B5EF4-FFF2-40B4-BE49-F238E27FC236}">
                <a16:creationId xmlns:a16="http://schemas.microsoft.com/office/drawing/2014/main" id="{F0E65360-6BCF-20DB-807E-F4507331BAA1}"/>
              </a:ext>
            </a:extLst>
          </p:cNvPr>
          <p:cNvSpPr/>
          <p:nvPr/>
        </p:nvSpPr>
        <p:spPr>
          <a:xfrm>
            <a:off x="9369618" y="5448303"/>
            <a:ext cx="1827720" cy="1185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7</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Knappar</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are ges möjlighet att undvika hinder</a:t>
            </a:r>
            <a:endParaRPr lang="sv-SE" sz="1100" b="0" strike="noStrike" spc="-1" dirty="0">
              <a:solidFill>
                <a:srgbClr val="000000"/>
              </a:solidFill>
              <a:uFill>
                <a:solidFill>
                  <a:srgbClr val="FFFFFF"/>
                </a:solidFill>
              </a:uFill>
              <a:latin typeface="Arial"/>
            </a:endParaRPr>
          </a:p>
        </p:txBody>
      </p:sp>
      <p:pic>
        <p:nvPicPr>
          <p:cNvPr id="122" name="Picture Placeholder 49">
            <a:extLst>
              <a:ext uri="{FF2B5EF4-FFF2-40B4-BE49-F238E27FC236}">
                <a16:creationId xmlns:a16="http://schemas.microsoft.com/office/drawing/2014/main" id="{DE6F4451-D809-6C02-5052-26CEB5C1BDC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10" b="110"/>
          <a:stretch>
            <a:fillRect/>
          </a:stretch>
        </p:blipFill>
        <p:spPr>
          <a:xfrm>
            <a:off x="7092160" y="5801362"/>
            <a:ext cx="342901" cy="342901"/>
          </a:xfrm>
          <a:prstGeom prst="rect">
            <a:avLst/>
          </a:prstGeom>
        </p:spPr>
      </p:pic>
      <p:pic>
        <p:nvPicPr>
          <p:cNvPr id="123" name="Picture 122">
            <a:extLst>
              <a:ext uri="{FF2B5EF4-FFF2-40B4-BE49-F238E27FC236}">
                <a16:creationId xmlns:a16="http://schemas.microsoft.com/office/drawing/2014/main" id="{1B408C88-F23E-7A00-04E1-43368EEFD065}"/>
              </a:ext>
            </a:extLst>
          </p:cNvPr>
          <p:cNvPicPr>
            <a:picLocks noChangeAspect="1"/>
          </p:cNvPicPr>
          <p:nvPr/>
        </p:nvPicPr>
        <p:blipFill rotWithShape="1">
          <a:blip r:embed="rId6"/>
          <a:srcRect r="66250"/>
          <a:stretch/>
        </p:blipFill>
        <p:spPr>
          <a:xfrm>
            <a:off x="6243657" y="1608785"/>
            <a:ext cx="2563525" cy="2274805"/>
          </a:xfrm>
          <a:prstGeom prst="rect">
            <a:avLst/>
          </a:prstGeom>
        </p:spPr>
      </p:pic>
      <p:cxnSp>
        <p:nvCxnSpPr>
          <p:cNvPr id="1857" name="Straight Arrow Connector 1856">
            <a:extLst>
              <a:ext uri="{FF2B5EF4-FFF2-40B4-BE49-F238E27FC236}">
                <a16:creationId xmlns:a16="http://schemas.microsoft.com/office/drawing/2014/main" id="{BDF7E109-8CDD-A8E5-1BE7-03A4C2A4C04C}"/>
              </a:ext>
            </a:extLst>
          </p:cNvPr>
          <p:cNvCxnSpPr>
            <a:stCxn id="68" idx="2"/>
            <a:endCxn id="103" idx="0"/>
          </p:cNvCxnSpPr>
          <p:nvPr/>
        </p:nvCxnSpPr>
        <p:spPr>
          <a:xfrm>
            <a:off x="4596300" y="2739107"/>
            <a:ext cx="0" cy="3297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59" name="Straight Arrow Connector 1858">
            <a:extLst>
              <a:ext uri="{FF2B5EF4-FFF2-40B4-BE49-F238E27FC236}">
                <a16:creationId xmlns:a16="http://schemas.microsoft.com/office/drawing/2014/main" id="{8D69951D-37D5-5F5D-D41A-3947327152A7}"/>
              </a:ext>
            </a:extLst>
          </p:cNvPr>
          <p:cNvCxnSpPr>
            <a:endCxn id="104" idx="0"/>
          </p:cNvCxnSpPr>
          <p:nvPr/>
        </p:nvCxnSpPr>
        <p:spPr>
          <a:xfrm>
            <a:off x="4592952" y="4498512"/>
            <a:ext cx="0" cy="3421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6401288"/>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543B4C-41BC-71E7-CC5A-4365BC3DD650}"/>
              </a:ext>
            </a:extLst>
          </p:cNvPr>
          <p:cNvSpPr/>
          <p:nvPr/>
        </p:nvSpPr>
        <p:spPr>
          <a:xfrm>
            <a:off x="476779" y="951741"/>
            <a:ext cx="2924443" cy="5480755"/>
          </a:xfrm>
          <a:prstGeom prst="rect">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719" name="CustomShape 196"/>
          <p:cNvSpPr/>
          <p:nvPr/>
        </p:nvSpPr>
        <p:spPr>
          <a:xfrm>
            <a:off x="6410776" y="328680"/>
            <a:ext cx="5345356" cy="534240"/>
          </a:xfrm>
          <a:prstGeom prst="rect">
            <a:avLst/>
          </a:prstGeom>
          <a:noFill/>
          <a:ln w="12600">
            <a:noFill/>
          </a:ln>
        </p:spPr>
        <p:style>
          <a:lnRef idx="0">
            <a:scrgbClr r="0" g="0" b="0"/>
          </a:lnRef>
          <a:fillRef idx="0">
            <a:scrgbClr r="0" g="0" b="0"/>
          </a:fillRef>
          <a:effectRef idx="0">
            <a:scrgbClr r="0" g="0" b="0"/>
          </a:effectRef>
          <a:fontRef idx="minor"/>
        </p:style>
        <p:txBody>
          <a:bodyPr lIns="72000" tIns="36000" rIns="73080" bIns="36720"/>
          <a:lstStyle/>
          <a:p>
            <a:pPr>
              <a:lnSpc>
                <a:spcPct val="100000"/>
              </a:lnSpc>
            </a:pPr>
            <a:r>
              <a:rPr lang="sv-SE" sz="4000" b="0" strike="noStrike" spc="-1" dirty="0">
                <a:solidFill>
                  <a:srgbClr val="181818"/>
                </a:solidFill>
                <a:uFill>
                  <a:solidFill>
                    <a:srgbClr val="FFFFFF"/>
                  </a:solidFill>
                </a:uFill>
                <a:latin typeface="Ericsson Hilda"/>
              </a:rPr>
              <a:t>Översikt: Spelprocess</a:t>
            </a:r>
            <a:endParaRPr lang="sv-SE" sz="4000" b="0" strike="noStrike" spc="-1" dirty="0">
              <a:solidFill>
                <a:srgbClr val="000000"/>
              </a:solidFill>
              <a:uFill>
                <a:solidFill>
                  <a:srgbClr val="FFFFFF"/>
                </a:solidFill>
              </a:uFill>
              <a:latin typeface="Arial"/>
            </a:endParaRPr>
          </a:p>
        </p:txBody>
      </p:sp>
      <p:sp>
        <p:nvSpPr>
          <p:cNvPr id="1110" name="Rectangle 1109">
            <a:extLst>
              <a:ext uri="{FF2B5EF4-FFF2-40B4-BE49-F238E27FC236}">
                <a16:creationId xmlns:a16="http://schemas.microsoft.com/office/drawing/2014/main" id="{74D20775-402D-4802-A3BA-22E3763FD413}"/>
              </a:ext>
            </a:extLst>
          </p:cNvPr>
          <p:cNvSpPr/>
          <p:nvPr/>
        </p:nvSpPr>
        <p:spPr>
          <a:xfrm>
            <a:off x="11277600" y="309217"/>
            <a:ext cx="649357" cy="506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pic>
        <p:nvPicPr>
          <p:cNvPr id="42" name="Picture 41">
            <a:extLst>
              <a:ext uri="{FF2B5EF4-FFF2-40B4-BE49-F238E27FC236}">
                <a16:creationId xmlns:a16="http://schemas.microsoft.com/office/drawing/2014/main" id="{7AD7CC39-C907-0507-6ED2-DC4D5EF4DBC6}"/>
              </a:ext>
            </a:extLst>
          </p:cNvPr>
          <p:cNvPicPr>
            <a:picLocks noChangeAspect="1"/>
          </p:cNvPicPr>
          <p:nvPr/>
        </p:nvPicPr>
        <p:blipFill>
          <a:blip r:embed="rId3"/>
          <a:stretch>
            <a:fillRect/>
          </a:stretch>
        </p:blipFill>
        <p:spPr>
          <a:xfrm>
            <a:off x="640167" y="1280263"/>
            <a:ext cx="2560780" cy="2274805"/>
          </a:xfrm>
          <a:prstGeom prst="rect">
            <a:avLst/>
          </a:prstGeom>
        </p:spPr>
      </p:pic>
      <p:sp>
        <p:nvSpPr>
          <p:cNvPr id="43" name="Rectangle 42">
            <a:extLst>
              <a:ext uri="{FF2B5EF4-FFF2-40B4-BE49-F238E27FC236}">
                <a16:creationId xmlns:a16="http://schemas.microsoft.com/office/drawing/2014/main" id="{916C7F7D-11E3-E8C4-77B2-1F94AAF35F20}"/>
              </a:ext>
            </a:extLst>
          </p:cNvPr>
          <p:cNvSpPr/>
          <p:nvPr/>
        </p:nvSpPr>
        <p:spPr>
          <a:xfrm>
            <a:off x="633695" y="3924183"/>
            <a:ext cx="2563525" cy="24251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4" name="Rectangle 43">
            <a:extLst>
              <a:ext uri="{FF2B5EF4-FFF2-40B4-BE49-F238E27FC236}">
                <a16:creationId xmlns:a16="http://schemas.microsoft.com/office/drawing/2014/main" id="{B9D829D3-3B40-61D4-1E28-63B45EB2B56F}"/>
              </a:ext>
            </a:extLst>
          </p:cNvPr>
          <p:cNvSpPr/>
          <p:nvPr/>
        </p:nvSpPr>
        <p:spPr>
          <a:xfrm>
            <a:off x="917191" y="4574851"/>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Press button R to start</a:t>
            </a:r>
            <a:endParaRPr lang="en-SE" sz="1200" dirty="0"/>
          </a:p>
        </p:txBody>
      </p:sp>
      <p:sp>
        <p:nvSpPr>
          <p:cNvPr id="45" name="Rectangle 44">
            <a:extLst>
              <a:ext uri="{FF2B5EF4-FFF2-40B4-BE49-F238E27FC236}">
                <a16:creationId xmlns:a16="http://schemas.microsoft.com/office/drawing/2014/main" id="{6DF2406D-1598-56C6-E1F7-57A97BACB1C5}"/>
              </a:ext>
            </a:extLst>
          </p:cNvPr>
          <p:cNvSpPr/>
          <p:nvPr/>
        </p:nvSpPr>
        <p:spPr>
          <a:xfrm>
            <a:off x="917191" y="5355446"/>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accent6"/>
                </a:solidFill>
              </a:rPr>
              <a:t>-</a:t>
            </a:r>
            <a:endParaRPr lang="en-SE" dirty="0">
              <a:solidFill>
                <a:schemeClr val="accent6"/>
              </a:solidFill>
            </a:endParaRPr>
          </a:p>
        </p:txBody>
      </p:sp>
      <p:sp>
        <p:nvSpPr>
          <p:cNvPr id="46" name="Rectangle 45">
            <a:extLst>
              <a:ext uri="{FF2B5EF4-FFF2-40B4-BE49-F238E27FC236}">
                <a16:creationId xmlns:a16="http://schemas.microsoft.com/office/drawing/2014/main" id="{612B9B92-2EA4-7EE4-1493-59861F2D92A8}"/>
              </a:ext>
            </a:extLst>
          </p:cNvPr>
          <p:cNvSpPr/>
          <p:nvPr/>
        </p:nvSpPr>
        <p:spPr>
          <a:xfrm>
            <a:off x="2509771" y="5355446"/>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a:t>
            </a:r>
            <a:endParaRPr lang="en-SE" dirty="0">
              <a:solidFill>
                <a:schemeClr val="accent6"/>
              </a:solidFill>
            </a:endParaRPr>
          </a:p>
        </p:txBody>
      </p:sp>
      <p:grpSp>
        <p:nvGrpSpPr>
          <p:cNvPr id="48" name="Group 47">
            <a:extLst>
              <a:ext uri="{FF2B5EF4-FFF2-40B4-BE49-F238E27FC236}">
                <a16:creationId xmlns:a16="http://schemas.microsoft.com/office/drawing/2014/main" id="{6E927A4B-6A7F-EBB9-4B2D-EDECE1FDD249}"/>
              </a:ext>
            </a:extLst>
          </p:cNvPr>
          <p:cNvGrpSpPr/>
          <p:nvPr/>
        </p:nvGrpSpPr>
        <p:grpSpPr>
          <a:xfrm>
            <a:off x="1460116" y="5815174"/>
            <a:ext cx="849630" cy="411480"/>
            <a:chOff x="4855755" y="5897034"/>
            <a:chExt cx="849630" cy="411480"/>
          </a:xfrm>
        </p:grpSpPr>
        <p:sp>
          <p:nvSpPr>
            <p:cNvPr id="52" name="Rectangle 51">
              <a:extLst>
                <a:ext uri="{FF2B5EF4-FFF2-40B4-BE49-F238E27FC236}">
                  <a16:creationId xmlns:a16="http://schemas.microsoft.com/office/drawing/2014/main" id="{A8009EBE-C29C-61C0-191D-807EDC3A8012}"/>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53" name="Rectangle 52">
              <a:extLst>
                <a:ext uri="{FF2B5EF4-FFF2-40B4-BE49-F238E27FC236}">
                  <a16:creationId xmlns:a16="http://schemas.microsoft.com/office/drawing/2014/main" id="{1A0D292F-29CD-B00F-4EE0-0078EADE0EFE}"/>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dirty="0"/>
            </a:p>
          </p:txBody>
        </p:sp>
      </p:grpSp>
      <p:sp>
        <p:nvSpPr>
          <p:cNvPr id="54" name="Oval 53">
            <a:extLst>
              <a:ext uri="{FF2B5EF4-FFF2-40B4-BE49-F238E27FC236}">
                <a16:creationId xmlns:a16="http://schemas.microsoft.com/office/drawing/2014/main" id="{26BCC45D-332F-0F2F-C7B8-ED470F350E32}"/>
              </a:ext>
            </a:extLst>
          </p:cNvPr>
          <p:cNvSpPr/>
          <p:nvPr/>
        </p:nvSpPr>
        <p:spPr>
          <a:xfrm>
            <a:off x="1043960" y="4093705"/>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68" name="CustomShape 5">
            <a:extLst>
              <a:ext uri="{FF2B5EF4-FFF2-40B4-BE49-F238E27FC236}">
                <a16:creationId xmlns:a16="http://schemas.microsoft.com/office/drawing/2014/main" id="{C59AE025-3E26-D903-A38B-F260857264C4}"/>
              </a:ext>
            </a:extLst>
          </p:cNvPr>
          <p:cNvSpPr/>
          <p:nvPr/>
        </p:nvSpPr>
        <p:spPr>
          <a:xfrm>
            <a:off x="3682440" y="1262797"/>
            <a:ext cx="1827720" cy="14763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1</a:t>
            </a:r>
            <a:endParaRPr lang="sv-SE" sz="1800" b="0" strike="noStrike" spc="-1" dirty="0">
              <a:solidFill>
                <a:srgbClr val="000000"/>
              </a:solidFill>
              <a:uFill>
                <a:solidFill>
                  <a:srgbClr val="FFFFFF"/>
                </a:solidFill>
              </a:uFill>
              <a:latin typeface="Arial"/>
            </a:endParaRPr>
          </a:p>
          <a:p>
            <a:pPr>
              <a:lnSpc>
                <a:spcPct val="100000"/>
              </a:lnSpc>
            </a:pPr>
            <a:r>
              <a:rPr lang="sv-SE" sz="1100" b="1" spc="-1" dirty="0">
                <a:solidFill>
                  <a:srgbClr val="181818"/>
                </a:solidFill>
                <a:uFill>
                  <a:solidFill>
                    <a:srgbClr val="FFFFFF"/>
                  </a:solidFill>
                </a:uFill>
                <a:latin typeface="Ericsson Hilda"/>
              </a:rPr>
              <a:t>Komponent</a:t>
            </a:r>
            <a:r>
              <a:rPr lang="sv-SE" sz="1100" b="1" strike="noStrike" spc="-1" dirty="0">
                <a:solidFill>
                  <a:srgbClr val="181818"/>
                </a:solidFill>
                <a:uFill>
                  <a:solidFill>
                    <a:srgbClr val="FFFFFF"/>
                  </a:solidFill>
                </a:uFill>
                <a:latin typeface="Ericsson Hilda"/>
              </a:rPr>
              <a:t>:  </a:t>
            </a:r>
            <a:r>
              <a:rPr lang="sv-SE" sz="1100" strike="noStrike" spc="-1" dirty="0">
                <a:solidFill>
                  <a:srgbClr val="181818"/>
                </a:solidFill>
                <a:uFill>
                  <a:solidFill>
                    <a:srgbClr val="FFFFFF"/>
                  </a:solidFill>
                </a:uFill>
                <a:latin typeface="Ericsson Hilda"/>
              </a:rPr>
              <a:t>LCD-Display</a:t>
            </a:r>
            <a:endParaRPr lang="sv-SE" sz="1100" b="1" strike="noStrike" spc="-1" dirty="0">
              <a:solidFill>
                <a:srgbClr val="181818"/>
              </a:solidFill>
              <a:uFill>
                <a:solidFill>
                  <a:srgbClr val="FFFFFF"/>
                </a:solidFill>
              </a:uFill>
              <a:latin typeface="Ericsson Hilda"/>
            </a:endParaRPr>
          </a:p>
          <a:p>
            <a:endParaRPr lang="sv-SE" sz="1100" b="1" strike="noStrike" spc="-1" dirty="0">
              <a:solidFill>
                <a:srgbClr val="181818"/>
              </a:solidFill>
              <a:uFill>
                <a:solidFill>
                  <a:srgbClr val="FFFFFF"/>
                </a:solidFill>
              </a:uFill>
              <a:latin typeface="Ericsson Hilda"/>
            </a:endParaRPr>
          </a:p>
          <a:p>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Interagera med användare, hådvara redo för ny spelomgång</a:t>
            </a:r>
            <a:endParaRPr lang="sv-SE" sz="1100" b="0" strike="noStrike" spc="-1" dirty="0">
              <a:solidFill>
                <a:srgbClr val="000000"/>
              </a:solidFill>
              <a:uFill>
                <a:solidFill>
                  <a:srgbClr val="FFFFFF"/>
                </a:solidFill>
              </a:uFill>
              <a:latin typeface="Arial"/>
            </a:endParaRPr>
          </a:p>
        </p:txBody>
      </p:sp>
      <p:sp>
        <p:nvSpPr>
          <p:cNvPr id="103" name="CustomShape 5">
            <a:extLst>
              <a:ext uri="{FF2B5EF4-FFF2-40B4-BE49-F238E27FC236}">
                <a16:creationId xmlns:a16="http://schemas.microsoft.com/office/drawing/2014/main" id="{FD07050B-D750-EEFE-D543-E9B3F7C0D0F8}"/>
              </a:ext>
            </a:extLst>
          </p:cNvPr>
          <p:cNvSpPr/>
          <p:nvPr/>
        </p:nvSpPr>
        <p:spPr>
          <a:xfrm>
            <a:off x="3682440" y="3068877"/>
            <a:ext cx="1827720" cy="137144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2</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Tryckknappar</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tarta spel</a:t>
            </a:r>
            <a:endParaRPr lang="sv-SE" sz="1100" b="0" strike="noStrike" spc="-1" dirty="0">
              <a:solidFill>
                <a:srgbClr val="000000"/>
              </a:solidFill>
              <a:uFill>
                <a:solidFill>
                  <a:srgbClr val="FFFFFF"/>
                </a:solidFill>
              </a:uFill>
              <a:latin typeface="Arial"/>
            </a:endParaRPr>
          </a:p>
        </p:txBody>
      </p:sp>
      <p:sp>
        <p:nvSpPr>
          <p:cNvPr id="104" name="CustomShape 5">
            <a:extLst>
              <a:ext uri="{FF2B5EF4-FFF2-40B4-BE49-F238E27FC236}">
                <a16:creationId xmlns:a16="http://schemas.microsoft.com/office/drawing/2014/main" id="{99C502BD-83D6-E38C-6D32-8AD52CBC4098}"/>
              </a:ext>
            </a:extLst>
          </p:cNvPr>
          <p:cNvSpPr/>
          <p:nvPr/>
        </p:nvSpPr>
        <p:spPr>
          <a:xfrm>
            <a:off x="3679092" y="4840681"/>
            <a:ext cx="1827720" cy="137144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3</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Högtalare</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Återkoppling i form av melodi</a:t>
            </a:r>
            <a:endParaRPr lang="sv-SE" sz="1100" b="0" strike="noStrike" spc="-1" dirty="0">
              <a:solidFill>
                <a:srgbClr val="000000"/>
              </a:solidFill>
              <a:uFill>
                <a:solidFill>
                  <a:srgbClr val="FFFFFF"/>
                </a:solidFill>
              </a:uFill>
              <a:latin typeface="Arial"/>
            </a:endParaRPr>
          </a:p>
        </p:txBody>
      </p:sp>
      <p:sp>
        <p:nvSpPr>
          <p:cNvPr id="106" name="Rectangle 105">
            <a:extLst>
              <a:ext uri="{FF2B5EF4-FFF2-40B4-BE49-F238E27FC236}">
                <a16:creationId xmlns:a16="http://schemas.microsoft.com/office/drawing/2014/main" id="{D7B91B25-31AA-BDB3-FC2F-34D5782CAA36}"/>
              </a:ext>
            </a:extLst>
          </p:cNvPr>
          <p:cNvSpPr/>
          <p:nvPr/>
        </p:nvSpPr>
        <p:spPr>
          <a:xfrm>
            <a:off x="6243658" y="4252706"/>
            <a:ext cx="2563525" cy="19930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07" name="Rectangle 106">
            <a:extLst>
              <a:ext uri="{FF2B5EF4-FFF2-40B4-BE49-F238E27FC236}">
                <a16:creationId xmlns:a16="http://schemas.microsoft.com/office/drawing/2014/main" id="{31C03F66-C09D-E036-872C-B586DE69F4BF}"/>
              </a:ext>
            </a:extLst>
          </p:cNvPr>
          <p:cNvSpPr/>
          <p:nvPr/>
        </p:nvSpPr>
        <p:spPr>
          <a:xfrm>
            <a:off x="6527154" y="4903373"/>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New Game Started</a:t>
            </a:r>
            <a:endParaRPr lang="en-SE" sz="1400" dirty="0"/>
          </a:p>
        </p:txBody>
      </p:sp>
      <p:sp>
        <p:nvSpPr>
          <p:cNvPr id="108" name="Rectangle 107">
            <a:extLst>
              <a:ext uri="{FF2B5EF4-FFF2-40B4-BE49-F238E27FC236}">
                <a16:creationId xmlns:a16="http://schemas.microsoft.com/office/drawing/2014/main" id="{E36B2B14-9615-BE55-583D-FF66B0157266}"/>
              </a:ext>
            </a:extLst>
          </p:cNvPr>
          <p:cNvSpPr/>
          <p:nvPr/>
        </p:nvSpPr>
        <p:spPr>
          <a:xfrm>
            <a:off x="6527154"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0</a:t>
            </a:r>
            <a:endParaRPr lang="en-SE" dirty="0">
              <a:solidFill>
                <a:schemeClr val="accent6"/>
              </a:solidFill>
            </a:endParaRPr>
          </a:p>
        </p:txBody>
      </p:sp>
      <p:sp>
        <p:nvSpPr>
          <p:cNvPr id="109" name="Rectangle 108">
            <a:extLst>
              <a:ext uri="{FF2B5EF4-FFF2-40B4-BE49-F238E27FC236}">
                <a16:creationId xmlns:a16="http://schemas.microsoft.com/office/drawing/2014/main" id="{BD514BF0-7041-DFF7-47C2-18DCE427D55B}"/>
              </a:ext>
            </a:extLst>
          </p:cNvPr>
          <p:cNvSpPr/>
          <p:nvPr/>
        </p:nvSpPr>
        <p:spPr>
          <a:xfrm>
            <a:off x="8119734"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6"/>
                </a:solidFill>
              </a:rPr>
              <a:t>0</a:t>
            </a:r>
            <a:endParaRPr lang="en-SE">
              <a:solidFill>
                <a:schemeClr val="accent6"/>
              </a:solidFill>
            </a:endParaRPr>
          </a:p>
        </p:txBody>
      </p:sp>
      <p:grpSp>
        <p:nvGrpSpPr>
          <p:cNvPr id="110" name="Group 109">
            <a:extLst>
              <a:ext uri="{FF2B5EF4-FFF2-40B4-BE49-F238E27FC236}">
                <a16:creationId xmlns:a16="http://schemas.microsoft.com/office/drawing/2014/main" id="{5E3EBD17-8BE9-1FBF-40D2-E560FAE4AAB7}"/>
              </a:ext>
            </a:extLst>
          </p:cNvPr>
          <p:cNvGrpSpPr/>
          <p:nvPr/>
        </p:nvGrpSpPr>
        <p:grpSpPr>
          <a:xfrm>
            <a:off x="7070079" y="5753290"/>
            <a:ext cx="849630" cy="411480"/>
            <a:chOff x="4855755" y="5897034"/>
            <a:chExt cx="849630" cy="411480"/>
          </a:xfrm>
        </p:grpSpPr>
        <p:sp>
          <p:nvSpPr>
            <p:cNvPr id="111" name="Rectangle 110">
              <a:extLst>
                <a:ext uri="{FF2B5EF4-FFF2-40B4-BE49-F238E27FC236}">
                  <a16:creationId xmlns:a16="http://schemas.microsoft.com/office/drawing/2014/main" id="{06FF38C4-CD98-25B4-F14C-3384DBFD9FC8}"/>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12" name="Rectangle 111">
              <a:extLst>
                <a:ext uri="{FF2B5EF4-FFF2-40B4-BE49-F238E27FC236}">
                  <a16:creationId xmlns:a16="http://schemas.microsoft.com/office/drawing/2014/main" id="{00657F17-DE6C-7E73-36D7-6185DCE77DCC}"/>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dirty="0"/>
            </a:p>
          </p:txBody>
        </p:sp>
      </p:grpSp>
      <p:sp>
        <p:nvSpPr>
          <p:cNvPr id="113" name="Oval 112">
            <a:extLst>
              <a:ext uri="{FF2B5EF4-FFF2-40B4-BE49-F238E27FC236}">
                <a16:creationId xmlns:a16="http://schemas.microsoft.com/office/drawing/2014/main" id="{F1E5177C-545E-A93A-39F1-87BE3487015F}"/>
              </a:ext>
            </a:extLst>
          </p:cNvPr>
          <p:cNvSpPr/>
          <p:nvPr/>
        </p:nvSpPr>
        <p:spPr>
          <a:xfrm>
            <a:off x="6653923" y="4422227"/>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114" name="Straight Connector 113">
            <a:extLst>
              <a:ext uri="{FF2B5EF4-FFF2-40B4-BE49-F238E27FC236}">
                <a16:creationId xmlns:a16="http://schemas.microsoft.com/office/drawing/2014/main" id="{99F1EFAC-15AC-5E07-4C98-E4222D365BF8}"/>
              </a:ext>
            </a:extLst>
          </p:cNvPr>
          <p:cNvCxnSpPr/>
          <p:nvPr/>
        </p:nvCxnSpPr>
        <p:spPr>
          <a:xfrm flipH="1">
            <a:off x="6294398" y="4598477"/>
            <a:ext cx="2327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FAEDE84-B1BE-67BF-D673-E9BBDB4B4054}"/>
              </a:ext>
            </a:extLst>
          </p:cNvPr>
          <p:cNvCxnSpPr/>
          <p:nvPr/>
        </p:nvCxnSpPr>
        <p:spPr>
          <a:xfrm flipH="1">
            <a:off x="6410776" y="465692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7F225662-B972-D153-AF1D-D5153A23C31D}"/>
              </a:ext>
            </a:extLst>
          </p:cNvPr>
          <p:cNvCxnSpPr/>
          <p:nvPr/>
        </p:nvCxnSpPr>
        <p:spPr>
          <a:xfrm flipH="1" flipV="1">
            <a:off x="6410776" y="438213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7" name="CustomShape 5">
            <a:extLst>
              <a:ext uri="{FF2B5EF4-FFF2-40B4-BE49-F238E27FC236}">
                <a16:creationId xmlns:a16="http://schemas.microsoft.com/office/drawing/2014/main" id="{10C9E4C0-4DED-391D-AB4C-3D9E1E86AD88}"/>
              </a:ext>
            </a:extLst>
          </p:cNvPr>
          <p:cNvSpPr/>
          <p:nvPr/>
        </p:nvSpPr>
        <p:spPr>
          <a:xfrm>
            <a:off x="9393713" y="1280263"/>
            <a:ext cx="1827720" cy="12756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4</a:t>
            </a:r>
            <a:endParaRPr lang="sv-SE" sz="1800" b="0" strike="noStrike" spc="-1" dirty="0">
              <a:solidFill>
                <a:srgbClr val="000000"/>
              </a:solidFill>
              <a:uFill>
                <a:solidFill>
                  <a:srgbClr val="FFFFFF"/>
                </a:solidFill>
              </a:uFill>
              <a:latin typeface="Arial"/>
            </a:endParaRPr>
          </a:p>
          <a:p>
            <a:pPr>
              <a:lnSpc>
                <a:spcPct val="100000"/>
              </a:lnSpc>
            </a:pPr>
            <a:r>
              <a:rPr lang="sv-SE" sz="1100" b="1" spc="-1" dirty="0">
                <a:solidFill>
                  <a:srgbClr val="181818"/>
                </a:solidFill>
                <a:uFill>
                  <a:solidFill>
                    <a:srgbClr val="FFFFFF"/>
                  </a:solidFill>
                </a:uFill>
                <a:latin typeface="Ericsson Hilda"/>
              </a:rPr>
              <a:t>Komponent</a:t>
            </a:r>
            <a:r>
              <a:rPr lang="sv-SE" sz="1100" b="1" strike="noStrike" spc="-1" dirty="0">
                <a:solidFill>
                  <a:srgbClr val="181818"/>
                </a:solidFill>
                <a:uFill>
                  <a:solidFill>
                    <a:srgbClr val="FFFFFF"/>
                  </a:solidFill>
                </a:uFill>
                <a:latin typeface="Ericsson Hilda"/>
              </a:rPr>
              <a:t>:  </a:t>
            </a:r>
            <a:r>
              <a:rPr lang="sv-SE" sz="1100" strike="noStrike" spc="-1" dirty="0">
                <a:solidFill>
                  <a:srgbClr val="181818"/>
                </a:solidFill>
                <a:uFill>
                  <a:solidFill>
                    <a:srgbClr val="FFFFFF"/>
                  </a:solidFill>
                </a:uFill>
                <a:latin typeface="Ericsson Hilda"/>
              </a:rPr>
              <a:t>LCD-Display</a:t>
            </a:r>
            <a:endParaRPr lang="sv-SE" sz="1100" b="1" strike="noStrike" spc="-1" dirty="0">
              <a:solidFill>
                <a:srgbClr val="181818"/>
              </a:solidFill>
              <a:uFill>
                <a:solidFill>
                  <a:srgbClr val="FFFFFF"/>
                </a:solidFill>
              </a:uFill>
              <a:latin typeface="Ericsson Hilda"/>
            </a:endParaRPr>
          </a:p>
          <a:p>
            <a:endParaRPr lang="sv-SE" sz="1100" b="1" strike="noStrike" spc="-1" dirty="0">
              <a:solidFill>
                <a:srgbClr val="181818"/>
              </a:solidFill>
              <a:uFill>
                <a:solidFill>
                  <a:srgbClr val="FFFFFF"/>
                </a:solidFill>
              </a:uFill>
              <a:latin typeface="Ericsson Hilda"/>
            </a:endParaRPr>
          </a:p>
          <a:p>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spc="-1" dirty="0">
                <a:solidFill>
                  <a:srgbClr val="181818"/>
                </a:solidFill>
                <a:uFill>
                  <a:solidFill>
                    <a:srgbClr val="FFFFFF"/>
                  </a:solidFill>
                </a:uFill>
                <a:latin typeface="Ericsson Hilda"/>
              </a:rPr>
              <a:t>Ge återkoppling om att spelomgång är påbörjad.</a:t>
            </a:r>
            <a:endParaRPr lang="sv-SE" sz="1100" b="0" strike="noStrike" spc="-1" dirty="0">
              <a:solidFill>
                <a:srgbClr val="000000"/>
              </a:solidFill>
              <a:uFill>
                <a:solidFill>
                  <a:srgbClr val="FFFFFF"/>
                </a:solidFill>
              </a:uFill>
              <a:latin typeface="Arial"/>
            </a:endParaRPr>
          </a:p>
        </p:txBody>
      </p:sp>
      <p:sp>
        <p:nvSpPr>
          <p:cNvPr id="118" name="CustomShape 5">
            <a:extLst>
              <a:ext uri="{FF2B5EF4-FFF2-40B4-BE49-F238E27FC236}">
                <a16:creationId xmlns:a16="http://schemas.microsoft.com/office/drawing/2014/main" id="{29642D7E-8268-8911-FDBD-736D0E7CD20B}"/>
              </a:ext>
            </a:extLst>
          </p:cNvPr>
          <p:cNvSpPr/>
          <p:nvPr/>
        </p:nvSpPr>
        <p:spPr>
          <a:xfrm>
            <a:off x="9393713" y="2739107"/>
            <a:ext cx="1827720" cy="1185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5</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sjusegment</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Poängräknare. </a:t>
            </a:r>
            <a:r>
              <a:rPr lang="sv-SE" sz="1100" spc="-1" dirty="0">
                <a:solidFill>
                  <a:srgbClr val="181818"/>
                </a:solidFill>
                <a:uFill>
                  <a:solidFill>
                    <a:srgbClr val="FFFFFF"/>
                  </a:solidFill>
                </a:uFill>
                <a:latin typeface="Ericsson Hilda"/>
              </a:rPr>
              <a:t>V</a:t>
            </a:r>
            <a:r>
              <a:rPr lang="sv-SE" sz="1100" b="0" strike="noStrike" spc="-1" dirty="0">
                <a:solidFill>
                  <a:srgbClr val="181818"/>
                </a:solidFill>
                <a:uFill>
                  <a:solidFill>
                    <a:srgbClr val="FFFFFF"/>
                  </a:solidFill>
                </a:uFill>
                <a:latin typeface="Ericsson Hilda"/>
              </a:rPr>
              <a:t>isar poäng användare samlat.</a:t>
            </a:r>
            <a:endParaRPr lang="sv-SE" sz="1100" b="0" strike="noStrike" spc="-1" dirty="0">
              <a:solidFill>
                <a:srgbClr val="000000"/>
              </a:solidFill>
              <a:uFill>
                <a:solidFill>
                  <a:srgbClr val="FFFFFF"/>
                </a:solidFill>
              </a:uFill>
              <a:latin typeface="Arial"/>
            </a:endParaRPr>
          </a:p>
        </p:txBody>
      </p:sp>
      <p:sp>
        <p:nvSpPr>
          <p:cNvPr id="119" name="CustomShape 5">
            <a:extLst>
              <a:ext uri="{FF2B5EF4-FFF2-40B4-BE49-F238E27FC236}">
                <a16:creationId xmlns:a16="http://schemas.microsoft.com/office/drawing/2014/main" id="{58D324CF-F00E-5EB8-F518-7F6A1C7B3AD8}"/>
              </a:ext>
            </a:extLst>
          </p:cNvPr>
          <p:cNvSpPr/>
          <p:nvPr/>
        </p:nvSpPr>
        <p:spPr>
          <a:xfrm>
            <a:off x="9393713" y="4093705"/>
            <a:ext cx="1827720" cy="1185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6</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DAmatrix</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karaktär och hinder visas</a:t>
            </a:r>
            <a:endParaRPr lang="sv-SE" sz="1100" b="0" strike="noStrike" spc="-1" dirty="0">
              <a:solidFill>
                <a:srgbClr val="000000"/>
              </a:solidFill>
              <a:uFill>
                <a:solidFill>
                  <a:srgbClr val="FFFFFF"/>
                </a:solidFill>
              </a:uFill>
              <a:latin typeface="Arial"/>
            </a:endParaRPr>
          </a:p>
        </p:txBody>
      </p:sp>
      <p:sp>
        <p:nvSpPr>
          <p:cNvPr id="120" name="CustomShape 5">
            <a:extLst>
              <a:ext uri="{FF2B5EF4-FFF2-40B4-BE49-F238E27FC236}">
                <a16:creationId xmlns:a16="http://schemas.microsoft.com/office/drawing/2014/main" id="{F0E65360-6BCF-20DB-807E-F4507331BAA1}"/>
              </a:ext>
            </a:extLst>
          </p:cNvPr>
          <p:cNvSpPr/>
          <p:nvPr/>
        </p:nvSpPr>
        <p:spPr>
          <a:xfrm>
            <a:off x="9369618" y="5448303"/>
            <a:ext cx="1827720" cy="1185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7</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Knappar</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are ges möjlighet att undvika hinder</a:t>
            </a:r>
            <a:endParaRPr lang="sv-SE" sz="1100" b="0" strike="noStrike" spc="-1" dirty="0">
              <a:solidFill>
                <a:srgbClr val="000000"/>
              </a:solidFill>
              <a:uFill>
                <a:solidFill>
                  <a:srgbClr val="FFFFFF"/>
                </a:solidFill>
              </a:uFill>
              <a:latin typeface="Arial"/>
            </a:endParaRPr>
          </a:p>
        </p:txBody>
      </p:sp>
      <p:pic>
        <p:nvPicPr>
          <p:cNvPr id="122" name="Picture Placeholder 49">
            <a:extLst>
              <a:ext uri="{FF2B5EF4-FFF2-40B4-BE49-F238E27FC236}">
                <a16:creationId xmlns:a16="http://schemas.microsoft.com/office/drawing/2014/main" id="{DE6F4451-D809-6C02-5052-26CEB5C1BDC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10" b="110"/>
          <a:stretch>
            <a:fillRect/>
          </a:stretch>
        </p:blipFill>
        <p:spPr>
          <a:xfrm>
            <a:off x="7092160" y="5801362"/>
            <a:ext cx="342901" cy="342901"/>
          </a:xfrm>
          <a:prstGeom prst="rect">
            <a:avLst/>
          </a:prstGeom>
        </p:spPr>
      </p:pic>
      <p:pic>
        <p:nvPicPr>
          <p:cNvPr id="123" name="Picture 122">
            <a:extLst>
              <a:ext uri="{FF2B5EF4-FFF2-40B4-BE49-F238E27FC236}">
                <a16:creationId xmlns:a16="http://schemas.microsoft.com/office/drawing/2014/main" id="{1B408C88-F23E-7A00-04E1-43368EEFD065}"/>
              </a:ext>
            </a:extLst>
          </p:cNvPr>
          <p:cNvPicPr>
            <a:picLocks noChangeAspect="1"/>
          </p:cNvPicPr>
          <p:nvPr/>
        </p:nvPicPr>
        <p:blipFill rotWithShape="1">
          <a:blip r:embed="rId6"/>
          <a:srcRect r="66250"/>
          <a:stretch/>
        </p:blipFill>
        <p:spPr>
          <a:xfrm>
            <a:off x="6243657" y="1608785"/>
            <a:ext cx="2563525" cy="2274805"/>
          </a:xfrm>
          <a:prstGeom prst="rect">
            <a:avLst/>
          </a:prstGeom>
        </p:spPr>
      </p:pic>
      <p:cxnSp>
        <p:nvCxnSpPr>
          <p:cNvPr id="1857" name="Straight Arrow Connector 1856">
            <a:extLst>
              <a:ext uri="{FF2B5EF4-FFF2-40B4-BE49-F238E27FC236}">
                <a16:creationId xmlns:a16="http://schemas.microsoft.com/office/drawing/2014/main" id="{BDF7E109-8CDD-A8E5-1BE7-03A4C2A4C04C}"/>
              </a:ext>
            </a:extLst>
          </p:cNvPr>
          <p:cNvCxnSpPr>
            <a:stCxn id="68" idx="2"/>
            <a:endCxn id="103" idx="0"/>
          </p:cNvCxnSpPr>
          <p:nvPr/>
        </p:nvCxnSpPr>
        <p:spPr>
          <a:xfrm>
            <a:off x="4596300" y="2739107"/>
            <a:ext cx="0" cy="3297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59" name="Straight Arrow Connector 1858">
            <a:extLst>
              <a:ext uri="{FF2B5EF4-FFF2-40B4-BE49-F238E27FC236}">
                <a16:creationId xmlns:a16="http://schemas.microsoft.com/office/drawing/2014/main" id="{8D69951D-37D5-5F5D-D41A-3947327152A7}"/>
              </a:ext>
            </a:extLst>
          </p:cNvPr>
          <p:cNvCxnSpPr>
            <a:endCxn id="104" idx="0"/>
          </p:cNvCxnSpPr>
          <p:nvPr/>
        </p:nvCxnSpPr>
        <p:spPr>
          <a:xfrm>
            <a:off x="4592952" y="4498512"/>
            <a:ext cx="0" cy="3421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6B2D0F94-248F-9CA3-FF12-23ADBF671DCF}"/>
              </a:ext>
            </a:extLst>
          </p:cNvPr>
          <p:cNvSpPr txBox="1"/>
          <p:nvPr/>
        </p:nvSpPr>
        <p:spPr>
          <a:xfrm>
            <a:off x="1959761" y="5836248"/>
            <a:ext cx="342900" cy="369332"/>
          </a:xfrm>
          <a:prstGeom prst="rect">
            <a:avLst/>
          </a:prstGeom>
          <a:noFill/>
        </p:spPr>
        <p:txBody>
          <a:bodyPr wrap="square" rtlCol="0">
            <a:spAutoFit/>
          </a:bodyPr>
          <a:lstStyle/>
          <a:p>
            <a:r>
              <a:rPr lang="en-GB" dirty="0">
                <a:solidFill>
                  <a:schemeClr val="bg1"/>
                </a:solidFill>
              </a:rPr>
              <a:t>R</a:t>
            </a:r>
            <a:endParaRPr lang="en-SE" dirty="0">
              <a:solidFill>
                <a:schemeClr val="bg1"/>
              </a:solidFill>
            </a:endParaRPr>
          </a:p>
        </p:txBody>
      </p:sp>
      <p:sp>
        <p:nvSpPr>
          <p:cNvPr id="40" name="TextBox 39">
            <a:extLst>
              <a:ext uri="{FF2B5EF4-FFF2-40B4-BE49-F238E27FC236}">
                <a16:creationId xmlns:a16="http://schemas.microsoft.com/office/drawing/2014/main" id="{29C41F72-201B-9C78-C11A-8E9BE1334597}"/>
              </a:ext>
            </a:extLst>
          </p:cNvPr>
          <p:cNvSpPr txBox="1"/>
          <p:nvPr/>
        </p:nvSpPr>
        <p:spPr>
          <a:xfrm>
            <a:off x="1550861" y="4217963"/>
            <a:ext cx="921830" cy="246221"/>
          </a:xfrm>
          <a:prstGeom prst="rect">
            <a:avLst/>
          </a:prstGeom>
          <a:solidFill>
            <a:schemeClr val="tx1"/>
          </a:solidFill>
        </p:spPr>
        <p:txBody>
          <a:bodyPr wrap="square" rtlCol="0">
            <a:spAutoFit/>
          </a:bodyPr>
          <a:lstStyle/>
          <a:p>
            <a:r>
              <a:rPr lang="en-GB" sz="1000" dirty="0">
                <a:solidFill>
                  <a:schemeClr val="bg1"/>
                </a:solidFill>
              </a:rPr>
              <a:t>LCD-Display</a:t>
            </a:r>
            <a:endParaRPr lang="en-SE" sz="1000" dirty="0">
              <a:solidFill>
                <a:schemeClr val="bg1"/>
              </a:solidFill>
            </a:endParaRPr>
          </a:p>
        </p:txBody>
      </p:sp>
      <p:sp>
        <p:nvSpPr>
          <p:cNvPr id="41" name="TextBox 40">
            <a:extLst>
              <a:ext uri="{FF2B5EF4-FFF2-40B4-BE49-F238E27FC236}">
                <a16:creationId xmlns:a16="http://schemas.microsoft.com/office/drawing/2014/main" id="{CC9C46A7-BEBD-A427-C5EA-DE0666E149A7}"/>
              </a:ext>
            </a:extLst>
          </p:cNvPr>
          <p:cNvSpPr txBox="1"/>
          <p:nvPr/>
        </p:nvSpPr>
        <p:spPr>
          <a:xfrm>
            <a:off x="842541" y="3772751"/>
            <a:ext cx="784330" cy="246221"/>
          </a:xfrm>
          <a:prstGeom prst="rect">
            <a:avLst/>
          </a:prstGeom>
          <a:solidFill>
            <a:schemeClr val="tx1"/>
          </a:solidFill>
        </p:spPr>
        <p:txBody>
          <a:bodyPr wrap="square" rtlCol="0" anchor="ctr">
            <a:spAutoFit/>
          </a:bodyPr>
          <a:lstStyle/>
          <a:p>
            <a:r>
              <a:rPr lang="en-GB" sz="1000" dirty="0" err="1">
                <a:solidFill>
                  <a:schemeClr val="bg1"/>
                </a:solidFill>
              </a:rPr>
              <a:t>Högtalare</a:t>
            </a:r>
            <a:endParaRPr lang="en-SE" sz="1000" dirty="0">
              <a:solidFill>
                <a:schemeClr val="bg1"/>
              </a:solidFill>
            </a:endParaRPr>
          </a:p>
        </p:txBody>
      </p:sp>
      <p:sp>
        <p:nvSpPr>
          <p:cNvPr id="47" name="TextBox 46">
            <a:extLst>
              <a:ext uri="{FF2B5EF4-FFF2-40B4-BE49-F238E27FC236}">
                <a16:creationId xmlns:a16="http://schemas.microsoft.com/office/drawing/2014/main" id="{786B5051-2614-955B-281B-9062D314EE01}"/>
              </a:ext>
            </a:extLst>
          </p:cNvPr>
          <p:cNvSpPr txBox="1"/>
          <p:nvPr/>
        </p:nvSpPr>
        <p:spPr>
          <a:xfrm>
            <a:off x="1315230" y="5074155"/>
            <a:ext cx="1288670" cy="246221"/>
          </a:xfrm>
          <a:prstGeom prst="rect">
            <a:avLst/>
          </a:prstGeom>
          <a:solidFill>
            <a:schemeClr val="tx1"/>
          </a:solidFill>
        </p:spPr>
        <p:txBody>
          <a:bodyPr wrap="square" rtlCol="0" anchor="ctr">
            <a:spAutoFit/>
          </a:bodyPr>
          <a:lstStyle/>
          <a:p>
            <a:r>
              <a:rPr lang="en-GB" sz="1000" dirty="0" err="1">
                <a:solidFill>
                  <a:schemeClr val="bg1"/>
                </a:solidFill>
              </a:rPr>
              <a:t>sjusegmentsdisplay</a:t>
            </a:r>
            <a:endParaRPr lang="en-SE" sz="1000" dirty="0">
              <a:solidFill>
                <a:schemeClr val="bg1"/>
              </a:solidFill>
            </a:endParaRPr>
          </a:p>
        </p:txBody>
      </p:sp>
      <p:sp>
        <p:nvSpPr>
          <p:cNvPr id="49" name="TextBox 48">
            <a:extLst>
              <a:ext uri="{FF2B5EF4-FFF2-40B4-BE49-F238E27FC236}">
                <a16:creationId xmlns:a16="http://schemas.microsoft.com/office/drawing/2014/main" id="{F03D1F58-F540-5A51-25AC-24DC27B83956}"/>
              </a:ext>
            </a:extLst>
          </p:cNvPr>
          <p:cNvSpPr txBox="1"/>
          <p:nvPr/>
        </p:nvSpPr>
        <p:spPr>
          <a:xfrm>
            <a:off x="1373599" y="6220250"/>
            <a:ext cx="960367" cy="246221"/>
          </a:xfrm>
          <a:prstGeom prst="rect">
            <a:avLst/>
          </a:prstGeom>
          <a:solidFill>
            <a:schemeClr val="tx1"/>
          </a:solidFill>
        </p:spPr>
        <p:txBody>
          <a:bodyPr wrap="square" rtlCol="0">
            <a:spAutoFit/>
          </a:bodyPr>
          <a:lstStyle/>
          <a:p>
            <a:r>
              <a:rPr lang="en-GB" sz="1000" dirty="0" err="1">
                <a:solidFill>
                  <a:schemeClr val="bg1"/>
                </a:solidFill>
              </a:rPr>
              <a:t>Tryckknappar</a:t>
            </a:r>
            <a:endParaRPr lang="en-SE" sz="1000" dirty="0">
              <a:solidFill>
                <a:schemeClr val="bg1"/>
              </a:solidFill>
            </a:endParaRPr>
          </a:p>
        </p:txBody>
      </p:sp>
      <p:sp>
        <p:nvSpPr>
          <p:cNvPr id="50" name="TextBox 49">
            <a:extLst>
              <a:ext uri="{FF2B5EF4-FFF2-40B4-BE49-F238E27FC236}">
                <a16:creationId xmlns:a16="http://schemas.microsoft.com/office/drawing/2014/main" id="{C99C287E-80E8-76E8-3AFD-5C03E2DC70F3}"/>
              </a:ext>
            </a:extLst>
          </p:cNvPr>
          <p:cNvSpPr txBox="1"/>
          <p:nvPr/>
        </p:nvSpPr>
        <p:spPr>
          <a:xfrm>
            <a:off x="1658521" y="1021936"/>
            <a:ext cx="724461" cy="246221"/>
          </a:xfrm>
          <a:prstGeom prst="rect">
            <a:avLst/>
          </a:prstGeom>
          <a:solidFill>
            <a:schemeClr val="tx1"/>
          </a:solidFill>
        </p:spPr>
        <p:txBody>
          <a:bodyPr wrap="square" rtlCol="0">
            <a:spAutoFit/>
          </a:bodyPr>
          <a:lstStyle/>
          <a:p>
            <a:r>
              <a:rPr lang="en-GB" sz="1000" dirty="0" err="1">
                <a:solidFill>
                  <a:schemeClr val="bg1"/>
                </a:solidFill>
              </a:rPr>
              <a:t>DAmatrix</a:t>
            </a:r>
            <a:endParaRPr lang="en-SE" sz="1000" dirty="0">
              <a:solidFill>
                <a:schemeClr val="bg1"/>
              </a:solidFill>
            </a:endParaRPr>
          </a:p>
        </p:txBody>
      </p:sp>
      <p:sp>
        <p:nvSpPr>
          <p:cNvPr id="51" name="TextBox 50">
            <a:extLst>
              <a:ext uri="{FF2B5EF4-FFF2-40B4-BE49-F238E27FC236}">
                <a16:creationId xmlns:a16="http://schemas.microsoft.com/office/drawing/2014/main" id="{2010B3DD-3841-EC3F-EC56-DC3BFAB5A8B1}"/>
              </a:ext>
            </a:extLst>
          </p:cNvPr>
          <p:cNvSpPr txBox="1"/>
          <p:nvPr/>
        </p:nvSpPr>
        <p:spPr>
          <a:xfrm>
            <a:off x="1550861" y="664370"/>
            <a:ext cx="945379" cy="246221"/>
          </a:xfrm>
          <a:prstGeom prst="rect">
            <a:avLst/>
          </a:prstGeom>
          <a:solidFill>
            <a:schemeClr val="tx1"/>
          </a:solidFill>
        </p:spPr>
        <p:txBody>
          <a:bodyPr wrap="square" rtlCol="0">
            <a:spAutoFit/>
          </a:bodyPr>
          <a:lstStyle/>
          <a:p>
            <a:pPr algn="ctr"/>
            <a:r>
              <a:rPr lang="en-GB" sz="1000" dirty="0" err="1">
                <a:solidFill>
                  <a:schemeClr val="bg1"/>
                </a:solidFill>
              </a:rPr>
              <a:t>DAvid</a:t>
            </a:r>
            <a:endParaRPr lang="en-SE" sz="1000" dirty="0">
              <a:solidFill>
                <a:schemeClr val="bg1"/>
              </a:solidFill>
            </a:endParaRPr>
          </a:p>
        </p:txBody>
      </p:sp>
    </p:spTree>
    <p:extLst>
      <p:ext uri="{BB962C8B-B14F-4D97-AF65-F5344CB8AC3E}">
        <p14:creationId xmlns:p14="http://schemas.microsoft.com/office/powerpoint/2010/main" val="71181222"/>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9" name="CustomShape 196"/>
          <p:cNvSpPr/>
          <p:nvPr/>
        </p:nvSpPr>
        <p:spPr>
          <a:xfrm>
            <a:off x="495719" y="328680"/>
            <a:ext cx="5145851" cy="534240"/>
          </a:xfrm>
          <a:prstGeom prst="rect">
            <a:avLst/>
          </a:prstGeom>
          <a:noFill/>
          <a:ln w="12600">
            <a:noFill/>
          </a:ln>
        </p:spPr>
        <p:style>
          <a:lnRef idx="0">
            <a:scrgbClr r="0" g="0" b="0"/>
          </a:lnRef>
          <a:fillRef idx="0">
            <a:scrgbClr r="0" g="0" b="0"/>
          </a:fillRef>
          <a:effectRef idx="0">
            <a:scrgbClr r="0" g="0" b="0"/>
          </a:effectRef>
          <a:fontRef idx="minor"/>
        </p:style>
        <p:txBody>
          <a:bodyPr lIns="72000" tIns="36000" rIns="73080" bIns="36720"/>
          <a:lstStyle/>
          <a:p>
            <a:pPr>
              <a:lnSpc>
                <a:spcPct val="100000"/>
              </a:lnSpc>
            </a:pPr>
            <a:r>
              <a:rPr lang="sv-SE" sz="4000" b="0" strike="noStrike" spc="-1" dirty="0">
                <a:solidFill>
                  <a:srgbClr val="181818"/>
                </a:solidFill>
                <a:uFill>
                  <a:solidFill>
                    <a:srgbClr val="FFFFFF"/>
                  </a:solidFill>
                </a:uFill>
                <a:latin typeface="Ericsson Hilda"/>
              </a:rPr>
              <a:t>Översikt: Spelprocess</a:t>
            </a:r>
            <a:endParaRPr lang="sv-SE" sz="4000" b="0" strike="noStrike" spc="-1" dirty="0">
              <a:solidFill>
                <a:srgbClr val="000000"/>
              </a:solidFill>
              <a:uFill>
                <a:solidFill>
                  <a:srgbClr val="FFFFFF"/>
                </a:solidFill>
              </a:uFill>
              <a:latin typeface="Arial"/>
            </a:endParaRPr>
          </a:p>
        </p:txBody>
      </p:sp>
      <p:sp>
        <p:nvSpPr>
          <p:cNvPr id="1110" name="Rectangle 1109">
            <a:extLst>
              <a:ext uri="{FF2B5EF4-FFF2-40B4-BE49-F238E27FC236}">
                <a16:creationId xmlns:a16="http://schemas.microsoft.com/office/drawing/2014/main" id="{74D20775-402D-4802-A3BA-22E3763FD413}"/>
              </a:ext>
            </a:extLst>
          </p:cNvPr>
          <p:cNvSpPr/>
          <p:nvPr/>
        </p:nvSpPr>
        <p:spPr>
          <a:xfrm>
            <a:off x="11277600" y="309217"/>
            <a:ext cx="649357" cy="506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04" name="CustomShape 5">
            <a:extLst>
              <a:ext uri="{FF2B5EF4-FFF2-40B4-BE49-F238E27FC236}">
                <a16:creationId xmlns:a16="http://schemas.microsoft.com/office/drawing/2014/main" id="{99C502BD-83D6-E38C-6D32-8AD52CBC4098}"/>
              </a:ext>
            </a:extLst>
          </p:cNvPr>
          <p:cNvSpPr/>
          <p:nvPr/>
        </p:nvSpPr>
        <p:spPr>
          <a:xfrm>
            <a:off x="3502760" y="1760419"/>
            <a:ext cx="1827720" cy="13951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a:t>
            </a:r>
            <a:r>
              <a:rPr lang="sv-SE" b="1" spc="-1" dirty="0">
                <a:solidFill>
                  <a:srgbClr val="181818"/>
                </a:solidFill>
                <a:uFill>
                  <a:solidFill>
                    <a:srgbClr val="FFFFFF"/>
                  </a:solidFill>
                </a:uFill>
                <a:latin typeface="Ericsson Hilda"/>
              </a:rPr>
              <a:t>8</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knappar</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Knapptryck resulterar i att karaktär försöker undvika hinder</a:t>
            </a:r>
            <a:endParaRPr lang="sv-SE" sz="1100" b="0" strike="noStrike" spc="-1" dirty="0">
              <a:solidFill>
                <a:srgbClr val="000000"/>
              </a:solidFill>
              <a:uFill>
                <a:solidFill>
                  <a:srgbClr val="FFFFFF"/>
                </a:solidFill>
              </a:uFill>
              <a:latin typeface="Arial"/>
            </a:endParaRPr>
          </a:p>
        </p:txBody>
      </p:sp>
      <p:sp>
        <p:nvSpPr>
          <p:cNvPr id="31" name="CustomShape 5">
            <a:extLst>
              <a:ext uri="{FF2B5EF4-FFF2-40B4-BE49-F238E27FC236}">
                <a16:creationId xmlns:a16="http://schemas.microsoft.com/office/drawing/2014/main" id="{41042008-0640-9337-5AF6-23791FB98BEC}"/>
              </a:ext>
            </a:extLst>
          </p:cNvPr>
          <p:cNvSpPr/>
          <p:nvPr/>
        </p:nvSpPr>
        <p:spPr>
          <a:xfrm>
            <a:off x="3500083" y="3455485"/>
            <a:ext cx="1827720" cy="13951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a:t>
            </a:r>
            <a:r>
              <a:rPr lang="sv-SE" b="1" spc="-1" dirty="0">
                <a:solidFill>
                  <a:srgbClr val="181818"/>
                </a:solidFill>
                <a:uFill>
                  <a:solidFill>
                    <a:srgbClr val="FFFFFF"/>
                  </a:solidFill>
                </a:uFill>
                <a:latin typeface="Ericsson Hilda"/>
              </a:rPr>
              <a:t>9</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DAmatrix</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spc="-1" dirty="0">
                <a:solidFill>
                  <a:srgbClr val="181818"/>
                </a:solidFill>
                <a:uFill>
                  <a:solidFill>
                    <a:srgbClr val="FFFFFF"/>
                  </a:solidFill>
                </a:uFill>
                <a:latin typeface="Ericsson Hilda"/>
              </a:rPr>
              <a:t>Händelsen i steg 8 återspeglas visuellt på DAmatrix</a:t>
            </a:r>
            <a:endParaRPr lang="sv-SE" sz="1100" b="0" strike="noStrike" spc="-1" dirty="0">
              <a:solidFill>
                <a:srgbClr val="000000"/>
              </a:solidFill>
              <a:uFill>
                <a:solidFill>
                  <a:srgbClr val="FFFFFF"/>
                </a:solidFill>
              </a:uFill>
              <a:latin typeface="Arial"/>
            </a:endParaRPr>
          </a:p>
        </p:txBody>
      </p:sp>
      <p:pic>
        <p:nvPicPr>
          <p:cNvPr id="49" name="Picture 48">
            <a:extLst>
              <a:ext uri="{FF2B5EF4-FFF2-40B4-BE49-F238E27FC236}">
                <a16:creationId xmlns:a16="http://schemas.microsoft.com/office/drawing/2014/main" id="{AAAA94F3-4E1A-EF8E-36F3-4EC4063EC7C1}"/>
              </a:ext>
            </a:extLst>
          </p:cNvPr>
          <p:cNvPicPr>
            <a:picLocks noChangeAspect="1"/>
          </p:cNvPicPr>
          <p:nvPr/>
        </p:nvPicPr>
        <p:blipFill rotWithShape="1">
          <a:blip r:embed="rId2"/>
          <a:srcRect r="66482"/>
          <a:stretch/>
        </p:blipFill>
        <p:spPr>
          <a:xfrm>
            <a:off x="378117" y="1573880"/>
            <a:ext cx="2584986" cy="2309710"/>
          </a:xfrm>
          <a:prstGeom prst="rect">
            <a:avLst/>
          </a:prstGeom>
        </p:spPr>
      </p:pic>
      <p:pic>
        <p:nvPicPr>
          <p:cNvPr id="69" name="Picture 68">
            <a:extLst>
              <a:ext uri="{FF2B5EF4-FFF2-40B4-BE49-F238E27FC236}">
                <a16:creationId xmlns:a16="http://schemas.microsoft.com/office/drawing/2014/main" id="{892D91D6-A30B-1CC0-E3DA-756E86750F02}"/>
              </a:ext>
            </a:extLst>
          </p:cNvPr>
          <p:cNvPicPr>
            <a:picLocks noChangeAspect="1"/>
          </p:cNvPicPr>
          <p:nvPr/>
        </p:nvPicPr>
        <p:blipFill rotWithShape="1">
          <a:blip r:embed="rId3"/>
          <a:srcRect r="66344"/>
          <a:stretch/>
        </p:blipFill>
        <p:spPr>
          <a:xfrm>
            <a:off x="6238986" y="1602434"/>
            <a:ext cx="2563525" cy="2281156"/>
          </a:xfrm>
          <a:prstGeom prst="rect">
            <a:avLst/>
          </a:prstGeom>
        </p:spPr>
      </p:pic>
      <p:sp>
        <p:nvSpPr>
          <p:cNvPr id="70" name="Rectangle 69">
            <a:extLst>
              <a:ext uri="{FF2B5EF4-FFF2-40B4-BE49-F238E27FC236}">
                <a16:creationId xmlns:a16="http://schemas.microsoft.com/office/drawing/2014/main" id="{51251EFD-AF96-7CD8-D7E8-A22280D558D5}"/>
              </a:ext>
            </a:extLst>
          </p:cNvPr>
          <p:cNvSpPr/>
          <p:nvPr/>
        </p:nvSpPr>
        <p:spPr>
          <a:xfrm>
            <a:off x="6238986" y="4252706"/>
            <a:ext cx="2563525" cy="19930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71" name="Rectangle 70">
            <a:extLst>
              <a:ext uri="{FF2B5EF4-FFF2-40B4-BE49-F238E27FC236}">
                <a16:creationId xmlns:a16="http://schemas.microsoft.com/office/drawing/2014/main" id="{FF77A5EA-2C4C-E960-89EA-8B23BA493495}"/>
              </a:ext>
            </a:extLst>
          </p:cNvPr>
          <p:cNvSpPr/>
          <p:nvPr/>
        </p:nvSpPr>
        <p:spPr>
          <a:xfrm>
            <a:off x="6522482" y="4903373"/>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400" dirty="0"/>
          </a:p>
        </p:txBody>
      </p:sp>
      <p:sp>
        <p:nvSpPr>
          <p:cNvPr id="72" name="Rectangle 71">
            <a:extLst>
              <a:ext uri="{FF2B5EF4-FFF2-40B4-BE49-F238E27FC236}">
                <a16:creationId xmlns:a16="http://schemas.microsoft.com/office/drawing/2014/main" id="{DB29A451-40DF-4844-16C2-987507262F84}"/>
              </a:ext>
            </a:extLst>
          </p:cNvPr>
          <p:cNvSpPr/>
          <p:nvPr/>
        </p:nvSpPr>
        <p:spPr>
          <a:xfrm>
            <a:off x="6522482"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0</a:t>
            </a:r>
            <a:endParaRPr lang="en-SE" dirty="0">
              <a:solidFill>
                <a:schemeClr val="accent6"/>
              </a:solidFill>
            </a:endParaRPr>
          </a:p>
        </p:txBody>
      </p:sp>
      <p:sp>
        <p:nvSpPr>
          <p:cNvPr id="73" name="Rectangle 72">
            <a:extLst>
              <a:ext uri="{FF2B5EF4-FFF2-40B4-BE49-F238E27FC236}">
                <a16:creationId xmlns:a16="http://schemas.microsoft.com/office/drawing/2014/main" id="{8A766B63-BB09-FB20-9315-0E2AA25BD2EB}"/>
              </a:ext>
            </a:extLst>
          </p:cNvPr>
          <p:cNvSpPr/>
          <p:nvPr/>
        </p:nvSpPr>
        <p:spPr>
          <a:xfrm>
            <a:off x="8115062"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1</a:t>
            </a:r>
            <a:endParaRPr lang="en-SE" dirty="0">
              <a:solidFill>
                <a:schemeClr val="accent6"/>
              </a:solidFill>
            </a:endParaRPr>
          </a:p>
        </p:txBody>
      </p:sp>
      <p:grpSp>
        <p:nvGrpSpPr>
          <p:cNvPr id="74" name="Group 73">
            <a:extLst>
              <a:ext uri="{FF2B5EF4-FFF2-40B4-BE49-F238E27FC236}">
                <a16:creationId xmlns:a16="http://schemas.microsoft.com/office/drawing/2014/main" id="{1F38AA95-4170-3D39-5028-D75AB3D4AD74}"/>
              </a:ext>
            </a:extLst>
          </p:cNvPr>
          <p:cNvGrpSpPr/>
          <p:nvPr/>
        </p:nvGrpSpPr>
        <p:grpSpPr>
          <a:xfrm>
            <a:off x="7065407" y="5753290"/>
            <a:ext cx="849630" cy="411480"/>
            <a:chOff x="4855755" y="5897034"/>
            <a:chExt cx="849630" cy="411480"/>
          </a:xfrm>
        </p:grpSpPr>
        <p:sp>
          <p:nvSpPr>
            <p:cNvPr id="75" name="Rectangle 74">
              <a:extLst>
                <a:ext uri="{FF2B5EF4-FFF2-40B4-BE49-F238E27FC236}">
                  <a16:creationId xmlns:a16="http://schemas.microsoft.com/office/drawing/2014/main" id="{BC225BD8-5303-9174-C7ED-5A4AC5E970D0}"/>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76" name="Rectangle 75">
              <a:extLst>
                <a:ext uri="{FF2B5EF4-FFF2-40B4-BE49-F238E27FC236}">
                  <a16:creationId xmlns:a16="http://schemas.microsoft.com/office/drawing/2014/main" id="{0C0C544D-0CBC-8407-D23D-CAC1FF65B2C8}"/>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dirty="0"/>
            </a:p>
          </p:txBody>
        </p:sp>
      </p:grpSp>
      <p:sp>
        <p:nvSpPr>
          <p:cNvPr id="77" name="Oval 76">
            <a:extLst>
              <a:ext uri="{FF2B5EF4-FFF2-40B4-BE49-F238E27FC236}">
                <a16:creationId xmlns:a16="http://schemas.microsoft.com/office/drawing/2014/main" id="{9C357E8D-1F03-D4AC-D9BE-28EC48D52D34}"/>
              </a:ext>
            </a:extLst>
          </p:cNvPr>
          <p:cNvSpPr/>
          <p:nvPr/>
        </p:nvSpPr>
        <p:spPr>
          <a:xfrm>
            <a:off x="6649251" y="4422227"/>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78" name="Straight Connector 77">
            <a:extLst>
              <a:ext uri="{FF2B5EF4-FFF2-40B4-BE49-F238E27FC236}">
                <a16:creationId xmlns:a16="http://schemas.microsoft.com/office/drawing/2014/main" id="{F48E6819-5025-C99B-E667-F763B94F8CFB}"/>
              </a:ext>
            </a:extLst>
          </p:cNvPr>
          <p:cNvCxnSpPr/>
          <p:nvPr/>
        </p:nvCxnSpPr>
        <p:spPr>
          <a:xfrm flipH="1">
            <a:off x="6289726" y="4598477"/>
            <a:ext cx="2327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4B0E9851-450B-1654-9563-EC06EB2156B8}"/>
              </a:ext>
            </a:extLst>
          </p:cNvPr>
          <p:cNvCxnSpPr/>
          <p:nvPr/>
        </p:nvCxnSpPr>
        <p:spPr>
          <a:xfrm flipH="1">
            <a:off x="6406104" y="465692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48E3E33-F8D8-BAE7-4022-1E1DA0F64EC6}"/>
              </a:ext>
            </a:extLst>
          </p:cNvPr>
          <p:cNvCxnSpPr/>
          <p:nvPr/>
        </p:nvCxnSpPr>
        <p:spPr>
          <a:xfrm flipH="1" flipV="1">
            <a:off x="6406104" y="438213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AD3D0F8-4219-1379-A7F4-298C807863C9}"/>
              </a:ext>
            </a:extLst>
          </p:cNvPr>
          <p:cNvSpPr/>
          <p:nvPr/>
        </p:nvSpPr>
        <p:spPr>
          <a:xfrm>
            <a:off x="376800" y="4252706"/>
            <a:ext cx="2563525" cy="19930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82" name="Rectangle 81">
            <a:extLst>
              <a:ext uri="{FF2B5EF4-FFF2-40B4-BE49-F238E27FC236}">
                <a16:creationId xmlns:a16="http://schemas.microsoft.com/office/drawing/2014/main" id="{ECACE092-5932-2AB4-2A29-28B87A764E85}"/>
              </a:ext>
            </a:extLst>
          </p:cNvPr>
          <p:cNvSpPr/>
          <p:nvPr/>
        </p:nvSpPr>
        <p:spPr>
          <a:xfrm>
            <a:off x="660296" y="4903373"/>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400" dirty="0"/>
          </a:p>
        </p:txBody>
      </p:sp>
      <p:sp>
        <p:nvSpPr>
          <p:cNvPr id="83" name="Rectangle 82">
            <a:extLst>
              <a:ext uri="{FF2B5EF4-FFF2-40B4-BE49-F238E27FC236}">
                <a16:creationId xmlns:a16="http://schemas.microsoft.com/office/drawing/2014/main" id="{D7C1485E-451F-F804-EAA5-556D59B8DE68}"/>
              </a:ext>
            </a:extLst>
          </p:cNvPr>
          <p:cNvSpPr/>
          <p:nvPr/>
        </p:nvSpPr>
        <p:spPr>
          <a:xfrm>
            <a:off x="660296"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0</a:t>
            </a:r>
            <a:endParaRPr lang="en-SE" dirty="0">
              <a:solidFill>
                <a:schemeClr val="accent6"/>
              </a:solidFill>
            </a:endParaRPr>
          </a:p>
        </p:txBody>
      </p:sp>
      <p:sp>
        <p:nvSpPr>
          <p:cNvPr id="84" name="Rectangle 83">
            <a:extLst>
              <a:ext uri="{FF2B5EF4-FFF2-40B4-BE49-F238E27FC236}">
                <a16:creationId xmlns:a16="http://schemas.microsoft.com/office/drawing/2014/main" id="{6CE162B4-B3F7-8287-E15C-96279F79E810}"/>
              </a:ext>
            </a:extLst>
          </p:cNvPr>
          <p:cNvSpPr/>
          <p:nvPr/>
        </p:nvSpPr>
        <p:spPr>
          <a:xfrm>
            <a:off x="2252876"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0</a:t>
            </a:r>
            <a:endParaRPr lang="en-SE" dirty="0">
              <a:solidFill>
                <a:schemeClr val="accent6"/>
              </a:solidFill>
            </a:endParaRPr>
          </a:p>
        </p:txBody>
      </p:sp>
      <p:grpSp>
        <p:nvGrpSpPr>
          <p:cNvPr id="85" name="Group 84">
            <a:extLst>
              <a:ext uri="{FF2B5EF4-FFF2-40B4-BE49-F238E27FC236}">
                <a16:creationId xmlns:a16="http://schemas.microsoft.com/office/drawing/2014/main" id="{49B63BBE-55FB-8A1B-E9CA-38250823AC5D}"/>
              </a:ext>
            </a:extLst>
          </p:cNvPr>
          <p:cNvGrpSpPr/>
          <p:nvPr/>
        </p:nvGrpSpPr>
        <p:grpSpPr>
          <a:xfrm>
            <a:off x="1203221" y="5753290"/>
            <a:ext cx="849630" cy="411480"/>
            <a:chOff x="4855755" y="5897034"/>
            <a:chExt cx="849630" cy="411480"/>
          </a:xfrm>
        </p:grpSpPr>
        <p:sp>
          <p:nvSpPr>
            <p:cNvPr id="86" name="Rectangle 85">
              <a:extLst>
                <a:ext uri="{FF2B5EF4-FFF2-40B4-BE49-F238E27FC236}">
                  <a16:creationId xmlns:a16="http://schemas.microsoft.com/office/drawing/2014/main" id="{3AFA6938-16B4-BB81-3F06-C838F5232157}"/>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87" name="Rectangle 86">
              <a:extLst>
                <a:ext uri="{FF2B5EF4-FFF2-40B4-BE49-F238E27FC236}">
                  <a16:creationId xmlns:a16="http://schemas.microsoft.com/office/drawing/2014/main" id="{22474F9E-859D-4779-769F-2EC66E3DAA65}"/>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dirty="0"/>
            </a:p>
          </p:txBody>
        </p:sp>
      </p:grpSp>
      <p:sp>
        <p:nvSpPr>
          <p:cNvPr id="88" name="Oval 87">
            <a:extLst>
              <a:ext uri="{FF2B5EF4-FFF2-40B4-BE49-F238E27FC236}">
                <a16:creationId xmlns:a16="http://schemas.microsoft.com/office/drawing/2014/main" id="{89AF2946-9805-D018-BB8A-4F49D9A75655}"/>
              </a:ext>
            </a:extLst>
          </p:cNvPr>
          <p:cNvSpPr/>
          <p:nvPr/>
        </p:nvSpPr>
        <p:spPr>
          <a:xfrm>
            <a:off x="787065" y="4422227"/>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89" name="Straight Connector 88">
            <a:extLst>
              <a:ext uri="{FF2B5EF4-FFF2-40B4-BE49-F238E27FC236}">
                <a16:creationId xmlns:a16="http://schemas.microsoft.com/office/drawing/2014/main" id="{71524515-2742-1373-51FB-1570EAF62687}"/>
              </a:ext>
            </a:extLst>
          </p:cNvPr>
          <p:cNvCxnSpPr/>
          <p:nvPr/>
        </p:nvCxnSpPr>
        <p:spPr>
          <a:xfrm flipH="1">
            <a:off x="427540" y="4598477"/>
            <a:ext cx="2327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135D0474-53D8-064D-94D7-2620BB680290}"/>
              </a:ext>
            </a:extLst>
          </p:cNvPr>
          <p:cNvCxnSpPr/>
          <p:nvPr/>
        </p:nvCxnSpPr>
        <p:spPr>
          <a:xfrm flipH="1">
            <a:off x="543918" y="465692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75E89B33-DFBF-E8AB-87A4-6CB6794BA6E2}"/>
              </a:ext>
            </a:extLst>
          </p:cNvPr>
          <p:cNvCxnSpPr/>
          <p:nvPr/>
        </p:nvCxnSpPr>
        <p:spPr>
          <a:xfrm flipH="1" flipV="1">
            <a:off x="543918" y="438213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CC5E344B-928C-C46F-70C2-20E868B293D8}"/>
              </a:ext>
            </a:extLst>
          </p:cNvPr>
          <p:cNvCxnSpPr>
            <a:stCxn id="104" idx="2"/>
            <a:endCxn id="31" idx="0"/>
          </p:cNvCxnSpPr>
          <p:nvPr/>
        </p:nvCxnSpPr>
        <p:spPr>
          <a:xfrm flipH="1">
            <a:off x="4413943" y="3155611"/>
            <a:ext cx="2677" cy="2998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2" name="CustomShape 5">
            <a:extLst>
              <a:ext uri="{FF2B5EF4-FFF2-40B4-BE49-F238E27FC236}">
                <a16:creationId xmlns:a16="http://schemas.microsoft.com/office/drawing/2014/main" id="{B78E02E0-05B6-48AF-1D3B-0A9FF74E154A}"/>
              </a:ext>
            </a:extLst>
          </p:cNvPr>
          <p:cNvSpPr/>
          <p:nvPr/>
        </p:nvSpPr>
        <p:spPr>
          <a:xfrm>
            <a:off x="9377087" y="1760419"/>
            <a:ext cx="1827720" cy="2492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10</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pc="-1" dirty="0">
                <a:solidFill>
                  <a:srgbClr val="181818"/>
                </a:solidFill>
                <a:uFill>
                  <a:solidFill>
                    <a:srgbClr val="FFFFFF"/>
                  </a:solidFill>
                </a:uFill>
                <a:latin typeface="Ericsson Hilda"/>
              </a:rPr>
              <a:t>Sjusegment</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Undvikande av hinder resulterar i poängökning på sjusegmentsdisplay.</a:t>
            </a:r>
          </a:p>
          <a:p>
            <a:pPr>
              <a:lnSpc>
                <a:spcPct val="100000"/>
              </a:lnSpc>
            </a:pPr>
            <a:endParaRPr lang="sv-SE" sz="1100" spc="-1" dirty="0">
              <a:solidFill>
                <a:srgbClr val="181818"/>
              </a:solidFill>
              <a:uFill>
                <a:solidFill>
                  <a:srgbClr val="FFFFFF"/>
                </a:solidFill>
              </a:uFill>
              <a:latin typeface="Ericsson Hilda"/>
            </a:endParaRPr>
          </a:p>
          <a:p>
            <a:pPr>
              <a:lnSpc>
                <a:spcPct val="100000"/>
              </a:lnSpc>
            </a:pPr>
            <a:r>
              <a:rPr lang="sv-SE" sz="1100" b="0" strike="noStrike" spc="-1" dirty="0">
                <a:solidFill>
                  <a:srgbClr val="181818"/>
                </a:solidFill>
                <a:uFill>
                  <a:solidFill>
                    <a:srgbClr val="FFFFFF"/>
                  </a:solidFill>
                </a:uFill>
                <a:latin typeface="Ericsson Hilda"/>
              </a:rPr>
              <a:t>Misslyckande resulterar i spelförlust.</a:t>
            </a:r>
            <a:endParaRPr lang="sv-SE" sz="1100" b="0" strike="noStrike" spc="-1" dirty="0">
              <a:solidFill>
                <a:srgbClr val="000000"/>
              </a:solidFill>
              <a:uFill>
                <a:solidFill>
                  <a:srgbClr val="FFFFFF"/>
                </a:solidFill>
              </a:uFill>
              <a:latin typeface="Arial"/>
            </a:endParaRPr>
          </a:p>
        </p:txBody>
      </p:sp>
    </p:spTree>
    <p:extLst>
      <p:ext uri="{BB962C8B-B14F-4D97-AF65-F5344CB8AC3E}">
        <p14:creationId xmlns:p14="http://schemas.microsoft.com/office/powerpoint/2010/main" val="1553734564"/>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9" name="CustomShape 196"/>
          <p:cNvSpPr/>
          <p:nvPr/>
        </p:nvSpPr>
        <p:spPr>
          <a:xfrm>
            <a:off x="495720" y="328680"/>
            <a:ext cx="3186720" cy="534240"/>
          </a:xfrm>
          <a:prstGeom prst="rect">
            <a:avLst/>
          </a:prstGeom>
          <a:noFill/>
          <a:ln w="12600">
            <a:noFill/>
          </a:ln>
        </p:spPr>
        <p:style>
          <a:lnRef idx="0">
            <a:scrgbClr r="0" g="0" b="0"/>
          </a:lnRef>
          <a:fillRef idx="0">
            <a:scrgbClr r="0" g="0" b="0"/>
          </a:fillRef>
          <a:effectRef idx="0">
            <a:scrgbClr r="0" g="0" b="0"/>
          </a:effectRef>
          <a:fontRef idx="minor"/>
        </p:style>
        <p:txBody>
          <a:bodyPr lIns="72000" tIns="36000" rIns="73080" bIns="36720"/>
          <a:lstStyle/>
          <a:p>
            <a:pPr>
              <a:lnSpc>
                <a:spcPct val="100000"/>
              </a:lnSpc>
            </a:pPr>
            <a:r>
              <a:rPr lang="sv-SE" sz="4000" b="0" strike="noStrike" spc="-1">
                <a:solidFill>
                  <a:srgbClr val="181818"/>
                </a:solidFill>
                <a:uFill>
                  <a:solidFill>
                    <a:srgbClr val="FFFFFF"/>
                  </a:solidFill>
                </a:uFill>
                <a:latin typeface="Ericsson Hilda"/>
              </a:rPr>
              <a:t>Spelmekanik</a:t>
            </a:r>
            <a:endParaRPr lang="sv-SE" sz="4000" b="0" strike="noStrike" spc="-1">
              <a:solidFill>
                <a:srgbClr val="000000"/>
              </a:solidFill>
              <a:uFill>
                <a:solidFill>
                  <a:srgbClr val="FFFFFF"/>
                </a:solidFill>
              </a:uFill>
              <a:latin typeface="Arial"/>
            </a:endParaRPr>
          </a:p>
        </p:txBody>
      </p:sp>
      <p:sp>
        <p:nvSpPr>
          <p:cNvPr id="1110" name="Rectangle 1109">
            <a:extLst>
              <a:ext uri="{FF2B5EF4-FFF2-40B4-BE49-F238E27FC236}">
                <a16:creationId xmlns:a16="http://schemas.microsoft.com/office/drawing/2014/main" id="{74D20775-402D-4802-A3BA-22E3763FD413}"/>
              </a:ext>
            </a:extLst>
          </p:cNvPr>
          <p:cNvSpPr/>
          <p:nvPr/>
        </p:nvSpPr>
        <p:spPr>
          <a:xfrm>
            <a:off x="11277600" y="309217"/>
            <a:ext cx="649357" cy="506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3" name="Rectangle 42">
            <a:extLst>
              <a:ext uri="{FF2B5EF4-FFF2-40B4-BE49-F238E27FC236}">
                <a16:creationId xmlns:a16="http://schemas.microsoft.com/office/drawing/2014/main" id="{916C7F7D-11E3-E8C4-77B2-1F94AAF35F20}"/>
              </a:ext>
            </a:extLst>
          </p:cNvPr>
          <p:cNvSpPr/>
          <p:nvPr/>
        </p:nvSpPr>
        <p:spPr>
          <a:xfrm>
            <a:off x="352705" y="4252706"/>
            <a:ext cx="2563525" cy="19930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4" name="Rectangle 43">
            <a:extLst>
              <a:ext uri="{FF2B5EF4-FFF2-40B4-BE49-F238E27FC236}">
                <a16:creationId xmlns:a16="http://schemas.microsoft.com/office/drawing/2014/main" id="{B9D829D3-3B40-61D4-1E28-63B45EB2B56F}"/>
              </a:ext>
            </a:extLst>
          </p:cNvPr>
          <p:cNvSpPr/>
          <p:nvPr/>
        </p:nvSpPr>
        <p:spPr>
          <a:xfrm>
            <a:off x="636201" y="4903373"/>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400" dirty="0"/>
          </a:p>
        </p:txBody>
      </p:sp>
      <p:sp>
        <p:nvSpPr>
          <p:cNvPr id="45" name="Rectangle 44">
            <a:extLst>
              <a:ext uri="{FF2B5EF4-FFF2-40B4-BE49-F238E27FC236}">
                <a16:creationId xmlns:a16="http://schemas.microsoft.com/office/drawing/2014/main" id="{6DF2406D-1598-56C6-E1F7-57A97BACB1C5}"/>
              </a:ext>
            </a:extLst>
          </p:cNvPr>
          <p:cNvSpPr/>
          <p:nvPr/>
        </p:nvSpPr>
        <p:spPr>
          <a:xfrm>
            <a:off x="636201"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0</a:t>
            </a:r>
            <a:endParaRPr lang="en-SE" dirty="0">
              <a:solidFill>
                <a:schemeClr val="accent6"/>
              </a:solidFill>
            </a:endParaRPr>
          </a:p>
        </p:txBody>
      </p:sp>
      <p:sp>
        <p:nvSpPr>
          <p:cNvPr id="46" name="Rectangle 45">
            <a:extLst>
              <a:ext uri="{FF2B5EF4-FFF2-40B4-BE49-F238E27FC236}">
                <a16:creationId xmlns:a16="http://schemas.microsoft.com/office/drawing/2014/main" id="{612B9B92-2EA4-7EE4-1493-59861F2D92A8}"/>
              </a:ext>
            </a:extLst>
          </p:cNvPr>
          <p:cNvSpPr/>
          <p:nvPr/>
        </p:nvSpPr>
        <p:spPr>
          <a:xfrm>
            <a:off x="2228781"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6"/>
                </a:solidFill>
              </a:rPr>
              <a:t>0</a:t>
            </a:r>
            <a:endParaRPr lang="en-SE">
              <a:solidFill>
                <a:schemeClr val="accent6"/>
              </a:solidFill>
            </a:endParaRPr>
          </a:p>
        </p:txBody>
      </p:sp>
      <p:grpSp>
        <p:nvGrpSpPr>
          <p:cNvPr id="48" name="Group 47">
            <a:extLst>
              <a:ext uri="{FF2B5EF4-FFF2-40B4-BE49-F238E27FC236}">
                <a16:creationId xmlns:a16="http://schemas.microsoft.com/office/drawing/2014/main" id="{6E927A4B-6A7F-EBB9-4B2D-EDECE1FDD249}"/>
              </a:ext>
            </a:extLst>
          </p:cNvPr>
          <p:cNvGrpSpPr/>
          <p:nvPr/>
        </p:nvGrpSpPr>
        <p:grpSpPr>
          <a:xfrm>
            <a:off x="1179126" y="5753290"/>
            <a:ext cx="849630" cy="411480"/>
            <a:chOff x="4855755" y="5897034"/>
            <a:chExt cx="849630" cy="411480"/>
          </a:xfrm>
        </p:grpSpPr>
        <p:sp>
          <p:nvSpPr>
            <p:cNvPr id="52" name="Rectangle 51">
              <a:extLst>
                <a:ext uri="{FF2B5EF4-FFF2-40B4-BE49-F238E27FC236}">
                  <a16:creationId xmlns:a16="http://schemas.microsoft.com/office/drawing/2014/main" id="{A8009EBE-C29C-61C0-191D-807EDC3A8012}"/>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53" name="Rectangle 52">
              <a:extLst>
                <a:ext uri="{FF2B5EF4-FFF2-40B4-BE49-F238E27FC236}">
                  <a16:creationId xmlns:a16="http://schemas.microsoft.com/office/drawing/2014/main" id="{1A0D292F-29CD-B00F-4EE0-0078EADE0EFE}"/>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dirty="0"/>
            </a:p>
          </p:txBody>
        </p:sp>
      </p:grpSp>
      <p:sp>
        <p:nvSpPr>
          <p:cNvPr id="54" name="Oval 53">
            <a:extLst>
              <a:ext uri="{FF2B5EF4-FFF2-40B4-BE49-F238E27FC236}">
                <a16:creationId xmlns:a16="http://schemas.microsoft.com/office/drawing/2014/main" id="{26BCC45D-332F-0F2F-C7B8-ED470F350E32}"/>
              </a:ext>
            </a:extLst>
          </p:cNvPr>
          <p:cNvSpPr/>
          <p:nvPr/>
        </p:nvSpPr>
        <p:spPr>
          <a:xfrm>
            <a:off x="762970" y="4422227"/>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55" name="Straight Connector 54">
            <a:extLst>
              <a:ext uri="{FF2B5EF4-FFF2-40B4-BE49-F238E27FC236}">
                <a16:creationId xmlns:a16="http://schemas.microsoft.com/office/drawing/2014/main" id="{A0226E73-6F80-5E22-423B-A3191DA35055}"/>
              </a:ext>
            </a:extLst>
          </p:cNvPr>
          <p:cNvCxnSpPr/>
          <p:nvPr/>
        </p:nvCxnSpPr>
        <p:spPr>
          <a:xfrm flipH="1">
            <a:off x="403445" y="4598477"/>
            <a:ext cx="2327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231AFA-CF3C-A963-25EF-C696E535AC38}"/>
              </a:ext>
            </a:extLst>
          </p:cNvPr>
          <p:cNvCxnSpPr/>
          <p:nvPr/>
        </p:nvCxnSpPr>
        <p:spPr>
          <a:xfrm flipH="1">
            <a:off x="519823" y="465692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4803D7C-5CFF-2043-5A68-D06C8788F880}"/>
              </a:ext>
            </a:extLst>
          </p:cNvPr>
          <p:cNvCxnSpPr/>
          <p:nvPr/>
        </p:nvCxnSpPr>
        <p:spPr>
          <a:xfrm flipH="1" flipV="1">
            <a:off x="519823" y="438213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CustomShape 5">
            <a:extLst>
              <a:ext uri="{FF2B5EF4-FFF2-40B4-BE49-F238E27FC236}">
                <a16:creationId xmlns:a16="http://schemas.microsoft.com/office/drawing/2014/main" id="{C59AE025-3E26-D903-A38B-F260857264C4}"/>
              </a:ext>
            </a:extLst>
          </p:cNvPr>
          <p:cNvSpPr/>
          <p:nvPr/>
        </p:nvSpPr>
        <p:spPr>
          <a:xfrm>
            <a:off x="3502760" y="1280263"/>
            <a:ext cx="1827720" cy="12756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4</a:t>
            </a:r>
            <a:endParaRPr lang="sv-SE" sz="1800" b="0" strike="noStrike" spc="-1" dirty="0">
              <a:solidFill>
                <a:srgbClr val="000000"/>
              </a:solidFill>
              <a:uFill>
                <a:solidFill>
                  <a:srgbClr val="FFFFFF"/>
                </a:solidFill>
              </a:uFill>
              <a:latin typeface="Arial"/>
            </a:endParaRPr>
          </a:p>
          <a:p>
            <a:pPr>
              <a:lnSpc>
                <a:spcPct val="100000"/>
              </a:lnSpc>
            </a:pPr>
            <a:r>
              <a:rPr lang="sv-SE" sz="1100" b="1" spc="-1" dirty="0">
                <a:solidFill>
                  <a:srgbClr val="181818"/>
                </a:solidFill>
                <a:uFill>
                  <a:solidFill>
                    <a:srgbClr val="FFFFFF"/>
                  </a:solidFill>
                </a:uFill>
                <a:latin typeface="Ericsson Hilda"/>
              </a:rPr>
              <a:t>Komponent</a:t>
            </a:r>
            <a:r>
              <a:rPr lang="sv-SE" sz="1100" b="1" strike="noStrike" spc="-1" dirty="0">
                <a:solidFill>
                  <a:srgbClr val="181818"/>
                </a:solidFill>
                <a:uFill>
                  <a:solidFill>
                    <a:srgbClr val="FFFFFF"/>
                  </a:solidFill>
                </a:uFill>
                <a:latin typeface="Ericsson Hilda"/>
              </a:rPr>
              <a:t>:  </a:t>
            </a:r>
            <a:r>
              <a:rPr lang="sv-SE" sz="1100" strike="noStrike" spc="-1" dirty="0">
                <a:solidFill>
                  <a:srgbClr val="181818"/>
                </a:solidFill>
                <a:uFill>
                  <a:solidFill>
                    <a:srgbClr val="FFFFFF"/>
                  </a:solidFill>
                </a:uFill>
                <a:latin typeface="Ericsson Hilda"/>
              </a:rPr>
              <a:t>LCD-Display</a:t>
            </a:r>
            <a:endParaRPr lang="sv-SE" sz="1100" b="1" strike="noStrike" spc="-1" dirty="0">
              <a:solidFill>
                <a:srgbClr val="181818"/>
              </a:solidFill>
              <a:uFill>
                <a:solidFill>
                  <a:srgbClr val="FFFFFF"/>
                </a:solidFill>
              </a:uFill>
              <a:latin typeface="Ericsson Hilda"/>
            </a:endParaRPr>
          </a:p>
          <a:p>
            <a:endParaRPr lang="sv-SE" sz="1100" b="1" strike="noStrike" spc="-1" dirty="0">
              <a:solidFill>
                <a:srgbClr val="181818"/>
              </a:solidFill>
              <a:uFill>
                <a:solidFill>
                  <a:srgbClr val="FFFFFF"/>
                </a:solidFill>
              </a:uFill>
              <a:latin typeface="Ericsson Hilda"/>
            </a:endParaRPr>
          </a:p>
          <a:p>
            <a:r>
              <a:rPr lang="sv-SE" sz="1100" b="1" strike="noStrike" spc="-1" dirty="0">
                <a:solidFill>
                  <a:srgbClr val="181818"/>
                </a:solidFill>
                <a:uFill>
                  <a:solidFill>
                    <a:srgbClr val="FFFFFF"/>
                  </a:solidFill>
                </a:uFill>
                <a:latin typeface="Ericsson Hilda"/>
              </a:rPr>
              <a:t>Vad händer: </a:t>
            </a:r>
            <a:endParaRPr lang="sv-SE" sz="1100" b="0" strike="noStrike" spc="-1" dirty="0">
              <a:solidFill>
                <a:srgbClr val="000000"/>
              </a:solidFill>
              <a:uFill>
                <a:solidFill>
                  <a:srgbClr val="FFFFFF"/>
                </a:solidFill>
              </a:uFill>
              <a:latin typeface="Arial"/>
            </a:endParaRPr>
          </a:p>
          <a:p>
            <a:pPr>
              <a:lnSpc>
                <a:spcPct val="100000"/>
              </a:lnSpc>
            </a:pPr>
            <a:r>
              <a:rPr lang="sv-SE" sz="1100" spc="-1" dirty="0">
                <a:solidFill>
                  <a:srgbClr val="181818"/>
                </a:solidFill>
                <a:uFill>
                  <a:solidFill>
                    <a:srgbClr val="FFFFFF"/>
                  </a:solidFill>
                </a:uFill>
                <a:latin typeface="Ericsson Hilda"/>
              </a:rPr>
              <a:t>Ge återkoppling om att spelomgång är påbörjad.</a:t>
            </a:r>
            <a:endParaRPr lang="sv-SE" sz="1100" b="0" strike="noStrike" spc="-1" dirty="0">
              <a:solidFill>
                <a:srgbClr val="000000"/>
              </a:solidFill>
              <a:uFill>
                <a:solidFill>
                  <a:srgbClr val="FFFFFF"/>
                </a:solidFill>
              </a:uFill>
              <a:latin typeface="Arial"/>
            </a:endParaRPr>
          </a:p>
        </p:txBody>
      </p:sp>
      <p:sp>
        <p:nvSpPr>
          <p:cNvPr id="103" name="CustomShape 5">
            <a:extLst>
              <a:ext uri="{FF2B5EF4-FFF2-40B4-BE49-F238E27FC236}">
                <a16:creationId xmlns:a16="http://schemas.microsoft.com/office/drawing/2014/main" id="{FD07050B-D750-EEFE-D543-E9B3F7C0D0F8}"/>
              </a:ext>
            </a:extLst>
          </p:cNvPr>
          <p:cNvSpPr/>
          <p:nvPr/>
        </p:nvSpPr>
        <p:spPr>
          <a:xfrm>
            <a:off x="3502760" y="2739107"/>
            <a:ext cx="1827720" cy="1185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5</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sjusegment</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Poängräknare, visar poäng användare samlat.</a:t>
            </a:r>
            <a:endParaRPr lang="sv-SE" sz="1100" b="0" strike="noStrike" spc="-1" dirty="0">
              <a:solidFill>
                <a:srgbClr val="000000"/>
              </a:solidFill>
              <a:uFill>
                <a:solidFill>
                  <a:srgbClr val="FFFFFF"/>
                </a:solidFill>
              </a:uFill>
              <a:latin typeface="Arial"/>
            </a:endParaRPr>
          </a:p>
        </p:txBody>
      </p:sp>
      <p:sp>
        <p:nvSpPr>
          <p:cNvPr id="104" name="CustomShape 5">
            <a:extLst>
              <a:ext uri="{FF2B5EF4-FFF2-40B4-BE49-F238E27FC236}">
                <a16:creationId xmlns:a16="http://schemas.microsoft.com/office/drawing/2014/main" id="{99C502BD-83D6-E38C-6D32-8AD52CBC4098}"/>
              </a:ext>
            </a:extLst>
          </p:cNvPr>
          <p:cNvSpPr/>
          <p:nvPr/>
        </p:nvSpPr>
        <p:spPr>
          <a:xfrm>
            <a:off x="3502760" y="4093705"/>
            <a:ext cx="1827720" cy="1185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6</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DAmatrix</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karaktär och hinder visas</a:t>
            </a:r>
            <a:endParaRPr lang="sv-SE" sz="1100" b="0" strike="noStrike" spc="-1" dirty="0">
              <a:solidFill>
                <a:srgbClr val="000000"/>
              </a:solidFill>
              <a:uFill>
                <a:solidFill>
                  <a:srgbClr val="FFFFFF"/>
                </a:solidFill>
              </a:uFill>
              <a:latin typeface="Arial"/>
            </a:endParaRPr>
          </a:p>
        </p:txBody>
      </p:sp>
      <p:sp>
        <p:nvSpPr>
          <p:cNvPr id="31" name="CustomShape 5">
            <a:extLst>
              <a:ext uri="{FF2B5EF4-FFF2-40B4-BE49-F238E27FC236}">
                <a16:creationId xmlns:a16="http://schemas.microsoft.com/office/drawing/2014/main" id="{41042008-0640-9337-5AF6-23791FB98BEC}"/>
              </a:ext>
            </a:extLst>
          </p:cNvPr>
          <p:cNvSpPr/>
          <p:nvPr/>
        </p:nvSpPr>
        <p:spPr>
          <a:xfrm>
            <a:off x="3478665" y="5448303"/>
            <a:ext cx="1827720" cy="1185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7</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Knappar</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are ges möjlighet att undvika hinder</a:t>
            </a:r>
            <a:endParaRPr lang="sv-SE" sz="1100" b="0" strike="noStrike" spc="-1" dirty="0">
              <a:solidFill>
                <a:srgbClr val="000000"/>
              </a:solidFill>
              <a:uFill>
                <a:solidFill>
                  <a:srgbClr val="FFFFFF"/>
                </a:solidFill>
              </a:uFill>
              <a:latin typeface="Arial"/>
            </a:endParaRPr>
          </a:p>
        </p:txBody>
      </p:sp>
      <p:pic>
        <p:nvPicPr>
          <p:cNvPr id="49" name="Picture 48">
            <a:extLst>
              <a:ext uri="{FF2B5EF4-FFF2-40B4-BE49-F238E27FC236}">
                <a16:creationId xmlns:a16="http://schemas.microsoft.com/office/drawing/2014/main" id="{AAAA94F3-4E1A-EF8E-36F3-4EC4063EC7C1}"/>
              </a:ext>
            </a:extLst>
          </p:cNvPr>
          <p:cNvPicPr>
            <a:picLocks noChangeAspect="1"/>
          </p:cNvPicPr>
          <p:nvPr/>
        </p:nvPicPr>
        <p:blipFill rotWithShape="1">
          <a:blip r:embed="rId3"/>
          <a:srcRect r="66482"/>
          <a:stretch/>
        </p:blipFill>
        <p:spPr>
          <a:xfrm>
            <a:off x="341974" y="1573880"/>
            <a:ext cx="2584986" cy="2309710"/>
          </a:xfrm>
          <a:prstGeom prst="rect">
            <a:avLst/>
          </a:prstGeom>
        </p:spPr>
      </p:pic>
      <p:pic>
        <p:nvPicPr>
          <p:cNvPr id="69" name="Picture 68">
            <a:extLst>
              <a:ext uri="{FF2B5EF4-FFF2-40B4-BE49-F238E27FC236}">
                <a16:creationId xmlns:a16="http://schemas.microsoft.com/office/drawing/2014/main" id="{892D91D6-A30B-1CC0-E3DA-756E86750F02}"/>
              </a:ext>
            </a:extLst>
          </p:cNvPr>
          <p:cNvPicPr>
            <a:picLocks noChangeAspect="1"/>
          </p:cNvPicPr>
          <p:nvPr/>
        </p:nvPicPr>
        <p:blipFill rotWithShape="1">
          <a:blip r:embed="rId4"/>
          <a:srcRect r="66344"/>
          <a:stretch/>
        </p:blipFill>
        <p:spPr>
          <a:xfrm>
            <a:off x="5824861" y="1602434"/>
            <a:ext cx="2563525" cy="2281156"/>
          </a:xfrm>
          <a:prstGeom prst="rect">
            <a:avLst/>
          </a:prstGeom>
        </p:spPr>
      </p:pic>
      <p:sp>
        <p:nvSpPr>
          <p:cNvPr id="70" name="Rectangle 69">
            <a:extLst>
              <a:ext uri="{FF2B5EF4-FFF2-40B4-BE49-F238E27FC236}">
                <a16:creationId xmlns:a16="http://schemas.microsoft.com/office/drawing/2014/main" id="{51251EFD-AF96-7CD8-D7E8-A22280D558D5}"/>
              </a:ext>
            </a:extLst>
          </p:cNvPr>
          <p:cNvSpPr/>
          <p:nvPr/>
        </p:nvSpPr>
        <p:spPr>
          <a:xfrm>
            <a:off x="5824861" y="4252706"/>
            <a:ext cx="2563525" cy="19930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71" name="Rectangle 70">
            <a:extLst>
              <a:ext uri="{FF2B5EF4-FFF2-40B4-BE49-F238E27FC236}">
                <a16:creationId xmlns:a16="http://schemas.microsoft.com/office/drawing/2014/main" id="{FF77A5EA-2C4C-E960-89EA-8B23BA493495}"/>
              </a:ext>
            </a:extLst>
          </p:cNvPr>
          <p:cNvSpPr/>
          <p:nvPr/>
        </p:nvSpPr>
        <p:spPr>
          <a:xfrm>
            <a:off x="6108357" y="4903373"/>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400" dirty="0"/>
          </a:p>
        </p:txBody>
      </p:sp>
      <p:sp>
        <p:nvSpPr>
          <p:cNvPr id="72" name="Rectangle 71">
            <a:extLst>
              <a:ext uri="{FF2B5EF4-FFF2-40B4-BE49-F238E27FC236}">
                <a16:creationId xmlns:a16="http://schemas.microsoft.com/office/drawing/2014/main" id="{DB29A451-40DF-4844-16C2-987507262F84}"/>
              </a:ext>
            </a:extLst>
          </p:cNvPr>
          <p:cNvSpPr/>
          <p:nvPr/>
        </p:nvSpPr>
        <p:spPr>
          <a:xfrm>
            <a:off x="6108357"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0</a:t>
            </a:r>
            <a:endParaRPr lang="en-SE" dirty="0">
              <a:solidFill>
                <a:schemeClr val="accent6"/>
              </a:solidFill>
            </a:endParaRPr>
          </a:p>
        </p:txBody>
      </p:sp>
      <p:sp>
        <p:nvSpPr>
          <p:cNvPr id="73" name="Rectangle 72">
            <a:extLst>
              <a:ext uri="{FF2B5EF4-FFF2-40B4-BE49-F238E27FC236}">
                <a16:creationId xmlns:a16="http://schemas.microsoft.com/office/drawing/2014/main" id="{8A766B63-BB09-FB20-9315-0E2AA25BD2EB}"/>
              </a:ext>
            </a:extLst>
          </p:cNvPr>
          <p:cNvSpPr/>
          <p:nvPr/>
        </p:nvSpPr>
        <p:spPr>
          <a:xfrm>
            <a:off x="7700937"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1</a:t>
            </a:r>
            <a:endParaRPr lang="en-SE" dirty="0">
              <a:solidFill>
                <a:schemeClr val="accent6"/>
              </a:solidFill>
            </a:endParaRPr>
          </a:p>
        </p:txBody>
      </p:sp>
      <p:grpSp>
        <p:nvGrpSpPr>
          <p:cNvPr id="74" name="Group 73">
            <a:extLst>
              <a:ext uri="{FF2B5EF4-FFF2-40B4-BE49-F238E27FC236}">
                <a16:creationId xmlns:a16="http://schemas.microsoft.com/office/drawing/2014/main" id="{1F38AA95-4170-3D39-5028-D75AB3D4AD74}"/>
              </a:ext>
            </a:extLst>
          </p:cNvPr>
          <p:cNvGrpSpPr/>
          <p:nvPr/>
        </p:nvGrpSpPr>
        <p:grpSpPr>
          <a:xfrm>
            <a:off x="6651282" y="5753290"/>
            <a:ext cx="849630" cy="411480"/>
            <a:chOff x="4855755" y="5897034"/>
            <a:chExt cx="849630" cy="411480"/>
          </a:xfrm>
        </p:grpSpPr>
        <p:sp>
          <p:nvSpPr>
            <p:cNvPr id="75" name="Rectangle 74">
              <a:extLst>
                <a:ext uri="{FF2B5EF4-FFF2-40B4-BE49-F238E27FC236}">
                  <a16:creationId xmlns:a16="http://schemas.microsoft.com/office/drawing/2014/main" id="{BC225BD8-5303-9174-C7ED-5A4AC5E970D0}"/>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76" name="Rectangle 75">
              <a:extLst>
                <a:ext uri="{FF2B5EF4-FFF2-40B4-BE49-F238E27FC236}">
                  <a16:creationId xmlns:a16="http://schemas.microsoft.com/office/drawing/2014/main" id="{0C0C544D-0CBC-8407-D23D-CAC1FF65B2C8}"/>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dirty="0"/>
            </a:p>
          </p:txBody>
        </p:sp>
      </p:grpSp>
      <p:sp>
        <p:nvSpPr>
          <p:cNvPr id="77" name="Oval 76">
            <a:extLst>
              <a:ext uri="{FF2B5EF4-FFF2-40B4-BE49-F238E27FC236}">
                <a16:creationId xmlns:a16="http://schemas.microsoft.com/office/drawing/2014/main" id="{9C357E8D-1F03-D4AC-D9BE-28EC48D52D34}"/>
              </a:ext>
            </a:extLst>
          </p:cNvPr>
          <p:cNvSpPr/>
          <p:nvPr/>
        </p:nvSpPr>
        <p:spPr>
          <a:xfrm>
            <a:off x="6235126" y="4422227"/>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78" name="Straight Connector 77">
            <a:extLst>
              <a:ext uri="{FF2B5EF4-FFF2-40B4-BE49-F238E27FC236}">
                <a16:creationId xmlns:a16="http://schemas.microsoft.com/office/drawing/2014/main" id="{F48E6819-5025-C99B-E667-F763B94F8CFB}"/>
              </a:ext>
            </a:extLst>
          </p:cNvPr>
          <p:cNvCxnSpPr/>
          <p:nvPr/>
        </p:nvCxnSpPr>
        <p:spPr>
          <a:xfrm flipH="1">
            <a:off x="5875601" y="4598477"/>
            <a:ext cx="2327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4B0E9851-450B-1654-9563-EC06EB2156B8}"/>
              </a:ext>
            </a:extLst>
          </p:cNvPr>
          <p:cNvCxnSpPr/>
          <p:nvPr/>
        </p:nvCxnSpPr>
        <p:spPr>
          <a:xfrm flipH="1">
            <a:off x="5991979" y="465692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48E3E33-F8D8-BAE7-4022-1E1DA0F64EC6}"/>
              </a:ext>
            </a:extLst>
          </p:cNvPr>
          <p:cNvCxnSpPr/>
          <p:nvPr/>
        </p:nvCxnSpPr>
        <p:spPr>
          <a:xfrm flipH="1" flipV="1">
            <a:off x="5991979" y="438213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CustomShape 5">
            <a:extLst>
              <a:ext uri="{FF2B5EF4-FFF2-40B4-BE49-F238E27FC236}">
                <a16:creationId xmlns:a16="http://schemas.microsoft.com/office/drawing/2014/main" id="{6B79C36E-6447-5D29-3B5D-EB5CD9A1A332}"/>
              </a:ext>
            </a:extLst>
          </p:cNvPr>
          <p:cNvSpPr/>
          <p:nvPr/>
        </p:nvSpPr>
        <p:spPr>
          <a:xfrm>
            <a:off x="8894353" y="1280263"/>
            <a:ext cx="1827720" cy="12756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8</a:t>
            </a:r>
            <a:endParaRPr lang="sv-SE" sz="1800" b="0" strike="noStrike" spc="-1" dirty="0">
              <a:solidFill>
                <a:srgbClr val="000000"/>
              </a:solidFill>
              <a:uFill>
                <a:solidFill>
                  <a:srgbClr val="FFFFFF"/>
                </a:solidFill>
              </a:uFill>
              <a:latin typeface="Arial"/>
            </a:endParaRPr>
          </a:p>
          <a:p>
            <a:pPr>
              <a:lnSpc>
                <a:spcPct val="100000"/>
              </a:lnSpc>
            </a:pPr>
            <a:r>
              <a:rPr lang="sv-SE" sz="1100" b="1" spc="-1" dirty="0">
                <a:solidFill>
                  <a:srgbClr val="181818"/>
                </a:solidFill>
                <a:uFill>
                  <a:solidFill>
                    <a:srgbClr val="FFFFFF"/>
                  </a:solidFill>
                </a:uFill>
                <a:latin typeface="Ericsson Hilda"/>
              </a:rPr>
              <a:t>Komponent</a:t>
            </a:r>
            <a:r>
              <a:rPr lang="sv-SE" sz="1100" b="1" strike="noStrike" spc="-1" dirty="0">
                <a:solidFill>
                  <a:srgbClr val="181818"/>
                </a:solidFill>
                <a:uFill>
                  <a:solidFill>
                    <a:srgbClr val="FFFFFF"/>
                  </a:solidFill>
                </a:uFill>
                <a:latin typeface="Ericsson Hilda"/>
              </a:rPr>
              <a:t>:  </a:t>
            </a:r>
            <a:r>
              <a:rPr lang="sv-SE" sz="1100" strike="noStrike" spc="-1" dirty="0">
                <a:solidFill>
                  <a:srgbClr val="181818"/>
                </a:solidFill>
                <a:uFill>
                  <a:solidFill>
                    <a:srgbClr val="FFFFFF"/>
                  </a:solidFill>
                </a:uFill>
                <a:latin typeface="Ericsson Hilda"/>
              </a:rPr>
              <a:t>LCD-Display</a:t>
            </a:r>
            <a:endParaRPr lang="sv-SE" sz="1100" b="1" strike="noStrike" spc="-1" dirty="0">
              <a:solidFill>
                <a:srgbClr val="181818"/>
              </a:solidFill>
              <a:uFill>
                <a:solidFill>
                  <a:srgbClr val="FFFFFF"/>
                </a:solidFill>
              </a:uFill>
              <a:latin typeface="Ericsson Hilda"/>
            </a:endParaRPr>
          </a:p>
          <a:p>
            <a:endParaRPr lang="sv-SE" sz="1100" b="1" strike="noStrike" spc="-1" dirty="0">
              <a:solidFill>
                <a:srgbClr val="181818"/>
              </a:solidFill>
              <a:uFill>
                <a:solidFill>
                  <a:srgbClr val="FFFFFF"/>
                </a:solidFill>
              </a:uFill>
              <a:latin typeface="Ericsson Hilda"/>
            </a:endParaRPr>
          </a:p>
          <a:p>
            <a:r>
              <a:rPr lang="sv-SE" sz="1100" b="1" strike="noStrike" spc="-1" dirty="0">
                <a:solidFill>
                  <a:srgbClr val="181818"/>
                </a:solidFill>
                <a:uFill>
                  <a:solidFill>
                    <a:srgbClr val="FFFFFF"/>
                  </a:solidFill>
                </a:uFill>
                <a:latin typeface="Ericsson Hilda"/>
              </a:rPr>
              <a:t>Vad händer: </a:t>
            </a:r>
            <a:endParaRPr lang="sv-SE" sz="1100" b="0" strike="noStrike" spc="-1" dirty="0">
              <a:solidFill>
                <a:srgbClr val="000000"/>
              </a:solidFill>
              <a:uFill>
                <a:solidFill>
                  <a:srgbClr val="FFFFFF"/>
                </a:solidFill>
              </a:uFill>
              <a:latin typeface="Arial"/>
            </a:endParaRPr>
          </a:p>
          <a:p>
            <a:pPr>
              <a:lnSpc>
                <a:spcPct val="100000"/>
              </a:lnSpc>
            </a:pPr>
            <a:r>
              <a:rPr lang="sv-SE" sz="1100" spc="-1" dirty="0">
                <a:solidFill>
                  <a:srgbClr val="181818"/>
                </a:solidFill>
                <a:uFill>
                  <a:solidFill>
                    <a:srgbClr val="FFFFFF"/>
                  </a:solidFill>
                </a:uFill>
                <a:latin typeface="Ericsson Hilda"/>
              </a:rPr>
              <a:t>Ge återkoppling om att spelomgång är påbörjad.</a:t>
            </a:r>
            <a:endParaRPr lang="sv-SE" sz="1100" b="0" strike="noStrike" spc="-1" dirty="0">
              <a:solidFill>
                <a:srgbClr val="000000"/>
              </a:solidFill>
              <a:uFill>
                <a:solidFill>
                  <a:srgbClr val="FFFFFF"/>
                </a:solidFill>
              </a:uFill>
              <a:latin typeface="Arial"/>
            </a:endParaRPr>
          </a:p>
        </p:txBody>
      </p:sp>
      <p:sp>
        <p:nvSpPr>
          <p:cNvPr id="34" name="CustomShape 5">
            <a:extLst>
              <a:ext uri="{FF2B5EF4-FFF2-40B4-BE49-F238E27FC236}">
                <a16:creationId xmlns:a16="http://schemas.microsoft.com/office/drawing/2014/main" id="{7ECFFC73-B0AB-1211-478D-7E0A2B6F59C3}"/>
              </a:ext>
            </a:extLst>
          </p:cNvPr>
          <p:cNvSpPr/>
          <p:nvPr/>
        </p:nvSpPr>
        <p:spPr>
          <a:xfrm>
            <a:off x="8894353" y="2739107"/>
            <a:ext cx="1827720" cy="1185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9</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sjusegment</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Poängräknare, visar poäng användare samlat.</a:t>
            </a:r>
            <a:endParaRPr lang="sv-SE" sz="1100" b="0" strike="noStrike" spc="-1" dirty="0">
              <a:solidFill>
                <a:srgbClr val="000000"/>
              </a:solidFill>
              <a:uFill>
                <a:solidFill>
                  <a:srgbClr val="FFFFFF"/>
                </a:solidFill>
              </a:uFill>
              <a:latin typeface="Arial"/>
            </a:endParaRPr>
          </a:p>
        </p:txBody>
      </p:sp>
      <p:sp>
        <p:nvSpPr>
          <p:cNvPr id="35" name="CustomShape 5">
            <a:extLst>
              <a:ext uri="{FF2B5EF4-FFF2-40B4-BE49-F238E27FC236}">
                <a16:creationId xmlns:a16="http://schemas.microsoft.com/office/drawing/2014/main" id="{DAA8A518-459E-3910-00C7-3EAC3E49F80E}"/>
              </a:ext>
            </a:extLst>
          </p:cNvPr>
          <p:cNvSpPr/>
          <p:nvPr/>
        </p:nvSpPr>
        <p:spPr>
          <a:xfrm>
            <a:off x="8894353" y="4093705"/>
            <a:ext cx="1827720" cy="1185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6</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DAmatrix</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karaktär och hinder visas</a:t>
            </a:r>
            <a:endParaRPr lang="sv-SE" sz="1100" b="0" strike="noStrike" spc="-1" dirty="0">
              <a:solidFill>
                <a:srgbClr val="000000"/>
              </a:solidFill>
              <a:uFill>
                <a:solidFill>
                  <a:srgbClr val="FFFFFF"/>
                </a:solidFill>
              </a:uFill>
              <a:latin typeface="Arial"/>
            </a:endParaRPr>
          </a:p>
        </p:txBody>
      </p:sp>
      <p:sp>
        <p:nvSpPr>
          <p:cNvPr id="36" name="CustomShape 5">
            <a:extLst>
              <a:ext uri="{FF2B5EF4-FFF2-40B4-BE49-F238E27FC236}">
                <a16:creationId xmlns:a16="http://schemas.microsoft.com/office/drawing/2014/main" id="{C0C42EF6-AA96-881C-D8CF-AB31B74E2425}"/>
              </a:ext>
            </a:extLst>
          </p:cNvPr>
          <p:cNvSpPr/>
          <p:nvPr/>
        </p:nvSpPr>
        <p:spPr>
          <a:xfrm>
            <a:off x="8870258" y="5448303"/>
            <a:ext cx="1827720" cy="1185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7</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Knappar</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are ges möjlighet att undvika hinder</a:t>
            </a:r>
            <a:endParaRPr lang="sv-SE" sz="1100" b="0" strike="noStrike" spc="-1" dirty="0">
              <a:solidFill>
                <a:srgbClr val="000000"/>
              </a:solidFill>
              <a:uFill>
                <a:solidFill>
                  <a:srgbClr val="FFFFFF"/>
                </a:solidFill>
              </a:uFill>
              <a:latin typeface="Arial"/>
            </a:endParaRPr>
          </a:p>
        </p:txBody>
      </p:sp>
      <p:pic>
        <p:nvPicPr>
          <p:cNvPr id="37" name="Picture Placeholder 49">
            <a:extLst>
              <a:ext uri="{FF2B5EF4-FFF2-40B4-BE49-F238E27FC236}">
                <a16:creationId xmlns:a16="http://schemas.microsoft.com/office/drawing/2014/main" id="{F4A2C637-1193-2EB4-F432-E1AAFF1C173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110" b="110"/>
          <a:stretch>
            <a:fillRect/>
          </a:stretch>
        </p:blipFill>
        <p:spPr>
          <a:xfrm>
            <a:off x="6642012" y="5801362"/>
            <a:ext cx="342901" cy="342901"/>
          </a:xfrm>
          <a:prstGeom prst="rect">
            <a:avLst/>
          </a:prstGeom>
        </p:spPr>
      </p:pic>
      <p:pic>
        <p:nvPicPr>
          <p:cNvPr id="38" name="Picture Placeholder 49">
            <a:extLst>
              <a:ext uri="{FF2B5EF4-FFF2-40B4-BE49-F238E27FC236}">
                <a16:creationId xmlns:a16="http://schemas.microsoft.com/office/drawing/2014/main" id="{1A3ACE0C-5CFD-3B09-F1B9-ED044645D30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110" b="110"/>
          <a:stretch>
            <a:fillRect/>
          </a:stretch>
        </p:blipFill>
        <p:spPr>
          <a:xfrm>
            <a:off x="1201207" y="5801362"/>
            <a:ext cx="342901" cy="342901"/>
          </a:xfrm>
          <a:prstGeom prst="rect">
            <a:avLst/>
          </a:prstGeom>
        </p:spPr>
      </p:pic>
    </p:spTree>
    <p:extLst>
      <p:ext uri="{BB962C8B-B14F-4D97-AF65-F5344CB8AC3E}">
        <p14:creationId xmlns:p14="http://schemas.microsoft.com/office/powerpoint/2010/main" val="3393786525"/>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9" name="CustomShape 196"/>
          <p:cNvSpPr/>
          <p:nvPr/>
        </p:nvSpPr>
        <p:spPr>
          <a:xfrm>
            <a:off x="495720" y="328680"/>
            <a:ext cx="3186720" cy="534240"/>
          </a:xfrm>
          <a:prstGeom prst="rect">
            <a:avLst/>
          </a:prstGeom>
          <a:noFill/>
          <a:ln w="12600">
            <a:noFill/>
          </a:ln>
        </p:spPr>
        <p:style>
          <a:lnRef idx="0">
            <a:scrgbClr r="0" g="0" b="0"/>
          </a:lnRef>
          <a:fillRef idx="0">
            <a:scrgbClr r="0" g="0" b="0"/>
          </a:fillRef>
          <a:effectRef idx="0">
            <a:scrgbClr r="0" g="0" b="0"/>
          </a:effectRef>
          <a:fontRef idx="minor"/>
        </p:style>
        <p:txBody>
          <a:bodyPr lIns="72000" tIns="36000" rIns="73080" bIns="36720"/>
          <a:lstStyle/>
          <a:p>
            <a:pPr>
              <a:lnSpc>
                <a:spcPct val="100000"/>
              </a:lnSpc>
            </a:pPr>
            <a:r>
              <a:rPr lang="sv-SE" sz="4000" b="0" strike="noStrike" spc="-1">
                <a:solidFill>
                  <a:srgbClr val="181818"/>
                </a:solidFill>
                <a:uFill>
                  <a:solidFill>
                    <a:srgbClr val="FFFFFF"/>
                  </a:solidFill>
                </a:uFill>
                <a:latin typeface="Ericsson Hilda"/>
              </a:rPr>
              <a:t>Spelmekanik</a:t>
            </a:r>
            <a:endParaRPr lang="sv-SE" sz="4000" b="0" strike="noStrike" spc="-1">
              <a:solidFill>
                <a:srgbClr val="000000"/>
              </a:solidFill>
              <a:uFill>
                <a:solidFill>
                  <a:srgbClr val="FFFFFF"/>
                </a:solidFill>
              </a:uFill>
              <a:latin typeface="Arial"/>
            </a:endParaRPr>
          </a:p>
        </p:txBody>
      </p:sp>
      <p:sp>
        <p:nvSpPr>
          <p:cNvPr id="1110" name="Rectangle 1109">
            <a:extLst>
              <a:ext uri="{FF2B5EF4-FFF2-40B4-BE49-F238E27FC236}">
                <a16:creationId xmlns:a16="http://schemas.microsoft.com/office/drawing/2014/main" id="{74D20775-402D-4802-A3BA-22E3763FD413}"/>
              </a:ext>
            </a:extLst>
          </p:cNvPr>
          <p:cNvSpPr/>
          <p:nvPr/>
        </p:nvSpPr>
        <p:spPr>
          <a:xfrm>
            <a:off x="11277600" y="309217"/>
            <a:ext cx="649357" cy="506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3" name="Rectangle 42">
            <a:extLst>
              <a:ext uri="{FF2B5EF4-FFF2-40B4-BE49-F238E27FC236}">
                <a16:creationId xmlns:a16="http://schemas.microsoft.com/office/drawing/2014/main" id="{916C7F7D-11E3-E8C4-77B2-1F94AAF35F20}"/>
              </a:ext>
            </a:extLst>
          </p:cNvPr>
          <p:cNvSpPr/>
          <p:nvPr/>
        </p:nvSpPr>
        <p:spPr>
          <a:xfrm>
            <a:off x="245768" y="4252706"/>
            <a:ext cx="2563525" cy="19930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4" name="Rectangle 43">
            <a:extLst>
              <a:ext uri="{FF2B5EF4-FFF2-40B4-BE49-F238E27FC236}">
                <a16:creationId xmlns:a16="http://schemas.microsoft.com/office/drawing/2014/main" id="{B9D829D3-3B40-61D4-1E28-63B45EB2B56F}"/>
              </a:ext>
            </a:extLst>
          </p:cNvPr>
          <p:cNvSpPr/>
          <p:nvPr/>
        </p:nvSpPr>
        <p:spPr>
          <a:xfrm>
            <a:off x="529264" y="4903373"/>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400" dirty="0"/>
          </a:p>
        </p:txBody>
      </p:sp>
      <p:sp>
        <p:nvSpPr>
          <p:cNvPr id="45" name="Rectangle 44">
            <a:extLst>
              <a:ext uri="{FF2B5EF4-FFF2-40B4-BE49-F238E27FC236}">
                <a16:creationId xmlns:a16="http://schemas.microsoft.com/office/drawing/2014/main" id="{6DF2406D-1598-56C6-E1F7-57A97BACB1C5}"/>
              </a:ext>
            </a:extLst>
          </p:cNvPr>
          <p:cNvSpPr/>
          <p:nvPr/>
        </p:nvSpPr>
        <p:spPr>
          <a:xfrm>
            <a:off x="529264"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0</a:t>
            </a:r>
            <a:endParaRPr lang="en-SE" dirty="0">
              <a:solidFill>
                <a:schemeClr val="accent6"/>
              </a:solidFill>
            </a:endParaRPr>
          </a:p>
        </p:txBody>
      </p:sp>
      <p:sp>
        <p:nvSpPr>
          <p:cNvPr id="46" name="Rectangle 45">
            <a:extLst>
              <a:ext uri="{FF2B5EF4-FFF2-40B4-BE49-F238E27FC236}">
                <a16:creationId xmlns:a16="http://schemas.microsoft.com/office/drawing/2014/main" id="{612B9B92-2EA4-7EE4-1493-59861F2D92A8}"/>
              </a:ext>
            </a:extLst>
          </p:cNvPr>
          <p:cNvSpPr/>
          <p:nvPr/>
        </p:nvSpPr>
        <p:spPr>
          <a:xfrm>
            <a:off x="2121844"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6"/>
                </a:solidFill>
              </a:rPr>
              <a:t>0</a:t>
            </a:r>
            <a:endParaRPr lang="en-SE">
              <a:solidFill>
                <a:schemeClr val="accent6"/>
              </a:solidFill>
            </a:endParaRPr>
          </a:p>
        </p:txBody>
      </p:sp>
      <p:grpSp>
        <p:nvGrpSpPr>
          <p:cNvPr id="48" name="Group 47">
            <a:extLst>
              <a:ext uri="{FF2B5EF4-FFF2-40B4-BE49-F238E27FC236}">
                <a16:creationId xmlns:a16="http://schemas.microsoft.com/office/drawing/2014/main" id="{6E927A4B-6A7F-EBB9-4B2D-EDECE1FDD249}"/>
              </a:ext>
            </a:extLst>
          </p:cNvPr>
          <p:cNvGrpSpPr/>
          <p:nvPr/>
        </p:nvGrpSpPr>
        <p:grpSpPr>
          <a:xfrm>
            <a:off x="1072189" y="5753290"/>
            <a:ext cx="849630" cy="411480"/>
            <a:chOff x="4855755" y="5897034"/>
            <a:chExt cx="849630" cy="411480"/>
          </a:xfrm>
        </p:grpSpPr>
        <p:sp>
          <p:nvSpPr>
            <p:cNvPr id="52" name="Rectangle 51">
              <a:extLst>
                <a:ext uri="{FF2B5EF4-FFF2-40B4-BE49-F238E27FC236}">
                  <a16:creationId xmlns:a16="http://schemas.microsoft.com/office/drawing/2014/main" id="{A8009EBE-C29C-61C0-191D-807EDC3A8012}"/>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53" name="Rectangle 52">
              <a:extLst>
                <a:ext uri="{FF2B5EF4-FFF2-40B4-BE49-F238E27FC236}">
                  <a16:creationId xmlns:a16="http://schemas.microsoft.com/office/drawing/2014/main" id="{1A0D292F-29CD-B00F-4EE0-0078EADE0EFE}"/>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dirty="0"/>
            </a:p>
          </p:txBody>
        </p:sp>
      </p:grpSp>
      <p:sp>
        <p:nvSpPr>
          <p:cNvPr id="54" name="Oval 53">
            <a:extLst>
              <a:ext uri="{FF2B5EF4-FFF2-40B4-BE49-F238E27FC236}">
                <a16:creationId xmlns:a16="http://schemas.microsoft.com/office/drawing/2014/main" id="{26BCC45D-332F-0F2F-C7B8-ED470F350E32}"/>
              </a:ext>
            </a:extLst>
          </p:cNvPr>
          <p:cNvSpPr/>
          <p:nvPr/>
        </p:nvSpPr>
        <p:spPr>
          <a:xfrm>
            <a:off x="656033" y="4422227"/>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55" name="Straight Connector 54">
            <a:extLst>
              <a:ext uri="{FF2B5EF4-FFF2-40B4-BE49-F238E27FC236}">
                <a16:creationId xmlns:a16="http://schemas.microsoft.com/office/drawing/2014/main" id="{A0226E73-6F80-5E22-423B-A3191DA35055}"/>
              </a:ext>
            </a:extLst>
          </p:cNvPr>
          <p:cNvCxnSpPr/>
          <p:nvPr/>
        </p:nvCxnSpPr>
        <p:spPr>
          <a:xfrm flipH="1">
            <a:off x="296508" y="4598477"/>
            <a:ext cx="2327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231AFA-CF3C-A963-25EF-C696E535AC38}"/>
              </a:ext>
            </a:extLst>
          </p:cNvPr>
          <p:cNvCxnSpPr/>
          <p:nvPr/>
        </p:nvCxnSpPr>
        <p:spPr>
          <a:xfrm flipH="1">
            <a:off x="412886" y="465692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4803D7C-5CFF-2043-5A68-D06C8788F880}"/>
              </a:ext>
            </a:extLst>
          </p:cNvPr>
          <p:cNvCxnSpPr/>
          <p:nvPr/>
        </p:nvCxnSpPr>
        <p:spPr>
          <a:xfrm flipH="1" flipV="1">
            <a:off x="412886" y="438213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CustomShape 5">
            <a:extLst>
              <a:ext uri="{FF2B5EF4-FFF2-40B4-BE49-F238E27FC236}">
                <a16:creationId xmlns:a16="http://schemas.microsoft.com/office/drawing/2014/main" id="{C59AE025-3E26-D903-A38B-F260857264C4}"/>
              </a:ext>
            </a:extLst>
          </p:cNvPr>
          <p:cNvSpPr/>
          <p:nvPr/>
        </p:nvSpPr>
        <p:spPr>
          <a:xfrm>
            <a:off x="3181285" y="1796274"/>
            <a:ext cx="1827720" cy="12756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5</a:t>
            </a:r>
            <a:endParaRPr lang="sv-SE" sz="1800" b="0" strike="noStrike" spc="-1" dirty="0">
              <a:solidFill>
                <a:srgbClr val="000000"/>
              </a:solidFill>
              <a:uFill>
                <a:solidFill>
                  <a:srgbClr val="FFFFFF"/>
                </a:solidFill>
              </a:uFill>
              <a:latin typeface="Arial"/>
            </a:endParaRPr>
          </a:p>
          <a:p>
            <a:pPr>
              <a:lnSpc>
                <a:spcPct val="100000"/>
              </a:lnSpc>
            </a:pPr>
            <a:r>
              <a:rPr lang="sv-SE" sz="1100" b="1" spc="-1" dirty="0">
                <a:solidFill>
                  <a:srgbClr val="181818"/>
                </a:solidFill>
                <a:uFill>
                  <a:solidFill>
                    <a:srgbClr val="FFFFFF"/>
                  </a:solidFill>
                </a:uFill>
                <a:latin typeface="Ericsson Hilda"/>
              </a:rPr>
              <a:t>Komponent</a:t>
            </a:r>
            <a:r>
              <a:rPr lang="sv-SE" sz="1100" b="1" strike="noStrike" spc="-1" dirty="0">
                <a:solidFill>
                  <a:srgbClr val="181818"/>
                </a:solidFill>
                <a:uFill>
                  <a:solidFill>
                    <a:srgbClr val="FFFFFF"/>
                  </a:solidFill>
                </a:uFill>
                <a:latin typeface="Ericsson Hilda"/>
              </a:rPr>
              <a:t>:  </a:t>
            </a:r>
            <a:r>
              <a:rPr lang="sv-SE" sz="1100" strike="noStrike" spc="-1" dirty="0">
                <a:solidFill>
                  <a:srgbClr val="181818"/>
                </a:solidFill>
                <a:uFill>
                  <a:solidFill>
                    <a:srgbClr val="FFFFFF"/>
                  </a:solidFill>
                </a:uFill>
                <a:latin typeface="Ericsson Hilda"/>
              </a:rPr>
              <a:t>LCD-Display</a:t>
            </a:r>
            <a:endParaRPr lang="sv-SE" sz="1100" b="1" strike="noStrike" spc="-1" dirty="0">
              <a:solidFill>
                <a:srgbClr val="181818"/>
              </a:solidFill>
              <a:uFill>
                <a:solidFill>
                  <a:srgbClr val="FFFFFF"/>
                </a:solidFill>
              </a:uFill>
              <a:latin typeface="Ericsson Hilda"/>
            </a:endParaRPr>
          </a:p>
          <a:p>
            <a:endParaRPr lang="sv-SE" sz="1100" b="1" strike="noStrike" spc="-1" dirty="0">
              <a:solidFill>
                <a:srgbClr val="181818"/>
              </a:solidFill>
              <a:uFill>
                <a:solidFill>
                  <a:srgbClr val="FFFFFF"/>
                </a:solidFill>
              </a:uFill>
              <a:latin typeface="Ericsson Hilda"/>
            </a:endParaRPr>
          </a:p>
          <a:p>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a upp ljud vid start och slut.</a:t>
            </a:r>
            <a:endParaRPr lang="sv-SE" sz="1100" b="0" strike="noStrike" spc="-1" dirty="0">
              <a:solidFill>
                <a:srgbClr val="000000"/>
              </a:solidFill>
              <a:uFill>
                <a:solidFill>
                  <a:srgbClr val="FFFFFF"/>
                </a:solidFill>
              </a:uFill>
              <a:latin typeface="Arial"/>
            </a:endParaRPr>
          </a:p>
        </p:txBody>
      </p:sp>
      <p:sp>
        <p:nvSpPr>
          <p:cNvPr id="103" name="CustomShape 5">
            <a:extLst>
              <a:ext uri="{FF2B5EF4-FFF2-40B4-BE49-F238E27FC236}">
                <a16:creationId xmlns:a16="http://schemas.microsoft.com/office/drawing/2014/main" id="{FD07050B-D750-EEFE-D543-E9B3F7C0D0F8}"/>
              </a:ext>
            </a:extLst>
          </p:cNvPr>
          <p:cNvSpPr/>
          <p:nvPr/>
        </p:nvSpPr>
        <p:spPr>
          <a:xfrm>
            <a:off x="3181285" y="3203712"/>
            <a:ext cx="1827720" cy="1185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6</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Tryckknappar</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tarta spel</a:t>
            </a:r>
            <a:endParaRPr lang="sv-SE" sz="1100" b="0" strike="noStrike" spc="-1" dirty="0">
              <a:solidFill>
                <a:srgbClr val="000000"/>
              </a:solidFill>
              <a:uFill>
                <a:solidFill>
                  <a:srgbClr val="FFFFFF"/>
                </a:solidFill>
              </a:uFill>
              <a:latin typeface="Arial"/>
            </a:endParaRPr>
          </a:p>
        </p:txBody>
      </p:sp>
      <p:pic>
        <p:nvPicPr>
          <p:cNvPr id="26" name="Picture 25">
            <a:extLst>
              <a:ext uri="{FF2B5EF4-FFF2-40B4-BE49-F238E27FC236}">
                <a16:creationId xmlns:a16="http://schemas.microsoft.com/office/drawing/2014/main" id="{F3B77C40-E651-6CB2-C046-A47C8E0E8EEC}"/>
              </a:ext>
            </a:extLst>
          </p:cNvPr>
          <p:cNvPicPr>
            <a:picLocks noChangeAspect="1"/>
          </p:cNvPicPr>
          <p:nvPr/>
        </p:nvPicPr>
        <p:blipFill rotWithShape="1">
          <a:blip r:embed="rId2"/>
          <a:srcRect r="66482"/>
          <a:stretch/>
        </p:blipFill>
        <p:spPr>
          <a:xfrm>
            <a:off x="245768" y="1796274"/>
            <a:ext cx="2584986" cy="2309710"/>
          </a:xfrm>
          <a:prstGeom prst="rect">
            <a:avLst/>
          </a:prstGeom>
        </p:spPr>
      </p:pic>
    </p:spTree>
    <p:extLst>
      <p:ext uri="{BB962C8B-B14F-4D97-AF65-F5344CB8AC3E}">
        <p14:creationId xmlns:p14="http://schemas.microsoft.com/office/powerpoint/2010/main" val="2732866935"/>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9" name="CustomShape 196"/>
          <p:cNvSpPr/>
          <p:nvPr/>
        </p:nvSpPr>
        <p:spPr>
          <a:xfrm>
            <a:off x="495720" y="328680"/>
            <a:ext cx="3186720" cy="534240"/>
          </a:xfrm>
          <a:prstGeom prst="rect">
            <a:avLst/>
          </a:prstGeom>
          <a:noFill/>
          <a:ln w="12600">
            <a:noFill/>
          </a:ln>
        </p:spPr>
        <p:style>
          <a:lnRef idx="0">
            <a:scrgbClr r="0" g="0" b="0"/>
          </a:lnRef>
          <a:fillRef idx="0">
            <a:scrgbClr r="0" g="0" b="0"/>
          </a:fillRef>
          <a:effectRef idx="0">
            <a:scrgbClr r="0" g="0" b="0"/>
          </a:effectRef>
          <a:fontRef idx="minor"/>
        </p:style>
        <p:txBody>
          <a:bodyPr lIns="72000" tIns="36000" rIns="73080" bIns="36720"/>
          <a:lstStyle/>
          <a:p>
            <a:pPr>
              <a:lnSpc>
                <a:spcPct val="100000"/>
              </a:lnSpc>
            </a:pPr>
            <a:r>
              <a:rPr lang="sv-SE" sz="4000" b="0" strike="noStrike" spc="-1" dirty="0">
                <a:solidFill>
                  <a:srgbClr val="181818"/>
                </a:solidFill>
                <a:uFill>
                  <a:solidFill>
                    <a:srgbClr val="FFFFFF"/>
                  </a:solidFill>
                </a:uFill>
                <a:latin typeface="Ericsson Hilda"/>
              </a:rPr>
              <a:t>Översikt</a:t>
            </a:r>
            <a:endParaRPr lang="sv-SE" sz="4000" b="0" strike="noStrike" spc="-1" dirty="0">
              <a:solidFill>
                <a:srgbClr val="000000"/>
              </a:solidFill>
              <a:uFill>
                <a:solidFill>
                  <a:srgbClr val="FFFFFF"/>
                </a:solidFill>
              </a:uFill>
              <a:latin typeface="Arial"/>
            </a:endParaRPr>
          </a:p>
        </p:txBody>
      </p:sp>
      <p:sp>
        <p:nvSpPr>
          <p:cNvPr id="1110" name="Rectangle 1109">
            <a:extLst>
              <a:ext uri="{FF2B5EF4-FFF2-40B4-BE49-F238E27FC236}">
                <a16:creationId xmlns:a16="http://schemas.microsoft.com/office/drawing/2014/main" id="{74D20775-402D-4802-A3BA-22E3763FD413}"/>
              </a:ext>
            </a:extLst>
          </p:cNvPr>
          <p:cNvSpPr/>
          <p:nvPr/>
        </p:nvSpPr>
        <p:spPr>
          <a:xfrm>
            <a:off x="11277600" y="309217"/>
            <a:ext cx="649357" cy="506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3" name="Rectangle 42">
            <a:extLst>
              <a:ext uri="{FF2B5EF4-FFF2-40B4-BE49-F238E27FC236}">
                <a16:creationId xmlns:a16="http://schemas.microsoft.com/office/drawing/2014/main" id="{916C7F7D-11E3-E8C4-77B2-1F94AAF35F20}"/>
              </a:ext>
            </a:extLst>
          </p:cNvPr>
          <p:cNvSpPr/>
          <p:nvPr/>
        </p:nvSpPr>
        <p:spPr>
          <a:xfrm>
            <a:off x="633695" y="4252706"/>
            <a:ext cx="2563525" cy="19930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4" name="Rectangle 43">
            <a:extLst>
              <a:ext uri="{FF2B5EF4-FFF2-40B4-BE49-F238E27FC236}">
                <a16:creationId xmlns:a16="http://schemas.microsoft.com/office/drawing/2014/main" id="{B9D829D3-3B40-61D4-1E28-63B45EB2B56F}"/>
              </a:ext>
            </a:extLst>
          </p:cNvPr>
          <p:cNvSpPr/>
          <p:nvPr/>
        </p:nvSpPr>
        <p:spPr>
          <a:xfrm>
            <a:off x="917191" y="4903373"/>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New Game started</a:t>
            </a:r>
            <a:endParaRPr lang="en-SE" sz="1400" dirty="0"/>
          </a:p>
        </p:txBody>
      </p:sp>
      <p:sp>
        <p:nvSpPr>
          <p:cNvPr id="45" name="Rectangle 44">
            <a:extLst>
              <a:ext uri="{FF2B5EF4-FFF2-40B4-BE49-F238E27FC236}">
                <a16:creationId xmlns:a16="http://schemas.microsoft.com/office/drawing/2014/main" id="{6DF2406D-1598-56C6-E1F7-57A97BACB1C5}"/>
              </a:ext>
            </a:extLst>
          </p:cNvPr>
          <p:cNvSpPr/>
          <p:nvPr/>
        </p:nvSpPr>
        <p:spPr>
          <a:xfrm>
            <a:off x="917191"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0</a:t>
            </a:r>
            <a:endParaRPr lang="en-SE" dirty="0">
              <a:solidFill>
                <a:schemeClr val="accent6"/>
              </a:solidFill>
            </a:endParaRPr>
          </a:p>
        </p:txBody>
      </p:sp>
      <p:sp>
        <p:nvSpPr>
          <p:cNvPr id="46" name="Rectangle 45">
            <a:extLst>
              <a:ext uri="{FF2B5EF4-FFF2-40B4-BE49-F238E27FC236}">
                <a16:creationId xmlns:a16="http://schemas.microsoft.com/office/drawing/2014/main" id="{612B9B92-2EA4-7EE4-1493-59861F2D92A8}"/>
              </a:ext>
            </a:extLst>
          </p:cNvPr>
          <p:cNvSpPr/>
          <p:nvPr/>
        </p:nvSpPr>
        <p:spPr>
          <a:xfrm>
            <a:off x="2509771"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6"/>
                </a:solidFill>
              </a:rPr>
              <a:t>0</a:t>
            </a:r>
            <a:endParaRPr lang="en-SE">
              <a:solidFill>
                <a:schemeClr val="accent6"/>
              </a:solidFill>
            </a:endParaRPr>
          </a:p>
        </p:txBody>
      </p:sp>
      <p:grpSp>
        <p:nvGrpSpPr>
          <p:cNvPr id="48" name="Group 47">
            <a:extLst>
              <a:ext uri="{FF2B5EF4-FFF2-40B4-BE49-F238E27FC236}">
                <a16:creationId xmlns:a16="http://schemas.microsoft.com/office/drawing/2014/main" id="{6E927A4B-6A7F-EBB9-4B2D-EDECE1FDD249}"/>
              </a:ext>
            </a:extLst>
          </p:cNvPr>
          <p:cNvGrpSpPr/>
          <p:nvPr/>
        </p:nvGrpSpPr>
        <p:grpSpPr>
          <a:xfrm>
            <a:off x="1460116" y="5753290"/>
            <a:ext cx="849630" cy="411480"/>
            <a:chOff x="4855755" y="5897034"/>
            <a:chExt cx="849630" cy="411480"/>
          </a:xfrm>
        </p:grpSpPr>
        <p:sp>
          <p:nvSpPr>
            <p:cNvPr id="52" name="Rectangle 51">
              <a:extLst>
                <a:ext uri="{FF2B5EF4-FFF2-40B4-BE49-F238E27FC236}">
                  <a16:creationId xmlns:a16="http://schemas.microsoft.com/office/drawing/2014/main" id="{A8009EBE-C29C-61C0-191D-807EDC3A8012}"/>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53" name="Rectangle 52">
              <a:extLst>
                <a:ext uri="{FF2B5EF4-FFF2-40B4-BE49-F238E27FC236}">
                  <a16:creationId xmlns:a16="http://schemas.microsoft.com/office/drawing/2014/main" id="{1A0D292F-29CD-B00F-4EE0-0078EADE0EFE}"/>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dirty="0"/>
            </a:p>
          </p:txBody>
        </p:sp>
      </p:grpSp>
      <p:sp>
        <p:nvSpPr>
          <p:cNvPr id="54" name="Oval 53">
            <a:extLst>
              <a:ext uri="{FF2B5EF4-FFF2-40B4-BE49-F238E27FC236}">
                <a16:creationId xmlns:a16="http://schemas.microsoft.com/office/drawing/2014/main" id="{26BCC45D-332F-0F2F-C7B8-ED470F350E32}"/>
              </a:ext>
            </a:extLst>
          </p:cNvPr>
          <p:cNvSpPr/>
          <p:nvPr/>
        </p:nvSpPr>
        <p:spPr>
          <a:xfrm>
            <a:off x="1043960" y="4422227"/>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55" name="Straight Connector 54">
            <a:extLst>
              <a:ext uri="{FF2B5EF4-FFF2-40B4-BE49-F238E27FC236}">
                <a16:creationId xmlns:a16="http://schemas.microsoft.com/office/drawing/2014/main" id="{A0226E73-6F80-5E22-423B-A3191DA35055}"/>
              </a:ext>
            </a:extLst>
          </p:cNvPr>
          <p:cNvCxnSpPr/>
          <p:nvPr/>
        </p:nvCxnSpPr>
        <p:spPr>
          <a:xfrm flipH="1">
            <a:off x="684435" y="4598477"/>
            <a:ext cx="2327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231AFA-CF3C-A963-25EF-C696E535AC38}"/>
              </a:ext>
            </a:extLst>
          </p:cNvPr>
          <p:cNvCxnSpPr/>
          <p:nvPr/>
        </p:nvCxnSpPr>
        <p:spPr>
          <a:xfrm flipH="1">
            <a:off x="800813" y="465692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4803D7C-5CFF-2043-5A68-D06C8788F880}"/>
              </a:ext>
            </a:extLst>
          </p:cNvPr>
          <p:cNvCxnSpPr/>
          <p:nvPr/>
        </p:nvCxnSpPr>
        <p:spPr>
          <a:xfrm flipH="1" flipV="1">
            <a:off x="800813" y="438213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CustomShape 5">
            <a:extLst>
              <a:ext uri="{FF2B5EF4-FFF2-40B4-BE49-F238E27FC236}">
                <a16:creationId xmlns:a16="http://schemas.microsoft.com/office/drawing/2014/main" id="{C59AE025-3E26-D903-A38B-F260857264C4}"/>
              </a:ext>
            </a:extLst>
          </p:cNvPr>
          <p:cNvSpPr/>
          <p:nvPr/>
        </p:nvSpPr>
        <p:spPr>
          <a:xfrm>
            <a:off x="3768717" y="1104554"/>
            <a:ext cx="1827720" cy="12756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1</a:t>
            </a:r>
            <a:endParaRPr lang="sv-SE" sz="1800" b="0" strike="noStrike" spc="-1" dirty="0">
              <a:solidFill>
                <a:srgbClr val="000000"/>
              </a:solidFill>
              <a:uFill>
                <a:solidFill>
                  <a:srgbClr val="FFFFFF"/>
                </a:solidFill>
              </a:uFill>
              <a:latin typeface="Arial"/>
            </a:endParaRPr>
          </a:p>
          <a:p>
            <a:pPr>
              <a:lnSpc>
                <a:spcPct val="100000"/>
              </a:lnSpc>
            </a:pPr>
            <a:r>
              <a:rPr lang="sv-SE" sz="1100" b="1" spc="-1" dirty="0">
                <a:solidFill>
                  <a:srgbClr val="181818"/>
                </a:solidFill>
                <a:uFill>
                  <a:solidFill>
                    <a:srgbClr val="FFFFFF"/>
                  </a:solidFill>
                </a:uFill>
                <a:latin typeface="Ericsson Hilda"/>
              </a:rPr>
              <a:t>Komponent</a:t>
            </a:r>
            <a:r>
              <a:rPr lang="sv-SE" sz="1100" b="1" strike="noStrike" spc="-1" dirty="0">
                <a:solidFill>
                  <a:srgbClr val="181818"/>
                </a:solidFill>
                <a:uFill>
                  <a:solidFill>
                    <a:srgbClr val="FFFFFF"/>
                  </a:solidFill>
                </a:uFill>
                <a:latin typeface="Ericsson Hilda"/>
              </a:rPr>
              <a:t>:  </a:t>
            </a:r>
            <a:r>
              <a:rPr lang="sv-SE" sz="1100" strike="noStrike" spc="-1" dirty="0">
                <a:solidFill>
                  <a:srgbClr val="181818"/>
                </a:solidFill>
                <a:uFill>
                  <a:solidFill>
                    <a:srgbClr val="FFFFFF"/>
                  </a:solidFill>
                </a:uFill>
                <a:latin typeface="Ericsson Hilda"/>
              </a:rPr>
              <a:t>LCD-Display</a:t>
            </a:r>
            <a:endParaRPr lang="sv-SE" sz="1100" b="1" strike="noStrike" spc="-1" dirty="0">
              <a:solidFill>
                <a:srgbClr val="181818"/>
              </a:solidFill>
              <a:uFill>
                <a:solidFill>
                  <a:srgbClr val="FFFFFF"/>
                </a:solidFill>
              </a:uFill>
              <a:latin typeface="Ericsson Hilda"/>
            </a:endParaRPr>
          </a:p>
          <a:p>
            <a:endParaRPr lang="sv-SE" sz="1100" b="1" strike="noStrike" spc="-1" dirty="0">
              <a:solidFill>
                <a:srgbClr val="181818"/>
              </a:solidFill>
              <a:uFill>
                <a:solidFill>
                  <a:srgbClr val="FFFFFF"/>
                </a:solidFill>
              </a:uFill>
              <a:latin typeface="Ericsson Hilda"/>
            </a:endParaRPr>
          </a:p>
          <a:p>
            <a:r>
              <a:rPr lang="sv-SE" sz="1100" b="1" strike="noStrike" spc="-1" dirty="0">
                <a:solidFill>
                  <a:srgbClr val="181818"/>
                </a:solidFill>
                <a:uFill>
                  <a:solidFill>
                    <a:srgbClr val="FFFFFF"/>
                  </a:solidFill>
                </a:uFill>
                <a:latin typeface="Ericsson Hilda"/>
              </a:rPr>
              <a:t>Vad händer: </a:t>
            </a:r>
            <a:endParaRPr lang="sv-SE" sz="1100" b="0" strike="noStrike" spc="-1" dirty="0">
              <a:solidFill>
                <a:srgbClr val="000000"/>
              </a:solidFill>
              <a:uFill>
                <a:solidFill>
                  <a:srgbClr val="FFFFFF"/>
                </a:solidFill>
              </a:uFill>
              <a:latin typeface="Arial"/>
            </a:endParaRPr>
          </a:p>
          <a:p>
            <a:pPr>
              <a:lnSpc>
                <a:spcPct val="100000"/>
              </a:lnSpc>
            </a:pPr>
            <a:r>
              <a:rPr lang="sv-SE" sz="1100" spc="-1" dirty="0">
                <a:solidFill>
                  <a:srgbClr val="181818"/>
                </a:solidFill>
                <a:uFill>
                  <a:solidFill>
                    <a:srgbClr val="FFFFFF"/>
                  </a:solidFill>
                </a:uFill>
                <a:latin typeface="Ericsson Hilda"/>
              </a:rPr>
              <a:t>Ge återkoppling om att spelomgång är påbörjad.</a:t>
            </a:r>
            <a:endParaRPr lang="sv-SE" sz="1100" b="0" strike="noStrike" spc="-1" dirty="0">
              <a:solidFill>
                <a:srgbClr val="000000"/>
              </a:solidFill>
              <a:uFill>
                <a:solidFill>
                  <a:srgbClr val="FFFFFF"/>
                </a:solidFill>
              </a:uFill>
              <a:latin typeface="Arial"/>
            </a:endParaRPr>
          </a:p>
        </p:txBody>
      </p:sp>
      <p:sp>
        <p:nvSpPr>
          <p:cNvPr id="103" name="CustomShape 5">
            <a:extLst>
              <a:ext uri="{FF2B5EF4-FFF2-40B4-BE49-F238E27FC236}">
                <a16:creationId xmlns:a16="http://schemas.microsoft.com/office/drawing/2014/main" id="{FD07050B-D750-EEFE-D543-E9B3F7C0D0F8}"/>
              </a:ext>
            </a:extLst>
          </p:cNvPr>
          <p:cNvSpPr/>
          <p:nvPr/>
        </p:nvSpPr>
        <p:spPr>
          <a:xfrm>
            <a:off x="3768717" y="2542940"/>
            <a:ext cx="1827720" cy="1185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2</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sjusegment</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Poängräknare, visar poäng användare samlat.</a:t>
            </a:r>
            <a:endParaRPr lang="sv-SE" sz="1100" b="0" strike="noStrike" spc="-1" dirty="0">
              <a:solidFill>
                <a:srgbClr val="000000"/>
              </a:solidFill>
              <a:uFill>
                <a:solidFill>
                  <a:srgbClr val="FFFFFF"/>
                </a:solidFill>
              </a:uFill>
              <a:latin typeface="Arial"/>
            </a:endParaRPr>
          </a:p>
        </p:txBody>
      </p:sp>
      <p:sp>
        <p:nvSpPr>
          <p:cNvPr id="104" name="CustomShape 5">
            <a:extLst>
              <a:ext uri="{FF2B5EF4-FFF2-40B4-BE49-F238E27FC236}">
                <a16:creationId xmlns:a16="http://schemas.microsoft.com/office/drawing/2014/main" id="{99C502BD-83D6-E38C-6D32-8AD52CBC4098}"/>
              </a:ext>
            </a:extLst>
          </p:cNvPr>
          <p:cNvSpPr/>
          <p:nvPr/>
        </p:nvSpPr>
        <p:spPr>
          <a:xfrm>
            <a:off x="3768717" y="4005938"/>
            <a:ext cx="1827720" cy="1185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3</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DAmatrix</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karaktär och hinder visas</a:t>
            </a:r>
            <a:endParaRPr lang="sv-SE" sz="1100" b="0" strike="noStrike" spc="-1" dirty="0">
              <a:solidFill>
                <a:srgbClr val="000000"/>
              </a:solidFill>
              <a:uFill>
                <a:solidFill>
                  <a:srgbClr val="FFFFFF"/>
                </a:solidFill>
              </a:uFill>
              <a:latin typeface="Arial"/>
            </a:endParaRPr>
          </a:p>
        </p:txBody>
      </p:sp>
      <p:pic>
        <p:nvPicPr>
          <p:cNvPr id="22" name="Picture 21">
            <a:extLst>
              <a:ext uri="{FF2B5EF4-FFF2-40B4-BE49-F238E27FC236}">
                <a16:creationId xmlns:a16="http://schemas.microsoft.com/office/drawing/2014/main" id="{F859D0E1-E91B-F4AC-1D82-25F88A916EA7}"/>
              </a:ext>
            </a:extLst>
          </p:cNvPr>
          <p:cNvPicPr>
            <a:picLocks noChangeAspect="1"/>
          </p:cNvPicPr>
          <p:nvPr/>
        </p:nvPicPr>
        <p:blipFill rotWithShape="1">
          <a:blip r:embed="rId2"/>
          <a:srcRect r="66250"/>
          <a:stretch/>
        </p:blipFill>
        <p:spPr>
          <a:xfrm>
            <a:off x="633694" y="1608785"/>
            <a:ext cx="2563525" cy="2274805"/>
          </a:xfrm>
          <a:prstGeom prst="rect">
            <a:avLst/>
          </a:prstGeom>
        </p:spPr>
      </p:pic>
      <p:sp>
        <p:nvSpPr>
          <p:cNvPr id="31" name="CustomShape 5">
            <a:extLst>
              <a:ext uri="{FF2B5EF4-FFF2-40B4-BE49-F238E27FC236}">
                <a16:creationId xmlns:a16="http://schemas.microsoft.com/office/drawing/2014/main" id="{41042008-0640-9337-5AF6-23791FB98BEC}"/>
              </a:ext>
            </a:extLst>
          </p:cNvPr>
          <p:cNvSpPr/>
          <p:nvPr/>
        </p:nvSpPr>
        <p:spPr>
          <a:xfrm>
            <a:off x="3768717" y="5454314"/>
            <a:ext cx="1827720" cy="1185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4</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Knappar</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are ges möjlighet att undvika hinder</a:t>
            </a:r>
            <a:endParaRPr lang="sv-SE" sz="1100" b="0" strike="noStrike" spc="-1" dirty="0">
              <a:solidFill>
                <a:srgbClr val="000000"/>
              </a:solidFill>
              <a:uFill>
                <a:solidFill>
                  <a:srgbClr val="FFFFFF"/>
                </a:solidFill>
              </a:uFill>
              <a:latin typeface="Arial"/>
            </a:endParaRPr>
          </a:p>
        </p:txBody>
      </p:sp>
    </p:spTree>
    <p:extLst>
      <p:ext uri="{BB962C8B-B14F-4D97-AF65-F5344CB8AC3E}">
        <p14:creationId xmlns:p14="http://schemas.microsoft.com/office/powerpoint/2010/main" val="289433977"/>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9" name="CustomShape 196"/>
          <p:cNvSpPr/>
          <p:nvPr/>
        </p:nvSpPr>
        <p:spPr>
          <a:xfrm>
            <a:off x="495720" y="328680"/>
            <a:ext cx="3186720" cy="534240"/>
          </a:xfrm>
          <a:prstGeom prst="rect">
            <a:avLst/>
          </a:prstGeom>
          <a:noFill/>
          <a:ln w="12600">
            <a:noFill/>
          </a:ln>
        </p:spPr>
        <p:style>
          <a:lnRef idx="0">
            <a:scrgbClr r="0" g="0" b="0"/>
          </a:lnRef>
          <a:fillRef idx="0">
            <a:scrgbClr r="0" g="0" b="0"/>
          </a:fillRef>
          <a:effectRef idx="0">
            <a:scrgbClr r="0" g="0" b="0"/>
          </a:effectRef>
          <a:fontRef idx="minor"/>
        </p:style>
        <p:txBody>
          <a:bodyPr lIns="72000" tIns="36000" rIns="73080" bIns="36720"/>
          <a:lstStyle/>
          <a:p>
            <a:pPr>
              <a:lnSpc>
                <a:spcPct val="100000"/>
              </a:lnSpc>
            </a:pPr>
            <a:r>
              <a:rPr lang="sv-SE" sz="4000" b="0" strike="noStrike" spc="-1">
                <a:solidFill>
                  <a:srgbClr val="181818"/>
                </a:solidFill>
                <a:uFill>
                  <a:solidFill>
                    <a:srgbClr val="FFFFFF"/>
                  </a:solidFill>
                </a:uFill>
                <a:latin typeface="Ericsson Hilda"/>
              </a:rPr>
              <a:t>Spelmekanik</a:t>
            </a:r>
            <a:endParaRPr lang="sv-SE" sz="4000" b="0" strike="noStrike" spc="-1">
              <a:solidFill>
                <a:srgbClr val="000000"/>
              </a:solidFill>
              <a:uFill>
                <a:solidFill>
                  <a:srgbClr val="FFFFFF"/>
                </a:solidFill>
              </a:uFill>
              <a:latin typeface="Arial"/>
            </a:endParaRPr>
          </a:p>
        </p:txBody>
      </p:sp>
      <p:sp>
        <p:nvSpPr>
          <p:cNvPr id="1110" name="Rectangle 1109">
            <a:extLst>
              <a:ext uri="{FF2B5EF4-FFF2-40B4-BE49-F238E27FC236}">
                <a16:creationId xmlns:a16="http://schemas.microsoft.com/office/drawing/2014/main" id="{74D20775-402D-4802-A3BA-22E3763FD413}"/>
              </a:ext>
            </a:extLst>
          </p:cNvPr>
          <p:cNvSpPr/>
          <p:nvPr/>
        </p:nvSpPr>
        <p:spPr>
          <a:xfrm>
            <a:off x="11277600" y="309217"/>
            <a:ext cx="649357" cy="506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3" name="Rectangle 42">
            <a:extLst>
              <a:ext uri="{FF2B5EF4-FFF2-40B4-BE49-F238E27FC236}">
                <a16:creationId xmlns:a16="http://schemas.microsoft.com/office/drawing/2014/main" id="{916C7F7D-11E3-E8C4-77B2-1F94AAF35F20}"/>
              </a:ext>
            </a:extLst>
          </p:cNvPr>
          <p:cNvSpPr/>
          <p:nvPr/>
        </p:nvSpPr>
        <p:spPr>
          <a:xfrm>
            <a:off x="633695" y="4252706"/>
            <a:ext cx="2563525" cy="19930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4" name="Rectangle 43">
            <a:extLst>
              <a:ext uri="{FF2B5EF4-FFF2-40B4-BE49-F238E27FC236}">
                <a16:creationId xmlns:a16="http://schemas.microsoft.com/office/drawing/2014/main" id="{B9D829D3-3B40-61D4-1E28-63B45EB2B56F}"/>
              </a:ext>
            </a:extLst>
          </p:cNvPr>
          <p:cNvSpPr/>
          <p:nvPr/>
        </p:nvSpPr>
        <p:spPr>
          <a:xfrm>
            <a:off x="917191" y="4903373"/>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400" dirty="0"/>
          </a:p>
        </p:txBody>
      </p:sp>
      <p:sp>
        <p:nvSpPr>
          <p:cNvPr id="45" name="Rectangle 44">
            <a:extLst>
              <a:ext uri="{FF2B5EF4-FFF2-40B4-BE49-F238E27FC236}">
                <a16:creationId xmlns:a16="http://schemas.microsoft.com/office/drawing/2014/main" id="{6DF2406D-1598-56C6-E1F7-57A97BACB1C5}"/>
              </a:ext>
            </a:extLst>
          </p:cNvPr>
          <p:cNvSpPr/>
          <p:nvPr/>
        </p:nvSpPr>
        <p:spPr>
          <a:xfrm>
            <a:off x="917191"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0</a:t>
            </a:r>
            <a:endParaRPr lang="en-SE" dirty="0">
              <a:solidFill>
                <a:schemeClr val="accent6"/>
              </a:solidFill>
            </a:endParaRPr>
          </a:p>
        </p:txBody>
      </p:sp>
      <p:sp>
        <p:nvSpPr>
          <p:cNvPr id="46" name="Rectangle 45">
            <a:extLst>
              <a:ext uri="{FF2B5EF4-FFF2-40B4-BE49-F238E27FC236}">
                <a16:creationId xmlns:a16="http://schemas.microsoft.com/office/drawing/2014/main" id="{612B9B92-2EA4-7EE4-1493-59861F2D92A8}"/>
              </a:ext>
            </a:extLst>
          </p:cNvPr>
          <p:cNvSpPr/>
          <p:nvPr/>
        </p:nvSpPr>
        <p:spPr>
          <a:xfrm>
            <a:off x="2509771"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1</a:t>
            </a:r>
            <a:endParaRPr lang="en-SE" dirty="0">
              <a:solidFill>
                <a:schemeClr val="accent6"/>
              </a:solidFill>
            </a:endParaRPr>
          </a:p>
        </p:txBody>
      </p:sp>
      <p:grpSp>
        <p:nvGrpSpPr>
          <p:cNvPr id="48" name="Group 47">
            <a:extLst>
              <a:ext uri="{FF2B5EF4-FFF2-40B4-BE49-F238E27FC236}">
                <a16:creationId xmlns:a16="http://schemas.microsoft.com/office/drawing/2014/main" id="{6E927A4B-6A7F-EBB9-4B2D-EDECE1FDD249}"/>
              </a:ext>
            </a:extLst>
          </p:cNvPr>
          <p:cNvGrpSpPr/>
          <p:nvPr/>
        </p:nvGrpSpPr>
        <p:grpSpPr>
          <a:xfrm>
            <a:off x="1460116" y="5753290"/>
            <a:ext cx="849630" cy="411480"/>
            <a:chOff x="4855755" y="5897034"/>
            <a:chExt cx="849630" cy="411480"/>
          </a:xfrm>
        </p:grpSpPr>
        <p:sp>
          <p:nvSpPr>
            <p:cNvPr id="52" name="Rectangle 51">
              <a:extLst>
                <a:ext uri="{FF2B5EF4-FFF2-40B4-BE49-F238E27FC236}">
                  <a16:creationId xmlns:a16="http://schemas.microsoft.com/office/drawing/2014/main" id="{A8009EBE-C29C-61C0-191D-807EDC3A8012}"/>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53" name="Rectangle 52">
              <a:extLst>
                <a:ext uri="{FF2B5EF4-FFF2-40B4-BE49-F238E27FC236}">
                  <a16:creationId xmlns:a16="http://schemas.microsoft.com/office/drawing/2014/main" id="{1A0D292F-29CD-B00F-4EE0-0078EADE0EFE}"/>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dirty="0"/>
            </a:p>
          </p:txBody>
        </p:sp>
      </p:grpSp>
      <p:sp>
        <p:nvSpPr>
          <p:cNvPr id="54" name="Oval 53">
            <a:extLst>
              <a:ext uri="{FF2B5EF4-FFF2-40B4-BE49-F238E27FC236}">
                <a16:creationId xmlns:a16="http://schemas.microsoft.com/office/drawing/2014/main" id="{26BCC45D-332F-0F2F-C7B8-ED470F350E32}"/>
              </a:ext>
            </a:extLst>
          </p:cNvPr>
          <p:cNvSpPr/>
          <p:nvPr/>
        </p:nvSpPr>
        <p:spPr>
          <a:xfrm>
            <a:off x="1043960" y="4422227"/>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55" name="Straight Connector 54">
            <a:extLst>
              <a:ext uri="{FF2B5EF4-FFF2-40B4-BE49-F238E27FC236}">
                <a16:creationId xmlns:a16="http://schemas.microsoft.com/office/drawing/2014/main" id="{A0226E73-6F80-5E22-423B-A3191DA35055}"/>
              </a:ext>
            </a:extLst>
          </p:cNvPr>
          <p:cNvCxnSpPr/>
          <p:nvPr/>
        </p:nvCxnSpPr>
        <p:spPr>
          <a:xfrm flipH="1">
            <a:off x="684435" y="4598477"/>
            <a:ext cx="2327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231AFA-CF3C-A963-25EF-C696E535AC38}"/>
              </a:ext>
            </a:extLst>
          </p:cNvPr>
          <p:cNvCxnSpPr/>
          <p:nvPr/>
        </p:nvCxnSpPr>
        <p:spPr>
          <a:xfrm flipH="1">
            <a:off x="800813" y="465692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4803D7C-5CFF-2043-5A68-D06C8788F880}"/>
              </a:ext>
            </a:extLst>
          </p:cNvPr>
          <p:cNvCxnSpPr/>
          <p:nvPr/>
        </p:nvCxnSpPr>
        <p:spPr>
          <a:xfrm flipH="1" flipV="1">
            <a:off x="800813" y="438213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CustomShape 5">
            <a:extLst>
              <a:ext uri="{FF2B5EF4-FFF2-40B4-BE49-F238E27FC236}">
                <a16:creationId xmlns:a16="http://schemas.microsoft.com/office/drawing/2014/main" id="{C59AE025-3E26-D903-A38B-F260857264C4}"/>
              </a:ext>
            </a:extLst>
          </p:cNvPr>
          <p:cNvSpPr/>
          <p:nvPr/>
        </p:nvSpPr>
        <p:spPr>
          <a:xfrm>
            <a:off x="4023641" y="5249215"/>
            <a:ext cx="1827720" cy="12756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1</a:t>
            </a:r>
            <a:endParaRPr lang="sv-SE" sz="1800" b="0" strike="noStrike" spc="-1" dirty="0">
              <a:solidFill>
                <a:srgbClr val="000000"/>
              </a:solidFill>
              <a:uFill>
                <a:solidFill>
                  <a:srgbClr val="FFFFFF"/>
                </a:solidFill>
              </a:uFill>
              <a:latin typeface="Arial"/>
            </a:endParaRPr>
          </a:p>
          <a:p>
            <a:pPr>
              <a:lnSpc>
                <a:spcPct val="100000"/>
              </a:lnSpc>
            </a:pPr>
            <a:r>
              <a:rPr lang="sv-SE" sz="1100" b="1" spc="-1" dirty="0">
                <a:solidFill>
                  <a:srgbClr val="181818"/>
                </a:solidFill>
                <a:uFill>
                  <a:solidFill>
                    <a:srgbClr val="FFFFFF"/>
                  </a:solidFill>
                </a:uFill>
                <a:latin typeface="Ericsson Hilda"/>
              </a:rPr>
              <a:t>Komponent</a:t>
            </a:r>
            <a:r>
              <a:rPr lang="sv-SE" sz="1100" b="1" strike="noStrike" spc="-1" dirty="0">
                <a:solidFill>
                  <a:srgbClr val="181818"/>
                </a:solidFill>
                <a:uFill>
                  <a:solidFill>
                    <a:srgbClr val="FFFFFF"/>
                  </a:solidFill>
                </a:uFill>
                <a:latin typeface="Ericsson Hilda"/>
              </a:rPr>
              <a:t>:  </a:t>
            </a:r>
            <a:r>
              <a:rPr lang="sv-SE" sz="1100" strike="noStrike" spc="-1" dirty="0">
                <a:solidFill>
                  <a:srgbClr val="181818"/>
                </a:solidFill>
                <a:uFill>
                  <a:solidFill>
                    <a:srgbClr val="FFFFFF"/>
                  </a:solidFill>
                </a:uFill>
                <a:latin typeface="Ericsson Hilda"/>
              </a:rPr>
              <a:t>LCD-Display</a:t>
            </a:r>
            <a:endParaRPr lang="sv-SE" sz="1100" b="1" strike="noStrike" spc="-1" dirty="0">
              <a:solidFill>
                <a:srgbClr val="181818"/>
              </a:solidFill>
              <a:uFill>
                <a:solidFill>
                  <a:srgbClr val="FFFFFF"/>
                </a:solidFill>
              </a:uFill>
              <a:latin typeface="Ericsson Hilda"/>
            </a:endParaRPr>
          </a:p>
          <a:p>
            <a:endParaRPr lang="sv-SE" sz="1100" b="1" strike="noStrike" spc="-1" dirty="0">
              <a:solidFill>
                <a:srgbClr val="181818"/>
              </a:solidFill>
              <a:uFill>
                <a:solidFill>
                  <a:srgbClr val="FFFFFF"/>
                </a:solidFill>
              </a:uFill>
              <a:latin typeface="Ericsson Hilda"/>
            </a:endParaRPr>
          </a:p>
          <a:p>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pela upp ljud vid start och slut.</a:t>
            </a:r>
            <a:endParaRPr lang="sv-SE" sz="1100" b="0" strike="noStrike" spc="-1" dirty="0">
              <a:solidFill>
                <a:srgbClr val="000000"/>
              </a:solidFill>
              <a:uFill>
                <a:solidFill>
                  <a:srgbClr val="FFFFFF"/>
                </a:solidFill>
              </a:uFill>
              <a:latin typeface="Arial"/>
            </a:endParaRPr>
          </a:p>
        </p:txBody>
      </p:sp>
      <p:sp>
        <p:nvSpPr>
          <p:cNvPr id="103" name="CustomShape 5">
            <a:extLst>
              <a:ext uri="{FF2B5EF4-FFF2-40B4-BE49-F238E27FC236}">
                <a16:creationId xmlns:a16="http://schemas.microsoft.com/office/drawing/2014/main" id="{FD07050B-D750-EEFE-D543-E9B3F7C0D0F8}"/>
              </a:ext>
            </a:extLst>
          </p:cNvPr>
          <p:cNvSpPr/>
          <p:nvPr/>
        </p:nvSpPr>
        <p:spPr>
          <a:xfrm>
            <a:off x="6096000" y="5249215"/>
            <a:ext cx="1827720" cy="1185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dirty="0">
                <a:solidFill>
                  <a:srgbClr val="181818"/>
                </a:solidFill>
                <a:uFill>
                  <a:solidFill>
                    <a:srgbClr val="FFFFFF"/>
                  </a:solidFill>
                </a:uFill>
                <a:latin typeface="Ericsson Hilda"/>
              </a:rPr>
              <a:t>Steg 2</a:t>
            </a:r>
            <a:endParaRPr lang="sv-SE" sz="1800" b="0" strike="noStrike" spc="-1" dirty="0">
              <a:solidFill>
                <a:srgbClr val="000000"/>
              </a:solidFill>
              <a:uFill>
                <a:solidFill>
                  <a:srgbClr val="FFFFFF"/>
                </a:solidFill>
              </a:uFill>
              <a:latin typeface="Arial"/>
            </a:endParaRPr>
          </a:p>
          <a:p>
            <a:r>
              <a:rPr lang="sv-SE" sz="1100" b="1" strike="noStrike" spc="-1" dirty="0">
                <a:solidFill>
                  <a:srgbClr val="181818"/>
                </a:solidFill>
                <a:uFill>
                  <a:solidFill>
                    <a:srgbClr val="FFFFFF"/>
                  </a:solidFill>
                </a:uFill>
                <a:latin typeface="Ericsson Hilda"/>
              </a:rPr>
              <a:t>Komponent: </a:t>
            </a:r>
            <a:r>
              <a:rPr lang="sv-SE" sz="1100" strike="noStrike" spc="-1" dirty="0">
                <a:solidFill>
                  <a:srgbClr val="181818"/>
                </a:solidFill>
                <a:uFill>
                  <a:solidFill>
                    <a:srgbClr val="FFFFFF"/>
                  </a:solidFill>
                </a:uFill>
                <a:latin typeface="Ericsson Hilda"/>
              </a:rPr>
              <a:t>Tryckknappar</a:t>
            </a:r>
            <a:endParaRPr lang="sv-SE" sz="1100" b="0" strike="noStrike" spc="-1" dirty="0">
              <a:solidFill>
                <a:srgbClr val="000000"/>
              </a:solidFill>
              <a:uFill>
                <a:solidFill>
                  <a:srgbClr val="FFFFFF"/>
                </a:solidFill>
              </a:uFill>
              <a:latin typeface="Arial"/>
            </a:endParaRPr>
          </a:p>
          <a:p>
            <a:pPr>
              <a:lnSpc>
                <a:spcPct val="100000"/>
              </a:lnSpc>
            </a:pPr>
            <a:endParaRPr lang="sv-SE" sz="1100" b="1" strike="noStrike" spc="-1" dirty="0">
              <a:solidFill>
                <a:srgbClr val="181818"/>
              </a:solidFill>
              <a:uFill>
                <a:solidFill>
                  <a:srgbClr val="FFFFFF"/>
                </a:solidFill>
              </a:uFill>
              <a:latin typeface="Ericsson Hilda"/>
            </a:endParaRPr>
          </a:p>
          <a:p>
            <a:pPr>
              <a:lnSpc>
                <a:spcPct val="100000"/>
              </a:lnSpc>
            </a:pPr>
            <a:r>
              <a:rPr lang="sv-SE" sz="1100" b="1" strike="noStrike" spc="-1" dirty="0">
                <a:solidFill>
                  <a:srgbClr val="181818"/>
                </a:solidFill>
                <a:uFill>
                  <a:solidFill>
                    <a:srgbClr val="FFFFFF"/>
                  </a:solidFill>
                </a:uFill>
                <a:latin typeface="Ericsson Hilda"/>
              </a:rPr>
              <a:t>Syfte: </a:t>
            </a:r>
            <a:endParaRPr lang="sv-SE" sz="1100" b="0" strike="noStrike" spc="-1" dirty="0">
              <a:solidFill>
                <a:srgbClr val="000000"/>
              </a:solidFill>
              <a:uFill>
                <a:solidFill>
                  <a:srgbClr val="FFFFFF"/>
                </a:solidFill>
              </a:uFill>
              <a:latin typeface="Arial"/>
            </a:endParaRPr>
          </a:p>
          <a:p>
            <a:pPr>
              <a:lnSpc>
                <a:spcPct val="100000"/>
              </a:lnSpc>
            </a:pPr>
            <a:r>
              <a:rPr lang="sv-SE" sz="1100" b="0" strike="noStrike" spc="-1" dirty="0">
                <a:solidFill>
                  <a:srgbClr val="181818"/>
                </a:solidFill>
                <a:uFill>
                  <a:solidFill>
                    <a:srgbClr val="FFFFFF"/>
                  </a:solidFill>
                </a:uFill>
                <a:latin typeface="Ericsson Hilda"/>
              </a:rPr>
              <a:t>Starta spel</a:t>
            </a:r>
            <a:endParaRPr lang="sv-SE" sz="1100" b="0" strike="noStrike" spc="-1" dirty="0">
              <a:solidFill>
                <a:srgbClr val="000000"/>
              </a:solidFill>
              <a:uFill>
                <a:solidFill>
                  <a:srgbClr val="FFFFFF"/>
                </a:solidFill>
              </a:uFill>
              <a:latin typeface="Arial"/>
            </a:endParaRPr>
          </a:p>
        </p:txBody>
      </p:sp>
      <p:cxnSp>
        <p:nvCxnSpPr>
          <p:cNvPr id="13" name="Straight Arrow Connector 12">
            <a:extLst>
              <a:ext uri="{FF2B5EF4-FFF2-40B4-BE49-F238E27FC236}">
                <a16:creationId xmlns:a16="http://schemas.microsoft.com/office/drawing/2014/main" id="{30097A33-D1A2-7C2A-2F6E-3E4C012F5630}"/>
              </a:ext>
            </a:extLst>
          </p:cNvPr>
          <p:cNvCxnSpPr>
            <a:cxnSpLocks/>
            <a:stCxn id="46" idx="2"/>
            <a:endCxn id="103" idx="2"/>
          </p:cNvCxnSpPr>
          <p:nvPr/>
        </p:nvCxnSpPr>
        <p:spPr>
          <a:xfrm rot="16200000" flipH="1">
            <a:off x="4561291" y="3985723"/>
            <a:ext cx="568498" cy="4328639"/>
          </a:xfrm>
          <a:prstGeom prst="bentConnector3">
            <a:avLst>
              <a:gd name="adj1" fmla="val 14021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DDF5D41E-CE82-1FDA-4B53-BF49134B059F}"/>
              </a:ext>
            </a:extLst>
          </p:cNvPr>
          <p:cNvCxnSpPr>
            <a:cxnSpLocks/>
            <a:endCxn id="68" idx="2"/>
          </p:cNvCxnSpPr>
          <p:nvPr/>
        </p:nvCxnSpPr>
        <p:spPr>
          <a:xfrm>
            <a:off x="3218681" y="2951129"/>
            <a:ext cx="1718820" cy="3573777"/>
          </a:xfrm>
          <a:prstGeom prst="bentConnector4">
            <a:avLst>
              <a:gd name="adj1" fmla="val 23416"/>
              <a:gd name="adj2" fmla="val 106397"/>
            </a:avLst>
          </a:prstGeom>
          <a:ln>
            <a:tailEnd type="triangle"/>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6F9CCB98-A3EA-C83D-D7B9-BB7F80453B14}"/>
              </a:ext>
            </a:extLst>
          </p:cNvPr>
          <p:cNvPicPr>
            <a:picLocks noChangeAspect="1"/>
          </p:cNvPicPr>
          <p:nvPr/>
        </p:nvPicPr>
        <p:blipFill rotWithShape="1">
          <a:blip r:embed="rId2"/>
          <a:srcRect r="66344"/>
          <a:stretch/>
        </p:blipFill>
        <p:spPr>
          <a:xfrm>
            <a:off x="633694" y="1595493"/>
            <a:ext cx="2563525" cy="2281156"/>
          </a:xfrm>
          <a:prstGeom prst="rect">
            <a:avLst/>
          </a:prstGeom>
        </p:spPr>
      </p:pic>
    </p:spTree>
    <p:extLst>
      <p:ext uri="{BB962C8B-B14F-4D97-AF65-F5344CB8AC3E}">
        <p14:creationId xmlns:p14="http://schemas.microsoft.com/office/powerpoint/2010/main" val="3151999179"/>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9" name="CustomShape 196"/>
          <p:cNvSpPr/>
          <p:nvPr/>
        </p:nvSpPr>
        <p:spPr>
          <a:xfrm>
            <a:off x="495720" y="328680"/>
            <a:ext cx="3186720" cy="534240"/>
          </a:xfrm>
          <a:prstGeom prst="rect">
            <a:avLst/>
          </a:prstGeom>
          <a:noFill/>
          <a:ln w="12600">
            <a:noFill/>
          </a:ln>
        </p:spPr>
        <p:style>
          <a:lnRef idx="0">
            <a:scrgbClr r="0" g="0" b="0"/>
          </a:lnRef>
          <a:fillRef idx="0">
            <a:scrgbClr r="0" g="0" b="0"/>
          </a:fillRef>
          <a:effectRef idx="0">
            <a:scrgbClr r="0" g="0" b="0"/>
          </a:effectRef>
          <a:fontRef idx="minor"/>
        </p:style>
        <p:txBody>
          <a:bodyPr lIns="72000" tIns="36000" rIns="73080" bIns="36720"/>
          <a:lstStyle/>
          <a:p>
            <a:pPr>
              <a:lnSpc>
                <a:spcPct val="100000"/>
              </a:lnSpc>
            </a:pPr>
            <a:r>
              <a:rPr lang="sv-SE" sz="4000" b="0" strike="noStrike" spc="-1">
                <a:solidFill>
                  <a:srgbClr val="181818"/>
                </a:solidFill>
                <a:uFill>
                  <a:solidFill>
                    <a:srgbClr val="FFFFFF"/>
                  </a:solidFill>
                </a:uFill>
                <a:latin typeface="Ericsson Hilda"/>
              </a:rPr>
              <a:t>Spelmekanik</a:t>
            </a:r>
            <a:endParaRPr lang="sv-SE" sz="4000" b="0" strike="noStrike" spc="-1">
              <a:solidFill>
                <a:srgbClr val="000000"/>
              </a:solidFill>
              <a:uFill>
                <a:solidFill>
                  <a:srgbClr val="FFFFFF"/>
                </a:solidFill>
              </a:uFill>
              <a:latin typeface="Arial"/>
            </a:endParaRPr>
          </a:p>
        </p:txBody>
      </p:sp>
      <p:sp>
        <p:nvSpPr>
          <p:cNvPr id="1110" name="Rectangle 1109">
            <a:extLst>
              <a:ext uri="{FF2B5EF4-FFF2-40B4-BE49-F238E27FC236}">
                <a16:creationId xmlns:a16="http://schemas.microsoft.com/office/drawing/2014/main" id="{74D20775-402D-4802-A3BA-22E3763FD413}"/>
              </a:ext>
            </a:extLst>
          </p:cNvPr>
          <p:cNvSpPr/>
          <p:nvPr/>
        </p:nvSpPr>
        <p:spPr>
          <a:xfrm>
            <a:off x="11277600" y="309217"/>
            <a:ext cx="649357" cy="506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0" name="Rectangle 9">
            <a:extLst>
              <a:ext uri="{FF2B5EF4-FFF2-40B4-BE49-F238E27FC236}">
                <a16:creationId xmlns:a16="http://schemas.microsoft.com/office/drawing/2014/main" id="{6EF9F996-B0E4-4CC8-BCB5-8CBDFF77E898}"/>
              </a:ext>
            </a:extLst>
          </p:cNvPr>
          <p:cNvSpPr/>
          <p:nvPr/>
        </p:nvSpPr>
        <p:spPr>
          <a:xfrm>
            <a:off x="3033711" y="4252706"/>
            <a:ext cx="2563525" cy="19930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1" name="Rectangle 10">
            <a:extLst>
              <a:ext uri="{FF2B5EF4-FFF2-40B4-BE49-F238E27FC236}">
                <a16:creationId xmlns:a16="http://schemas.microsoft.com/office/drawing/2014/main" id="{C651408D-4C61-4F51-A7FD-D866AB775722}"/>
              </a:ext>
            </a:extLst>
          </p:cNvPr>
          <p:cNvSpPr/>
          <p:nvPr/>
        </p:nvSpPr>
        <p:spPr>
          <a:xfrm>
            <a:off x="3317207" y="4903373"/>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14" name="Rectangle 413">
            <a:extLst>
              <a:ext uri="{FF2B5EF4-FFF2-40B4-BE49-F238E27FC236}">
                <a16:creationId xmlns:a16="http://schemas.microsoft.com/office/drawing/2014/main" id="{6E70624B-820D-45A7-9DB8-2166056F1374}"/>
              </a:ext>
            </a:extLst>
          </p:cNvPr>
          <p:cNvSpPr/>
          <p:nvPr/>
        </p:nvSpPr>
        <p:spPr>
          <a:xfrm>
            <a:off x="3317207"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0</a:t>
            </a:r>
            <a:endParaRPr lang="en-SE" dirty="0">
              <a:solidFill>
                <a:schemeClr val="accent6"/>
              </a:solidFill>
            </a:endParaRPr>
          </a:p>
        </p:txBody>
      </p:sp>
      <p:sp>
        <p:nvSpPr>
          <p:cNvPr id="415" name="Rectangle 414">
            <a:extLst>
              <a:ext uri="{FF2B5EF4-FFF2-40B4-BE49-F238E27FC236}">
                <a16:creationId xmlns:a16="http://schemas.microsoft.com/office/drawing/2014/main" id="{66391A57-C7E4-4726-917D-6BEE196AD60C}"/>
              </a:ext>
            </a:extLst>
          </p:cNvPr>
          <p:cNvSpPr/>
          <p:nvPr/>
        </p:nvSpPr>
        <p:spPr>
          <a:xfrm>
            <a:off x="4909787"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6"/>
                </a:solidFill>
              </a:rPr>
              <a:t>0</a:t>
            </a:r>
            <a:endParaRPr lang="en-SE">
              <a:solidFill>
                <a:schemeClr val="accent6"/>
              </a:solidFill>
            </a:endParaRPr>
          </a:p>
        </p:txBody>
      </p:sp>
      <p:grpSp>
        <p:nvGrpSpPr>
          <p:cNvPr id="15" name="Group 14">
            <a:extLst>
              <a:ext uri="{FF2B5EF4-FFF2-40B4-BE49-F238E27FC236}">
                <a16:creationId xmlns:a16="http://schemas.microsoft.com/office/drawing/2014/main" id="{30AE0F30-8DAA-8D0E-6763-900B13609EB3}"/>
              </a:ext>
            </a:extLst>
          </p:cNvPr>
          <p:cNvGrpSpPr/>
          <p:nvPr/>
        </p:nvGrpSpPr>
        <p:grpSpPr>
          <a:xfrm>
            <a:off x="3860132" y="5753290"/>
            <a:ext cx="849630" cy="424460"/>
            <a:chOff x="4855755" y="5897034"/>
            <a:chExt cx="849630" cy="424460"/>
          </a:xfrm>
        </p:grpSpPr>
        <p:grpSp>
          <p:nvGrpSpPr>
            <p:cNvPr id="14" name="Group 13">
              <a:extLst>
                <a:ext uri="{FF2B5EF4-FFF2-40B4-BE49-F238E27FC236}">
                  <a16:creationId xmlns:a16="http://schemas.microsoft.com/office/drawing/2014/main" id="{004DDBE9-F609-9AE9-07A8-D8B96A5BCD7B}"/>
                </a:ext>
              </a:extLst>
            </p:cNvPr>
            <p:cNvGrpSpPr/>
            <p:nvPr/>
          </p:nvGrpSpPr>
          <p:grpSpPr>
            <a:xfrm>
              <a:off x="4855755" y="5897034"/>
              <a:ext cx="849630" cy="411480"/>
              <a:chOff x="4855755" y="5897034"/>
              <a:chExt cx="849630" cy="411480"/>
            </a:xfrm>
          </p:grpSpPr>
          <p:sp>
            <p:nvSpPr>
              <p:cNvPr id="416" name="Rectangle 415">
                <a:extLst>
                  <a:ext uri="{FF2B5EF4-FFF2-40B4-BE49-F238E27FC236}">
                    <a16:creationId xmlns:a16="http://schemas.microsoft.com/office/drawing/2014/main" id="{332C25AE-26CC-4BEA-BB1D-470A85712EF1}"/>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17" name="Rectangle 416">
                <a:extLst>
                  <a:ext uri="{FF2B5EF4-FFF2-40B4-BE49-F238E27FC236}">
                    <a16:creationId xmlns:a16="http://schemas.microsoft.com/office/drawing/2014/main" id="{69EB01B7-7DC1-49E7-8F88-B72ED4FC5E4C}"/>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grpSp>
        <p:grpSp>
          <p:nvGrpSpPr>
            <p:cNvPr id="12" name="Group 11">
              <a:extLst>
                <a:ext uri="{FF2B5EF4-FFF2-40B4-BE49-F238E27FC236}">
                  <a16:creationId xmlns:a16="http://schemas.microsoft.com/office/drawing/2014/main" id="{F3D80BE7-867D-ECAC-A695-147DE7389305}"/>
                </a:ext>
              </a:extLst>
            </p:cNvPr>
            <p:cNvGrpSpPr/>
            <p:nvPr/>
          </p:nvGrpSpPr>
          <p:grpSpPr>
            <a:xfrm>
              <a:off x="4855755" y="5978593"/>
              <a:ext cx="849630" cy="342901"/>
              <a:chOff x="7368540" y="4794551"/>
              <a:chExt cx="849630" cy="342901"/>
            </a:xfrm>
          </p:grpSpPr>
          <p:pic>
            <p:nvPicPr>
              <p:cNvPr id="418" name="Picture Placeholder 49">
                <a:extLst>
                  <a:ext uri="{FF2B5EF4-FFF2-40B4-BE49-F238E27FC236}">
                    <a16:creationId xmlns:a16="http://schemas.microsoft.com/office/drawing/2014/main" id="{8DF8607A-F34F-47CE-9F9F-AA7872A7AA0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10" b="110"/>
              <a:stretch>
                <a:fillRect/>
              </a:stretch>
            </p:blipFill>
            <p:spPr>
              <a:xfrm>
                <a:off x="7368540" y="4794551"/>
                <a:ext cx="342901" cy="342901"/>
              </a:xfrm>
              <a:prstGeom prst="rect">
                <a:avLst/>
              </a:prstGeom>
            </p:spPr>
          </p:pic>
          <p:pic>
            <p:nvPicPr>
              <p:cNvPr id="419" name="Picture Placeholder 57">
                <a:extLst>
                  <a:ext uri="{FF2B5EF4-FFF2-40B4-BE49-F238E27FC236}">
                    <a16:creationId xmlns:a16="http://schemas.microsoft.com/office/drawing/2014/main" id="{250AF66A-E695-46AA-B50F-CE65E2A363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10" b="110"/>
              <a:stretch>
                <a:fillRect/>
              </a:stretch>
            </p:blipFill>
            <p:spPr>
              <a:xfrm>
                <a:off x="7875270" y="4794551"/>
                <a:ext cx="342900" cy="342900"/>
              </a:xfrm>
              <a:prstGeom prst="rect">
                <a:avLst/>
              </a:prstGeom>
            </p:spPr>
          </p:pic>
        </p:grpSp>
      </p:grpSp>
      <p:sp>
        <p:nvSpPr>
          <p:cNvPr id="1882" name="Oval 1881">
            <a:extLst>
              <a:ext uri="{FF2B5EF4-FFF2-40B4-BE49-F238E27FC236}">
                <a16:creationId xmlns:a16="http://schemas.microsoft.com/office/drawing/2014/main" id="{CB682833-4826-48B1-A7A8-6F9F41CEF769}"/>
              </a:ext>
            </a:extLst>
          </p:cNvPr>
          <p:cNvSpPr/>
          <p:nvPr/>
        </p:nvSpPr>
        <p:spPr>
          <a:xfrm>
            <a:off x="3443976" y="4422227"/>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5" name="Straight Connector 4">
            <a:extLst>
              <a:ext uri="{FF2B5EF4-FFF2-40B4-BE49-F238E27FC236}">
                <a16:creationId xmlns:a16="http://schemas.microsoft.com/office/drawing/2014/main" id="{5F102939-5D57-0FC6-44AD-742E08D724D1}"/>
              </a:ext>
            </a:extLst>
          </p:cNvPr>
          <p:cNvCxnSpPr/>
          <p:nvPr/>
        </p:nvCxnSpPr>
        <p:spPr>
          <a:xfrm flipH="1">
            <a:off x="3084451" y="4598477"/>
            <a:ext cx="2327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B6E9552-4BC6-D980-BE8A-DB96CB5C0E90}"/>
              </a:ext>
            </a:extLst>
          </p:cNvPr>
          <p:cNvCxnSpPr/>
          <p:nvPr/>
        </p:nvCxnSpPr>
        <p:spPr>
          <a:xfrm flipH="1">
            <a:off x="3200829" y="465692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903E2AD-E3CF-57C8-1029-9B689348A555}"/>
              </a:ext>
            </a:extLst>
          </p:cNvPr>
          <p:cNvCxnSpPr/>
          <p:nvPr/>
        </p:nvCxnSpPr>
        <p:spPr>
          <a:xfrm flipH="1" flipV="1">
            <a:off x="3200829" y="438213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36" name="Picture 35">
            <a:extLst>
              <a:ext uri="{FF2B5EF4-FFF2-40B4-BE49-F238E27FC236}">
                <a16:creationId xmlns:a16="http://schemas.microsoft.com/office/drawing/2014/main" id="{5180B81E-BAFE-8E6B-6929-D7BCD7B75612}"/>
              </a:ext>
            </a:extLst>
          </p:cNvPr>
          <p:cNvPicPr>
            <a:picLocks noChangeAspect="1"/>
          </p:cNvPicPr>
          <p:nvPr/>
        </p:nvPicPr>
        <p:blipFill rotWithShape="1">
          <a:blip r:embed="rId6"/>
          <a:srcRect r="66344"/>
          <a:stretch/>
        </p:blipFill>
        <p:spPr>
          <a:xfrm>
            <a:off x="8831698" y="1595493"/>
            <a:ext cx="2563525" cy="2281156"/>
          </a:xfrm>
          <a:prstGeom prst="rect">
            <a:avLst/>
          </a:prstGeom>
        </p:spPr>
      </p:pic>
      <p:pic>
        <p:nvPicPr>
          <p:cNvPr id="37" name="Picture 36">
            <a:extLst>
              <a:ext uri="{FF2B5EF4-FFF2-40B4-BE49-F238E27FC236}">
                <a16:creationId xmlns:a16="http://schemas.microsoft.com/office/drawing/2014/main" id="{B52A0456-8812-6E4B-2433-0155C78785F1}"/>
              </a:ext>
            </a:extLst>
          </p:cNvPr>
          <p:cNvPicPr>
            <a:picLocks noChangeAspect="1"/>
          </p:cNvPicPr>
          <p:nvPr/>
        </p:nvPicPr>
        <p:blipFill rotWithShape="1">
          <a:blip r:embed="rId7"/>
          <a:srcRect r="66482"/>
          <a:stretch/>
        </p:blipFill>
        <p:spPr>
          <a:xfrm>
            <a:off x="5945391" y="1608785"/>
            <a:ext cx="2538153" cy="2267864"/>
          </a:xfrm>
          <a:prstGeom prst="rect">
            <a:avLst/>
          </a:prstGeom>
        </p:spPr>
      </p:pic>
      <p:pic>
        <p:nvPicPr>
          <p:cNvPr id="38" name="Picture 37">
            <a:extLst>
              <a:ext uri="{FF2B5EF4-FFF2-40B4-BE49-F238E27FC236}">
                <a16:creationId xmlns:a16="http://schemas.microsoft.com/office/drawing/2014/main" id="{56221977-C61F-7B03-6C8A-F849B98256AF}"/>
              </a:ext>
            </a:extLst>
          </p:cNvPr>
          <p:cNvPicPr>
            <a:picLocks noChangeAspect="1"/>
          </p:cNvPicPr>
          <p:nvPr/>
        </p:nvPicPr>
        <p:blipFill rotWithShape="1">
          <a:blip r:embed="rId8"/>
          <a:srcRect r="66250"/>
          <a:stretch/>
        </p:blipFill>
        <p:spPr>
          <a:xfrm>
            <a:off x="3033712" y="1608785"/>
            <a:ext cx="2563525" cy="2274805"/>
          </a:xfrm>
          <a:prstGeom prst="rect">
            <a:avLst/>
          </a:prstGeom>
        </p:spPr>
      </p:pic>
      <p:pic>
        <p:nvPicPr>
          <p:cNvPr id="42" name="Picture 41">
            <a:extLst>
              <a:ext uri="{FF2B5EF4-FFF2-40B4-BE49-F238E27FC236}">
                <a16:creationId xmlns:a16="http://schemas.microsoft.com/office/drawing/2014/main" id="{7AD7CC39-C907-0507-6ED2-DC4D5EF4DBC6}"/>
              </a:ext>
            </a:extLst>
          </p:cNvPr>
          <p:cNvPicPr>
            <a:picLocks noChangeAspect="1"/>
          </p:cNvPicPr>
          <p:nvPr/>
        </p:nvPicPr>
        <p:blipFill>
          <a:blip r:embed="rId9"/>
          <a:stretch>
            <a:fillRect/>
          </a:stretch>
        </p:blipFill>
        <p:spPr>
          <a:xfrm>
            <a:off x="124778" y="1608785"/>
            <a:ext cx="2560780" cy="2274805"/>
          </a:xfrm>
          <a:prstGeom prst="rect">
            <a:avLst/>
          </a:prstGeom>
        </p:spPr>
      </p:pic>
      <p:sp>
        <p:nvSpPr>
          <p:cNvPr id="43" name="Rectangle 42">
            <a:extLst>
              <a:ext uri="{FF2B5EF4-FFF2-40B4-BE49-F238E27FC236}">
                <a16:creationId xmlns:a16="http://schemas.microsoft.com/office/drawing/2014/main" id="{916C7F7D-11E3-E8C4-77B2-1F94AAF35F20}"/>
              </a:ext>
            </a:extLst>
          </p:cNvPr>
          <p:cNvSpPr/>
          <p:nvPr/>
        </p:nvSpPr>
        <p:spPr>
          <a:xfrm>
            <a:off x="118306" y="4252706"/>
            <a:ext cx="2563525" cy="19930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4" name="Rectangle 43">
            <a:extLst>
              <a:ext uri="{FF2B5EF4-FFF2-40B4-BE49-F238E27FC236}">
                <a16:creationId xmlns:a16="http://schemas.microsoft.com/office/drawing/2014/main" id="{B9D829D3-3B40-61D4-1E28-63B45EB2B56F}"/>
              </a:ext>
            </a:extLst>
          </p:cNvPr>
          <p:cNvSpPr/>
          <p:nvPr/>
        </p:nvSpPr>
        <p:spPr>
          <a:xfrm>
            <a:off x="401802" y="4903373"/>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5" name="Rectangle 44">
            <a:extLst>
              <a:ext uri="{FF2B5EF4-FFF2-40B4-BE49-F238E27FC236}">
                <a16:creationId xmlns:a16="http://schemas.microsoft.com/office/drawing/2014/main" id="{6DF2406D-1598-56C6-E1F7-57A97BACB1C5}"/>
              </a:ext>
            </a:extLst>
          </p:cNvPr>
          <p:cNvSpPr/>
          <p:nvPr/>
        </p:nvSpPr>
        <p:spPr>
          <a:xfrm>
            <a:off x="401802"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0</a:t>
            </a:r>
            <a:endParaRPr lang="en-SE" dirty="0">
              <a:solidFill>
                <a:schemeClr val="accent6"/>
              </a:solidFill>
            </a:endParaRPr>
          </a:p>
        </p:txBody>
      </p:sp>
      <p:sp>
        <p:nvSpPr>
          <p:cNvPr id="46" name="Rectangle 45">
            <a:extLst>
              <a:ext uri="{FF2B5EF4-FFF2-40B4-BE49-F238E27FC236}">
                <a16:creationId xmlns:a16="http://schemas.microsoft.com/office/drawing/2014/main" id="{612B9B92-2EA4-7EE4-1493-59861F2D92A8}"/>
              </a:ext>
            </a:extLst>
          </p:cNvPr>
          <p:cNvSpPr/>
          <p:nvPr/>
        </p:nvSpPr>
        <p:spPr>
          <a:xfrm>
            <a:off x="1994382"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6"/>
                </a:solidFill>
              </a:rPr>
              <a:t>0</a:t>
            </a:r>
            <a:endParaRPr lang="en-SE">
              <a:solidFill>
                <a:schemeClr val="accent6"/>
              </a:solidFill>
            </a:endParaRPr>
          </a:p>
        </p:txBody>
      </p:sp>
      <p:grpSp>
        <p:nvGrpSpPr>
          <p:cNvPr id="48" name="Group 47">
            <a:extLst>
              <a:ext uri="{FF2B5EF4-FFF2-40B4-BE49-F238E27FC236}">
                <a16:creationId xmlns:a16="http://schemas.microsoft.com/office/drawing/2014/main" id="{6E927A4B-6A7F-EBB9-4B2D-EDECE1FDD249}"/>
              </a:ext>
            </a:extLst>
          </p:cNvPr>
          <p:cNvGrpSpPr/>
          <p:nvPr/>
        </p:nvGrpSpPr>
        <p:grpSpPr>
          <a:xfrm>
            <a:off x="944727" y="5753290"/>
            <a:ext cx="849630" cy="411480"/>
            <a:chOff x="4855755" y="5897034"/>
            <a:chExt cx="849630" cy="411480"/>
          </a:xfrm>
        </p:grpSpPr>
        <p:sp>
          <p:nvSpPr>
            <p:cNvPr id="52" name="Rectangle 51">
              <a:extLst>
                <a:ext uri="{FF2B5EF4-FFF2-40B4-BE49-F238E27FC236}">
                  <a16:creationId xmlns:a16="http://schemas.microsoft.com/office/drawing/2014/main" id="{A8009EBE-C29C-61C0-191D-807EDC3A8012}"/>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53" name="Rectangle 52">
              <a:extLst>
                <a:ext uri="{FF2B5EF4-FFF2-40B4-BE49-F238E27FC236}">
                  <a16:creationId xmlns:a16="http://schemas.microsoft.com/office/drawing/2014/main" id="{1A0D292F-29CD-B00F-4EE0-0078EADE0EFE}"/>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grpSp>
      <p:sp>
        <p:nvSpPr>
          <p:cNvPr id="54" name="Oval 53">
            <a:extLst>
              <a:ext uri="{FF2B5EF4-FFF2-40B4-BE49-F238E27FC236}">
                <a16:creationId xmlns:a16="http://schemas.microsoft.com/office/drawing/2014/main" id="{26BCC45D-332F-0F2F-C7B8-ED470F350E32}"/>
              </a:ext>
            </a:extLst>
          </p:cNvPr>
          <p:cNvSpPr/>
          <p:nvPr/>
        </p:nvSpPr>
        <p:spPr>
          <a:xfrm>
            <a:off x="528571" y="4422227"/>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55" name="Straight Connector 54">
            <a:extLst>
              <a:ext uri="{FF2B5EF4-FFF2-40B4-BE49-F238E27FC236}">
                <a16:creationId xmlns:a16="http://schemas.microsoft.com/office/drawing/2014/main" id="{A0226E73-6F80-5E22-423B-A3191DA35055}"/>
              </a:ext>
            </a:extLst>
          </p:cNvPr>
          <p:cNvCxnSpPr/>
          <p:nvPr/>
        </p:nvCxnSpPr>
        <p:spPr>
          <a:xfrm flipH="1">
            <a:off x="169046" y="4598477"/>
            <a:ext cx="2327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231AFA-CF3C-A963-25EF-C696E535AC38}"/>
              </a:ext>
            </a:extLst>
          </p:cNvPr>
          <p:cNvCxnSpPr/>
          <p:nvPr/>
        </p:nvCxnSpPr>
        <p:spPr>
          <a:xfrm flipH="1">
            <a:off x="285424" y="465692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4803D7C-5CFF-2043-5A68-D06C8788F880}"/>
              </a:ext>
            </a:extLst>
          </p:cNvPr>
          <p:cNvCxnSpPr/>
          <p:nvPr/>
        </p:nvCxnSpPr>
        <p:spPr>
          <a:xfrm flipH="1" flipV="1">
            <a:off x="285424" y="438213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ADF7A3B7-2FA0-E532-F6A9-CDD6BB45B44B}"/>
              </a:ext>
            </a:extLst>
          </p:cNvPr>
          <p:cNvSpPr/>
          <p:nvPr/>
        </p:nvSpPr>
        <p:spPr>
          <a:xfrm>
            <a:off x="5945391" y="4252706"/>
            <a:ext cx="2563525" cy="19930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74" name="Rectangle 73">
            <a:extLst>
              <a:ext uri="{FF2B5EF4-FFF2-40B4-BE49-F238E27FC236}">
                <a16:creationId xmlns:a16="http://schemas.microsoft.com/office/drawing/2014/main" id="{B8E57D5B-7C68-5633-9AFC-44F0B008592A}"/>
              </a:ext>
            </a:extLst>
          </p:cNvPr>
          <p:cNvSpPr/>
          <p:nvPr/>
        </p:nvSpPr>
        <p:spPr>
          <a:xfrm>
            <a:off x="6228887" y="4903373"/>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75" name="Rectangle 74">
            <a:extLst>
              <a:ext uri="{FF2B5EF4-FFF2-40B4-BE49-F238E27FC236}">
                <a16:creationId xmlns:a16="http://schemas.microsoft.com/office/drawing/2014/main" id="{0ABD77B7-B48B-78A7-D3BB-BF7EFE540752}"/>
              </a:ext>
            </a:extLst>
          </p:cNvPr>
          <p:cNvSpPr/>
          <p:nvPr/>
        </p:nvSpPr>
        <p:spPr>
          <a:xfrm>
            <a:off x="6228887"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0</a:t>
            </a:r>
            <a:endParaRPr lang="en-SE" dirty="0">
              <a:solidFill>
                <a:schemeClr val="accent6"/>
              </a:solidFill>
            </a:endParaRPr>
          </a:p>
        </p:txBody>
      </p:sp>
      <p:sp>
        <p:nvSpPr>
          <p:cNvPr id="76" name="Rectangle 75">
            <a:extLst>
              <a:ext uri="{FF2B5EF4-FFF2-40B4-BE49-F238E27FC236}">
                <a16:creationId xmlns:a16="http://schemas.microsoft.com/office/drawing/2014/main" id="{6719CA14-657C-B17E-3344-4319B49A3DF7}"/>
              </a:ext>
            </a:extLst>
          </p:cNvPr>
          <p:cNvSpPr/>
          <p:nvPr/>
        </p:nvSpPr>
        <p:spPr>
          <a:xfrm>
            <a:off x="7821467"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6"/>
                </a:solidFill>
              </a:rPr>
              <a:t>0</a:t>
            </a:r>
            <a:endParaRPr lang="en-SE">
              <a:solidFill>
                <a:schemeClr val="accent6"/>
              </a:solidFill>
            </a:endParaRPr>
          </a:p>
        </p:txBody>
      </p:sp>
      <p:grpSp>
        <p:nvGrpSpPr>
          <p:cNvPr id="77" name="Group 76">
            <a:extLst>
              <a:ext uri="{FF2B5EF4-FFF2-40B4-BE49-F238E27FC236}">
                <a16:creationId xmlns:a16="http://schemas.microsoft.com/office/drawing/2014/main" id="{BF6A59A4-34E2-B07A-7419-4DDAC849417B}"/>
              </a:ext>
            </a:extLst>
          </p:cNvPr>
          <p:cNvGrpSpPr/>
          <p:nvPr/>
        </p:nvGrpSpPr>
        <p:grpSpPr>
          <a:xfrm>
            <a:off x="6771812" y="5753290"/>
            <a:ext cx="849630" cy="424460"/>
            <a:chOff x="4855755" y="5897034"/>
            <a:chExt cx="849630" cy="424460"/>
          </a:xfrm>
        </p:grpSpPr>
        <p:grpSp>
          <p:nvGrpSpPr>
            <p:cNvPr id="78" name="Group 77">
              <a:extLst>
                <a:ext uri="{FF2B5EF4-FFF2-40B4-BE49-F238E27FC236}">
                  <a16:creationId xmlns:a16="http://schemas.microsoft.com/office/drawing/2014/main" id="{3A75E07A-A3B4-0509-B1F8-7D5F0DE29835}"/>
                </a:ext>
              </a:extLst>
            </p:cNvPr>
            <p:cNvGrpSpPr/>
            <p:nvPr/>
          </p:nvGrpSpPr>
          <p:grpSpPr>
            <a:xfrm>
              <a:off x="4855755" y="5897034"/>
              <a:ext cx="849630" cy="411480"/>
              <a:chOff x="4855755" y="5897034"/>
              <a:chExt cx="849630" cy="411480"/>
            </a:xfrm>
          </p:grpSpPr>
          <p:sp>
            <p:nvSpPr>
              <p:cNvPr id="82" name="Rectangle 81">
                <a:extLst>
                  <a:ext uri="{FF2B5EF4-FFF2-40B4-BE49-F238E27FC236}">
                    <a16:creationId xmlns:a16="http://schemas.microsoft.com/office/drawing/2014/main" id="{C71C2D05-07C1-7BCE-6B81-504448E65546}"/>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83" name="Rectangle 82">
                <a:extLst>
                  <a:ext uri="{FF2B5EF4-FFF2-40B4-BE49-F238E27FC236}">
                    <a16:creationId xmlns:a16="http://schemas.microsoft.com/office/drawing/2014/main" id="{B321F1EB-BC6F-75A4-5131-9E5812C692CF}"/>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grpSp>
        <p:grpSp>
          <p:nvGrpSpPr>
            <p:cNvPr id="79" name="Group 78">
              <a:extLst>
                <a:ext uri="{FF2B5EF4-FFF2-40B4-BE49-F238E27FC236}">
                  <a16:creationId xmlns:a16="http://schemas.microsoft.com/office/drawing/2014/main" id="{AFB1B2EE-0349-91DD-EF8A-D94D69168EAC}"/>
                </a:ext>
              </a:extLst>
            </p:cNvPr>
            <p:cNvGrpSpPr/>
            <p:nvPr/>
          </p:nvGrpSpPr>
          <p:grpSpPr>
            <a:xfrm>
              <a:off x="4855755" y="5978593"/>
              <a:ext cx="849630" cy="342901"/>
              <a:chOff x="7368540" y="4794551"/>
              <a:chExt cx="849630" cy="342901"/>
            </a:xfrm>
          </p:grpSpPr>
          <p:pic>
            <p:nvPicPr>
              <p:cNvPr id="80" name="Picture Placeholder 49">
                <a:extLst>
                  <a:ext uri="{FF2B5EF4-FFF2-40B4-BE49-F238E27FC236}">
                    <a16:creationId xmlns:a16="http://schemas.microsoft.com/office/drawing/2014/main" id="{8D5B4E07-8FEC-19A8-D580-5BFD7503542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10" b="110"/>
              <a:stretch>
                <a:fillRect/>
              </a:stretch>
            </p:blipFill>
            <p:spPr>
              <a:xfrm>
                <a:off x="7368540" y="4794551"/>
                <a:ext cx="342901" cy="342901"/>
              </a:xfrm>
              <a:prstGeom prst="rect">
                <a:avLst/>
              </a:prstGeom>
            </p:spPr>
          </p:pic>
          <p:pic>
            <p:nvPicPr>
              <p:cNvPr id="81" name="Picture Placeholder 57">
                <a:extLst>
                  <a:ext uri="{FF2B5EF4-FFF2-40B4-BE49-F238E27FC236}">
                    <a16:creationId xmlns:a16="http://schemas.microsoft.com/office/drawing/2014/main" id="{3DE24861-BDE5-E16E-38A4-6E7F639B97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10" b="110"/>
              <a:stretch>
                <a:fillRect/>
              </a:stretch>
            </p:blipFill>
            <p:spPr>
              <a:xfrm>
                <a:off x="7875270" y="4794551"/>
                <a:ext cx="342900" cy="342900"/>
              </a:xfrm>
              <a:prstGeom prst="rect">
                <a:avLst/>
              </a:prstGeom>
            </p:spPr>
          </p:pic>
        </p:grpSp>
      </p:grpSp>
      <p:sp>
        <p:nvSpPr>
          <p:cNvPr id="84" name="Oval 83">
            <a:extLst>
              <a:ext uri="{FF2B5EF4-FFF2-40B4-BE49-F238E27FC236}">
                <a16:creationId xmlns:a16="http://schemas.microsoft.com/office/drawing/2014/main" id="{5B21DA3E-BDD6-C92E-76EF-FFAE43666004}"/>
              </a:ext>
            </a:extLst>
          </p:cNvPr>
          <p:cNvSpPr/>
          <p:nvPr/>
        </p:nvSpPr>
        <p:spPr>
          <a:xfrm>
            <a:off x="6355656" y="4422227"/>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85" name="Straight Connector 84">
            <a:extLst>
              <a:ext uri="{FF2B5EF4-FFF2-40B4-BE49-F238E27FC236}">
                <a16:creationId xmlns:a16="http://schemas.microsoft.com/office/drawing/2014/main" id="{BC57EF7D-F29E-D6E5-97AB-4B9F5FA0941D}"/>
              </a:ext>
            </a:extLst>
          </p:cNvPr>
          <p:cNvCxnSpPr/>
          <p:nvPr/>
        </p:nvCxnSpPr>
        <p:spPr>
          <a:xfrm flipH="1">
            <a:off x="5996131" y="4598477"/>
            <a:ext cx="2327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8D8B3BED-B349-41B6-8022-7D8592D5EE4B}"/>
              </a:ext>
            </a:extLst>
          </p:cNvPr>
          <p:cNvCxnSpPr/>
          <p:nvPr/>
        </p:nvCxnSpPr>
        <p:spPr>
          <a:xfrm flipH="1">
            <a:off x="6112509" y="465692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08F9FF9-1C56-9414-7857-165E64019EC8}"/>
              </a:ext>
            </a:extLst>
          </p:cNvPr>
          <p:cNvCxnSpPr/>
          <p:nvPr/>
        </p:nvCxnSpPr>
        <p:spPr>
          <a:xfrm flipH="1" flipV="1">
            <a:off x="6112509" y="438213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67CA4F71-B5B4-8052-F617-6F426EC82BCC}"/>
              </a:ext>
            </a:extLst>
          </p:cNvPr>
          <p:cNvSpPr/>
          <p:nvPr/>
        </p:nvSpPr>
        <p:spPr>
          <a:xfrm>
            <a:off x="8831698" y="4252706"/>
            <a:ext cx="2563525" cy="19930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89" name="Rectangle 88">
            <a:extLst>
              <a:ext uri="{FF2B5EF4-FFF2-40B4-BE49-F238E27FC236}">
                <a16:creationId xmlns:a16="http://schemas.microsoft.com/office/drawing/2014/main" id="{00D2E9FC-F61E-1A35-1347-01E25F419164}"/>
              </a:ext>
            </a:extLst>
          </p:cNvPr>
          <p:cNvSpPr/>
          <p:nvPr/>
        </p:nvSpPr>
        <p:spPr>
          <a:xfrm>
            <a:off x="9115194" y="4903373"/>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90" name="Rectangle 89">
            <a:extLst>
              <a:ext uri="{FF2B5EF4-FFF2-40B4-BE49-F238E27FC236}">
                <a16:creationId xmlns:a16="http://schemas.microsoft.com/office/drawing/2014/main" id="{0B1BAB65-7F46-BB08-2F56-571F075AA2BD}"/>
              </a:ext>
            </a:extLst>
          </p:cNvPr>
          <p:cNvSpPr/>
          <p:nvPr/>
        </p:nvSpPr>
        <p:spPr>
          <a:xfrm>
            <a:off x="9115194"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0</a:t>
            </a:r>
            <a:endParaRPr lang="en-SE" dirty="0">
              <a:solidFill>
                <a:schemeClr val="accent6"/>
              </a:solidFill>
            </a:endParaRPr>
          </a:p>
        </p:txBody>
      </p:sp>
      <p:sp>
        <p:nvSpPr>
          <p:cNvPr id="91" name="Rectangle 90">
            <a:extLst>
              <a:ext uri="{FF2B5EF4-FFF2-40B4-BE49-F238E27FC236}">
                <a16:creationId xmlns:a16="http://schemas.microsoft.com/office/drawing/2014/main" id="{254694F4-C5EB-1F5B-0DB3-CEDDF55ADA84}"/>
              </a:ext>
            </a:extLst>
          </p:cNvPr>
          <p:cNvSpPr/>
          <p:nvPr/>
        </p:nvSpPr>
        <p:spPr>
          <a:xfrm>
            <a:off x="10707774"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6"/>
                </a:solidFill>
              </a:rPr>
              <a:t>0</a:t>
            </a:r>
            <a:endParaRPr lang="en-SE">
              <a:solidFill>
                <a:schemeClr val="accent6"/>
              </a:solidFill>
            </a:endParaRPr>
          </a:p>
        </p:txBody>
      </p:sp>
      <p:grpSp>
        <p:nvGrpSpPr>
          <p:cNvPr id="92" name="Group 91">
            <a:extLst>
              <a:ext uri="{FF2B5EF4-FFF2-40B4-BE49-F238E27FC236}">
                <a16:creationId xmlns:a16="http://schemas.microsoft.com/office/drawing/2014/main" id="{76EE25ED-AD63-5A18-449F-A9A8721A6254}"/>
              </a:ext>
            </a:extLst>
          </p:cNvPr>
          <p:cNvGrpSpPr/>
          <p:nvPr/>
        </p:nvGrpSpPr>
        <p:grpSpPr>
          <a:xfrm>
            <a:off x="9658119" y="5753290"/>
            <a:ext cx="849630" cy="424460"/>
            <a:chOff x="4855755" y="5897034"/>
            <a:chExt cx="849630" cy="424460"/>
          </a:xfrm>
        </p:grpSpPr>
        <p:grpSp>
          <p:nvGrpSpPr>
            <p:cNvPr id="93" name="Group 92">
              <a:extLst>
                <a:ext uri="{FF2B5EF4-FFF2-40B4-BE49-F238E27FC236}">
                  <a16:creationId xmlns:a16="http://schemas.microsoft.com/office/drawing/2014/main" id="{A9A5BF2E-A6B9-C5B0-9478-2657F8125786}"/>
                </a:ext>
              </a:extLst>
            </p:cNvPr>
            <p:cNvGrpSpPr/>
            <p:nvPr/>
          </p:nvGrpSpPr>
          <p:grpSpPr>
            <a:xfrm>
              <a:off x="4855755" y="5897034"/>
              <a:ext cx="849630" cy="411480"/>
              <a:chOff x="4855755" y="5897034"/>
              <a:chExt cx="849630" cy="411480"/>
            </a:xfrm>
          </p:grpSpPr>
          <p:sp>
            <p:nvSpPr>
              <p:cNvPr id="97" name="Rectangle 96">
                <a:extLst>
                  <a:ext uri="{FF2B5EF4-FFF2-40B4-BE49-F238E27FC236}">
                    <a16:creationId xmlns:a16="http://schemas.microsoft.com/office/drawing/2014/main" id="{755E6B15-474E-E8C6-6A0E-7A71CBA2AABA}"/>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98" name="Rectangle 97">
                <a:extLst>
                  <a:ext uri="{FF2B5EF4-FFF2-40B4-BE49-F238E27FC236}">
                    <a16:creationId xmlns:a16="http://schemas.microsoft.com/office/drawing/2014/main" id="{4E8B5862-644E-B891-7BFF-6EB8D057C4FC}"/>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grpSp>
        <p:grpSp>
          <p:nvGrpSpPr>
            <p:cNvPr id="94" name="Group 93">
              <a:extLst>
                <a:ext uri="{FF2B5EF4-FFF2-40B4-BE49-F238E27FC236}">
                  <a16:creationId xmlns:a16="http://schemas.microsoft.com/office/drawing/2014/main" id="{39F341A7-CA98-59B5-C1CD-11B95422A27D}"/>
                </a:ext>
              </a:extLst>
            </p:cNvPr>
            <p:cNvGrpSpPr/>
            <p:nvPr/>
          </p:nvGrpSpPr>
          <p:grpSpPr>
            <a:xfrm>
              <a:off x="4855755" y="5978593"/>
              <a:ext cx="849630" cy="342901"/>
              <a:chOff x="7368540" y="4794551"/>
              <a:chExt cx="849630" cy="342901"/>
            </a:xfrm>
          </p:grpSpPr>
          <p:pic>
            <p:nvPicPr>
              <p:cNvPr id="95" name="Picture Placeholder 49">
                <a:extLst>
                  <a:ext uri="{FF2B5EF4-FFF2-40B4-BE49-F238E27FC236}">
                    <a16:creationId xmlns:a16="http://schemas.microsoft.com/office/drawing/2014/main" id="{C05EFCE9-9E99-FDBF-D7FE-B73C23E7370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10" b="110"/>
              <a:stretch>
                <a:fillRect/>
              </a:stretch>
            </p:blipFill>
            <p:spPr>
              <a:xfrm>
                <a:off x="7368540" y="4794551"/>
                <a:ext cx="342901" cy="342901"/>
              </a:xfrm>
              <a:prstGeom prst="rect">
                <a:avLst/>
              </a:prstGeom>
            </p:spPr>
          </p:pic>
          <p:pic>
            <p:nvPicPr>
              <p:cNvPr id="96" name="Picture Placeholder 57">
                <a:extLst>
                  <a:ext uri="{FF2B5EF4-FFF2-40B4-BE49-F238E27FC236}">
                    <a16:creationId xmlns:a16="http://schemas.microsoft.com/office/drawing/2014/main" id="{2310359C-935F-3A3C-F762-B41D8DE4D0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10" b="110"/>
              <a:stretch>
                <a:fillRect/>
              </a:stretch>
            </p:blipFill>
            <p:spPr>
              <a:xfrm>
                <a:off x="7875270" y="4794551"/>
                <a:ext cx="342900" cy="342900"/>
              </a:xfrm>
              <a:prstGeom prst="rect">
                <a:avLst/>
              </a:prstGeom>
            </p:spPr>
          </p:pic>
        </p:grpSp>
      </p:grpSp>
      <p:sp>
        <p:nvSpPr>
          <p:cNvPr id="99" name="Oval 98">
            <a:extLst>
              <a:ext uri="{FF2B5EF4-FFF2-40B4-BE49-F238E27FC236}">
                <a16:creationId xmlns:a16="http://schemas.microsoft.com/office/drawing/2014/main" id="{97C6C728-188F-CA8C-E078-4DCBBDC30BCB}"/>
              </a:ext>
            </a:extLst>
          </p:cNvPr>
          <p:cNvSpPr/>
          <p:nvPr/>
        </p:nvSpPr>
        <p:spPr>
          <a:xfrm>
            <a:off x="9241963" y="4422227"/>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100" name="Straight Connector 99">
            <a:extLst>
              <a:ext uri="{FF2B5EF4-FFF2-40B4-BE49-F238E27FC236}">
                <a16:creationId xmlns:a16="http://schemas.microsoft.com/office/drawing/2014/main" id="{7418FE7C-9CFC-AC67-A65B-45DA233456E8}"/>
              </a:ext>
            </a:extLst>
          </p:cNvPr>
          <p:cNvCxnSpPr/>
          <p:nvPr/>
        </p:nvCxnSpPr>
        <p:spPr>
          <a:xfrm flipH="1">
            <a:off x="8882438" y="4598477"/>
            <a:ext cx="2327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D2E28B97-6ED6-61BC-3D9B-E56927C13AD8}"/>
              </a:ext>
            </a:extLst>
          </p:cNvPr>
          <p:cNvCxnSpPr/>
          <p:nvPr/>
        </p:nvCxnSpPr>
        <p:spPr>
          <a:xfrm flipH="1">
            <a:off x="8998816" y="465692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5C251FC8-C852-8862-060F-79554F024AD9}"/>
              </a:ext>
            </a:extLst>
          </p:cNvPr>
          <p:cNvCxnSpPr/>
          <p:nvPr/>
        </p:nvCxnSpPr>
        <p:spPr>
          <a:xfrm flipH="1" flipV="1">
            <a:off x="8998816" y="438213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0376641"/>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9" name="CustomShape 196"/>
          <p:cNvSpPr/>
          <p:nvPr/>
        </p:nvSpPr>
        <p:spPr>
          <a:xfrm>
            <a:off x="495720" y="328680"/>
            <a:ext cx="3186720" cy="534240"/>
          </a:xfrm>
          <a:prstGeom prst="rect">
            <a:avLst/>
          </a:prstGeom>
          <a:noFill/>
          <a:ln w="12600">
            <a:noFill/>
          </a:ln>
        </p:spPr>
        <p:style>
          <a:lnRef idx="0">
            <a:scrgbClr r="0" g="0" b="0"/>
          </a:lnRef>
          <a:fillRef idx="0">
            <a:scrgbClr r="0" g="0" b="0"/>
          </a:fillRef>
          <a:effectRef idx="0">
            <a:scrgbClr r="0" g="0" b="0"/>
          </a:effectRef>
          <a:fontRef idx="minor"/>
        </p:style>
        <p:txBody>
          <a:bodyPr lIns="72000" tIns="36000" rIns="73080" bIns="36720"/>
          <a:lstStyle/>
          <a:p>
            <a:pPr>
              <a:lnSpc>
                <a:spcPct val="100000"/>
              </a:lnSpc>
            </a:pPr>
            <a:r>
              <a:rPr lang="sv-SE" sz="4000" b="0" strike="noStrike" spc="-1">
                <a:solidFill>
                  <a:srgbClr val="181818"/>
                </a:solidFill>
                <a:uFill>
                  <a:solidFill>
                    <a:srgbClr val="FFFFFF"/>
                  </a:solidFill>
                </a:uFill>
                <a:latin typeface="Ericsson Hilda"/>
              </a:rPr>
              <a:t>Spelmekanik</a:t>
            </a:r>
            <a:endParaRPr lang="sv-SE" sz="4000" b="0" strike="noStrike" spc="-1">
              <a:solidFill>
                <a:srgbClr val="000000"/>
              </a:solidFill>
              <a:uFill>
                <a:solidFill>
                  <a:srgbClr val="FFFFFF"/>
                </a:solidFill>
              </a:uFill>
              <a:latin typeface="Arial"/>
            </a:endParaRPr>
          </a:p>
        </p:txBody>
      </p:sp>
      <p:sp>
        <p:nvSpPr>
          <p:cNvPr id="1110" name="Rectangle 1109">
            <a:extLst>
              <a:ext uri="{FF2B5EF4-FFF2-40B4-BE49-F238E27FC236}">
                <a16:creationId xmlns:a16="http://schemas.microsoft.com/office/drawing/2014/main" id="{74D20775-402D-4802-A3BA-22E3763FD413}"/>
              </a:ext>
            </a:extLst>
          </p:cNvPr>
          <p:cNvSpPr/>
          <p:nvPr/>
        </p:nvSpPr>
        <p:spPr>
          <a:xfrm>
            <a:off x="11277600" y="309217"/>
            <a:ext cx="649357" cy="506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0" name="Rectangle 9">
            <a:extLst>
              <a:ext uri="{FF2B5EF4-FFF2-40B4-BE49-F238E27FC236}">
                <a16:creationId xmlns:a16="http://schemas.microsoft.com/office/drawing/2014/main" id="{6EF9F996-B0E4-4CC8-BCB5-8CBDFF77E898}"/>
              </a:ext>
            </a:extLst>
          </p:cNvPr>
          <p:cNvSpPr/>
          <p:nvPr/>
        </p:nvSpPr>
        <p:spPr>
          <a:xfrm>
            <a:off x="3033711" y="4252706"/>
            <a:ext cx="2563525" cy="19930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1" name="Rectangle 10">
            <a:extLst>
              <a:ext uri="{FF2B5EF4-FFF2-40B4-BE49-F238E27FC236}">
                <a16:creationId xmlns:a16="http://schemas.microsoft.com/office/drawing/2014/main" id="{C651408D-4C61-4F51-A7FD-D866AB775722}"/>
              </a:ext>
            </a:extLst>
          </p:cNvPr>
          <p:cNvSpPr/>
          <p:nvPr/>
        </p:nvSpPr>
        <p:spPr>
          <a:xfrm>
            <a:off x="3317207" y="4903373"/>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14" name="Rectangle 413">
            <a:extLst>
              <a:ext uri="{FF2B5EF4-FFF2-40B4-BE49-F238E27FC236}">
                <a16:creationId xmlns:a16="http://schemas.microsoft.com/office/drawing/2014/main" id="{6E70624B-820D-45A7-9DB8-2166056F1374}"/>
              </a:ext>
            </a:extLst>
          </p:cNvPr>
          <p:cNvSpPr/>
          <p:nvPr/>
        </p:nvSpPr>
        <p:spPr>
          <a:xfrm>
            <a:off x="3317207"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0</a:t>
            </a:r>
            <a:endParaRPr lang="en-SE" dirty="0">
              <a:solidFill>
                <a:schemeClr val="accent6"/>
              </a:solidFill>
            </a:endParaRPr>
          </a:p>
        </p:txBody>
      </p:sp>
      <p:sp>
        <p:nvSpPr>
          <p:cNvPr id="415" name="Rectangle 414">
            <a:extLst>
              <a:ext uri="{FF2B5EF4-FFF2-40B4-BE49-F238E27FC236}">
                <a16:creationId xmlns:a16="http://schemas.microsoft.com/office/drawing/2014/main" id="{66391A57-C7E4-4726-917D-6BEE196AD60C}"/>
              </a:ext>
            </a:extLst>
          </p:cNvPr>
          <p:cNvSpPr/>
          <p:nvPr/>
        </p:nvSpPr>
        <p:spPr>
          <a:xfrm>
            <a:off x="4909787"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6"/>
                </a:solidFill>
              </a:rPr>
              <a:t>0</a:t>
            </a:r>
            <a:endParaRPr lang="en-SE">
              <a:solidFill>
                <a:schemeClr val="accent6"/>
              </a:solidFill>
            </a:endParaRPr>
          </a:p>
        </p:txBody>
      </p:sp>
      <p:grpSp>
        <p:nvGrpSpPr>
          <p:cNvPr id="15" name="Group 14">
            <a:extLst>
              <a:ext uri="{FF2B5EF4-FFF2-40B4-BE49-F238E27FC236}">
                <a16:creationId xmlns:a16="http://schemas.microsoft.com/office/drawing/2014/main" id="{30AE0F30-8DAA-8D0E-6763-900B13609EB3}"/>
              </a:ext>
            </a:extLst>
          </p:cNvPr>
          <p:cNvGrpSpPr/>
          <p:nvPr/>
        </p:nvGrpSpPr>
        <p:grpSpPr>
          <a:xfrm>
            <a:off x="3860132" y="5753290"/>
            <a:ext cx="849630" cy="424460"/>
            <a:chOff x="4855755" y="5897034"/>
            <a:chExt cx="849630" cy="424460"/>
          </a:xfrm>
        </p:grpSpPr>
        <p:grpSp>
          <p:nvGrpSpPr>
            <p:cNvPr id="14" name="Group 13">
              <a:extLst>
                <a:ext uri="{FF2B5EF4-FFF2-40B4-BE49-F238E27FC236}">
                  <a16:creationId xmlns:a16="http://schemas.microsoft.com/office/drawing/2014/main" id="{004DDBE9-F609-9AE9-07A8-D8B96A5BCD7B}"/>
                </a:ext>
              </a:extLst>
            </p:cNvPr>
            <p:cNvGrpSpPr/>
            <p:nvPr/>
          </p:nvGrpSpPr>
          <p:grpSpPr>
            <a:xfrm>
              <a:off x="4855755" y="5897034"/>
              <a:ext cx="849630" cy="411480"/>
              <a:chOff x="4855755" y="5897034"/>
              <a:chExt cx="849630" cy="411480"/>
            </a:xfrm>
          </p:grpSpPr>
          <p:sp>
            <p:nvSpPr>
              <p:cNvPr id="416" name="Rectangle 415">
                <a:extLst>
                  <a:ext uri="{FF2B5EF4-FFF2-40B4-BE49-F238E27FC236}">
                    <a16:creationId xmlns:a16="http://schemas.microsoft.com/office/drawing/2014/main" id="{332C25AE-26CC-4BEA-BB1D-470A85712EF1}"/>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17" name="Rectangle 416">
                <a:extLst>
                  <a:ext uri="{FF2B5EF4-FFF2-40B4-BE49-F238E27FC236}">
                    <a16:creationId xmlns:a16="http://schemas.microsoft.com/office/drawing/2014/main" id="{69EB01B7-7DC1-49E7-8F88-B72ED4FC5E4C}"/>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grpSp>
        <p:grpSp>
          <p:nvGrpSpPr>
            <p:cNvPr id="12" name="Group 11">
              <a:extLst>
                <a:ext uri="{FF2B5EF4-FFF2-40B4-BE49-F238E27FC236}">
                  <a16:creationId xmlns:a16="http://schemas.microsoft.com/office/drawing/2014/main" id="{F3D80BE7-867D-ECAC-A695-147DE7389305}"/>
                </a:ext>
              </a:extLst>
            </p:cNvPr>
            <p:cNvGrpSpPr/>
            <p:nvPr/>
          </p:nvGrpSpPr>
          <p:grpSpPr>
            <a:xfrm>
              <a:off x="4855755" y="5978593"/>
              <a:ext cx="849630" cy="342901"/>
              <a:chOff x="7368540" y="4794551"/>
              <a:chExt cx="849630" cy="342901"/>
            </a:xfrm>
          </p:grpSpPr>
          <p:pic>
            <p:nvPicPr>
              <p:cNvPr id="418" name="Picture Placeholder 49">
                <a:extLst>
                  <a:ext uri="{FF2B5EF4-FFF2-40B4-BE49-F238E27FC236}">
                    <a16:creationId xmlns:a16="http://schemas.microsoft.com/office/drawing/2014/main" id="{8DF8607A-F34F-47CE-9F9F-AA7872A7AA0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10" b="110"/>
              <a:stretch>
                <a:fillRect/>
              </a:stretch>
            </p:blipFill>
            <p:spPr>
              <a:xfrm>
                <a:off x="7368540" y="4794551"/>
                <a:ext cx="342901" cy="342901"/>
              </a:xfrm>
              <a:prstGeom prst="rect">
                <a:avLst/>
              </a:prstGeom>
            </p:spPr>
          </p:pic>
          <p:pic>
            <p:nvPicPr>
              <p:cNvPr id="419" name="Picture Placeholder 57">
                <a:extLst>
                  <a:ext uri="{FF2B5EF4-FFF2-40B4-BE49-F238E27FC236}">
                    <a16:creationId xmlns:a16="http://schemas.microsoft.com/office/drawing/2014/main" id="{250AF66A-E695-46AA-B50F-CE65E2A363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10" b="110"/>
              <a:stretch>
                <a:fillRect/>
              </a:stretch>
            </p:blipFill>
            <p:spPr>
              <a:xfrm>
                <a:off x="7875270" y="4794551"/>
                <a:ext cx="342900" cy="342900"/>
              </a:xfrm>
              <a:prstGeom prst="rect">
                <a:avLst/>
              </a:prstGeom>
            </p:spPr>
          </p:pic>
        </p:grpSp>
      </p:grpSp>
      <p:sp>
        <p:nvSpPr>
          <p:cNvPr id="1882" name="Oval 1881">
            <a:extLst>
              <a:ext uri="{FF2B5EF4-FFF2-40B4-BE49-F238E27FC236}">
                <a16:creationId xmlns:a16="http://schemas.microsoft.com/office/drawing/2014/main" id="{CB682833-4826-48B1-A7A8-6F9F41CEF769}"/>
              </a:ext>
            </a:extLst>
          </p:cNvPr>
          <p:cNvSpPr/>
          <p:nvPr/>
        </p:nvSpPr>
        <p:spPr>
          <a:xfrm>
            <a:off x="3443976" y="4422227"/>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5" name="Straight Connector 4">
            <a:extLst>
              <a:ext uri="{FF2B5EF4-FFF2-40B4-BE49-F238E27FC236}">
                <a16:creationId xmlns:a16="http://schemas.microsoft.com/office/drawing/2014/main" id="{5F102939-5D57-0FC6-44AD-742E08D724D1}"/>
              </a:ext>
            </a:extLst>
          </p:cNvPr>
          <p:cNvCxnSpPr/>
          <p:nvPr/>
        </p:nvCxnSpPr>
        <p:spPr>
          <a:xfrm flipH="1">
            <a:off x="3084451" y="4598477"/>
            <a:ext cx="2327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B6E9552-4BC6-D980-BE8A-DB96CB5C0E90}"/>
              </a:ext>
            </a:extLst>
          </p:cNvPr>
          <p:cNvCxnSpPr/>
          <p:nvPr/>
        </p:nvCxnSpPr>
        <p:spPr>
          <a:xfrm flipH="1">
            <a:off x="3200829" y="465692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903E2AD-E3CF-57C8-1029-9B689348A555}"/>
              </a:ext>
            </a:extLst>
          </p:cNvPr>
          <p:cNvCxnSpPr/>
          <p:nvPr/>
        </p:nvCxnSpPr>
        <p:spPr>
          <a:xfrm flipH="1" flipV="1">
            <a:off x="3200829" y="438213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36" name="Picture 35">
            <a:extLst>
              <a:ext uri="{FF2B5EF4-FFF2-40B4-BE49-F238E27FC236}">
                <a16:creationId xmlns:a16="http://schemas.microsoft.com/office/drawing/2014/main" id="{5180B81E-BAFE-8E6B-6929-D7BCD7B75612}"/>
              </a:ext>
            </a:extLst>
          </p:cNvPr>
          <p:cNvPicPr>
            <a:picLocks noChangeAspect="1"/>
          </p:cNvPicPr>
          <p:nvPr/>
        </p:nvPicPr>
        <p:blipFill rotWithShape="1">
          <a:blip r:embed="rId6"/>
          <a:srcRect r="66344"/>
          <a:stretch/>
        </p:blipFill>
        <p:spPr>
          <a:xfrm>
            <a:off x="8831698" y="1595493"/>
            <a:ext cx="2563525" cy="2281156"/>
          </a:xfrm>
          <a:prstGeom prst="rect">
            <a:avLst/>
          </a:prstGeom>
        </p:spPr>
      </p:pic>
      <p:pic>
        <p:nvPicPr>
          <p:cNvPr id="37" name="Picture 36">
            <a:extLst>
              <a:ext uri="{FF2B5EF4-FFF2-40B4-BE49-F238E27FC236}">
                <a16:creationId xmlns:a16="http://schemas.microsoft.com/office/drawing/2014/main" id="{B52A0456-8812-6E4B-2433-0155C78785F1}"/>
              </a:ext>
            </a:extLst>
          </p:cNvPr>
          <p:cNvPicPr>
            <a:picLocks noChangeAspect="1"/>
          </p:cNvPicPr>
          <p:nvPr/>
        </p:nvPicPr>
        <p:blipFill rotWithShape="1">
          <a:blip r:embed="rId7"/>
          <a:srcRect r="66482"/>
          <a:stretch/>
        </p:blipFill>
        <p:spPr>
          <a:xfrm>
            <a:off x="5945391" y="1608785"/>
            <a:ext cx="2538153" cy="2267864"/>
          </a:xfrm>
          <a:prstGeom prst="rect">
            <a:avLst/>
          </a:prstGeom>
        </p:spPr>
      </p:pic>
      <p:pic>
        <p:nvPicPr>
          <p:cNvPr id="38" name="Picture 37">
            <a:extLst>
              <a:ext uri="{FF2B5EF4-FFF2-40B4-BE49-F238E27FC236}">
                <a16:creationId xmlns:a16="http://schemas.microsoft.com/office/drawing/2014/main" id="{56221977-C61F-7B03-6C8A-F849B98256AF}"/>
              </a:ext>
            </a:extLst>
          </p:cNvPr>
          <p:cNvPicPr>
            <a:picLocks noChangeAspect="1"/>
          </p:cNvPicPr>
          <p:nvPr/>
        </p:nvPicPr>
        <p:blipFill rotWithShape="1">
          <a:blip r:embed="rId8"/>
          <a:srcRect r="66250"/>
          <a:stretch/>
        </p:blipFill>
        <p:spPr>
          <a:xfrm>
            <a:off x="3033712" y="1608785"/>
            <a:ext cx="2563525" cy="2274805"/>
          </a:xfrm>
          <a:prstGeom prst="rect">
            <a:avLst/>
          </a:prstGeom>
        </p:spPr>
      </p:pic>
      <p:pic>
        <p:nvPicPr>
          <p:cNvPr id="42" name="Picture 41">
            <a:extLst>
              <a:ext uri="{FF2B5EF4-FFF2-40B4-BE49-F238E27FC236}">
                <a16:creationId xmlns:a16="http://schemas.microsoft.com/office/drawing/2014/main" id="{7AD7CC39-C907-0507-6ED2-DC4D5EF4DBC6}"/>
              </a:ext>
            </a:extLst>
          </p:cNvPr>
          <p:cNvPicPr>
            <a:picLocks noChangeAspect="1"/>
          </p:cNvPicPr>
          <p:nvPr/>
        </p:nvPicPr>
        <p:blipFill>
          <a:blip r:embed="rId9"/>
          <a:stretch>
            <a:fillRect/>
          </a:stretch>
        </p:blipFill>
        <p:spPr>
          <a:xfrm>
            <a:off x="124778" y="1608785"/>
            <a:ext cx="2560780" cy="2274805"/>
          </a:xfrm>
          <a:prstGeom prst="rect">
            <a:avLst/>
          </a:prstGeom>
        </p:spPr>
      </p:pic>
      <p:sp>
        <p:nvSpPr>
          <p:cNvPr id="43" name="Rectangle 42">
            <a:extLst>
              <a:ext uri="{FF2B5EF4-FFF2-40B4-BE49-F238E27FC236}">
                <a16:creationId xmlns:a16="http://schemas.microsoft.com/office/drawing/2014/main" id="{916C7F7D-11E3-E8C4-77B2-1F94AAF35F20}"/>
              </a:ext>
            </a:extLst>
          </p:cNvPr>
          <p:cNvSpPr/>
          <p:nvPr/>
        </p:nvSpPr>
        <p:spPr>
          <a:xfrm>
            <a:off x="118306" y="4252706"/>
            <a:ext cx="2563525" cy="19930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4" name="Rectangle 43">
            <a:extLst>
              <a:ext uri="{FF2B5EF4-FFF2-40B4-BE49-F238E27FC236}">
                <a16:creationId xmlns:a16="http://schemas.microsoft.com/office/drawing/2014/main" id="{B9D829D3-3B40-61D4-1E28-63B45EB2B56F}"/>
              </a:ext>
            </a:extLst>
          </p:cNvPr>
          <p:cNvSpPr/>
          <p:nvPr/>
        </p:nvSpPr>
        <p:spPr>
          <a:xfrm>
            <a:off x="401802" y="4903373"/>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5" name="Rectangle 44">
            <a:extLst>
              <a:ext uri="{FF2B5EF4-FFF2-40B4-BE49-F238E27FC236}">
                <a16:creationId xmlns:a16="http://schemas.microsoft.com/office/drawing/2014/main" id="{6DF2406D-1598-56C6-E1F7-57A97BACB1C5}"/>
              </a:ext>
            </a:extLst>
          </p:cNvPr>
          <p:cNvSpPr/>
          <p:nvPr/>
        </p:nvSpPr>
        <p:spPr>
          <a:xfrm>
            <a:off x="401802"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0</a:t>
            </a:r>
            <a:endParaRPr lang="en-SE" dirty="0">
              <a:solidFill>
                <a:schemeClr val="accent6"/>
              </a:solidFill>
            </a:endParaRPr>
          </a:p>
        </p:txBody>
      </p:sp>
      <p:sp>
        <p:nvSpPr>
          <p:cNvPr id="46" name="Rectangle 45">
            <a:extLst>
              <a:ext uri="{FF2B5EF4-FFF2-40B4-BE49-F238E27FC236}">
                <a16:creationId xmlns:a16="http://schemas.microsoft.com/office/drawing/2014/main" id="{612B9B92-2EA4-7EE4-1493-59861F2D92A8}"/>
              </a:ext>
            </a:extLst>
          </p:cNvPr>
          <p:cNvSpPr/>
          <p:nvPr/>
        </p:nvSpPr>
        <p:spPr>
          <a:xfrm>
            <a:off x="1994382"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6"/>
                </a:solidFill>
              </a:rPr>
              <a:t>0</a:t>
            </a:r>
            <a:endParaRPr lang="en-SE">
              <a:solidFill>
                <a:schemeClr val="accent6"/>
              </a:solidFill>
            </a:endParaRPr>
          </a:p>
        </p:txBody>
      </p:sp>
      <p:grpSp>
        <p:nvGrpSpPr>
          <p:cNvPr id="48" name="Group 47">
            <a:extLst>
              <a:ext uri="{FF2B5EF4-FFF2-40B4-BE49-F238E27FC236}">
                <a16:creationId xmlns:a16="http://schemas.microsoft.com/office/drawing/2014/main" id="{6E927A4B-6A7F-EBB9-4B2D-EDECE1FDD249}"/>
              </a:ext>
            </a:extLst>
          </p:cNvPr>
          <p:cNvGrpSpPr/>
          <p:nvPr/>
        </p:nvGrpSpPr>
        <p:grpSpPr>
          <a:xfrm>
            <a:off x="944727" y="5753290"/>
            <a:ext cx="849630" cy="411480"/>
            <a:chOff x="4855755" y="5897034"/>
            <a:chExt cx="849630" cy="411480"/>
          </a:xfrm>
        </p:grpSpPr>
        <p:sp>
          <p:nvSpPr>
            <p:cNvPr id="52" name="Rectangle 51">
              <a:extLst>
                <a:ext uri="{FF2B5EF4-FFF2-40B4-BE49-F238E27FC236}">
                  <a16:creationId xmlns:a16="http://schemas.microsoft.com/office/drawing/2014/main" id="{A8009EBE-C29C-61C0-191D-807EDC3A8012}"/>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53" name="Rectangle 52">
              <a:extLst>
                <a:ext uri="{FF2B5EF4-FFF2-40B4-BE49-F238E27FC236}">
                  <a16:creationId xmlns:a16="http://schemas.microsoft.com/office/drawing/2014/main" id="{1A0D292F-29CD-B00F-4EE0-0078EADE0EFE}"/>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grpSp>
      <p:sp>
        <p:nvSpPr>
          <p:cNvPr id="54" name="Oval 53">
            <a:extLst>
              <a:ext uri="{FF2B5EF4-FFF2-40B4-BE49-F238E27FC236}">
                <a16:creationId xmlns:a16="http://schemas.microsoft.com/office/drawing/2014/main" id="{26BCC45D-332F-0F2F-C7B8-ED470F350E32}"/>
              </a:ext>
            </a:extLst>
          </p:cNvPr>
          <p:cNvSpPr/>
          <p:nvPr/>
        </p:nvSpPr>
        <p:spPr>
          <a:xfrm>
            <a:off x="528571" y="4422227"/>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55" name="Straight Connector 54">
            <a:extLst>
              <a:ext uri="{FF2B5EF4-FFF2-40B4-BE49-F238E27FC236}">
                <a16:creationId xmlns:a16="http://schemas.microsoft.com/office/drawing/2014/main" id="{A0226E73-6F80-5E22-423B-A3191DA35055}"/>
              </a:ext>
            </a:extLst>
          </p:cNvPr>
          <p:cNvCxnSpPr/>
          <p:nvPr/>
        </p:nvCxnSpPr>
        <p:spPr>
          <a:xfrm flipH="1">
            <a:off x="169046" y="4598477"/>
            <a:ext cx="2327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231AFA-CF3C-A963-25EF-C696E535AC38}"/>
              </a:ext>
            </a:extLst>
          </p:cNvPr>
          <p:cNvCxnSpPr/>
          <p:nvPr/>
        </p:nvCxnSpPr>
        <p:spPr>
          <a:xfrm flipH="1">
            <a:off x="285424" y="465692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4803D7C-5CFF-2043-5A68-D06C8788F880}"/>
              </a:ext>
            </a:extLst>
          </p:cNvPr>
          <p:cNvCxnSpPr/>
          <p:nvPr/>
        </p:nvCxnSpPr>
        <p:spPr>
          <a:xfrm flipH="1" flipV="1">
            <a:off x="285424" y="438213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ADF7A3B7-2FA0-E532-F6A9-CDD6BB45B44B}"/>
              </a:ext>
            </a:extLst>
          </p:cNvPr>
          <p:cNvSpPr/>
          <p:nvPr/>
        </p:nvSpPr>
        <p:spPr>
          <a:xfrm>
            <a:off x="5945391" y="4252706"/>
            <a:ext cx="2563525" cy="19930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74" name="Rectangle 73">
            <a:extLst>
              <a:ext uri="{FF2B5EF4-FFF2-40B4-BE49-F238E27FC236}">
                <a16:creationId xmlns:a16="http://schemas.microsoft.com/office/drawing/2014/main" id="{B8E57D5B-7C68-5633-9AFC-44F0B008592A}"/>
              </a:ext>
            </a:extLst>
          </p:cNvPr>
          <p:cNvSpPr/>
          <p:nvPr/>
        </p:nvSpPr>
        <p:spPr>
          <a:xfrm>
            <a:off x="6228887" y="4903373"/>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75" name="Rectangle 74">
            <a:extLst>
              <a:ext uri="{FF2B5EF4-FFF2-40B4-BE49-F238E27FC236}">
                <a16:creationId xmlns:a16="http://schemas.microsoft.com/office/drawing/2014/main" id="{0ABD77B7-B48B-78A7-D3BB-BF7EFE540752}"/>
              </a:ext>
            </a:extLst>
          </p:cNvPr>
          <p:cNvSpPr/>
          <p:nvPr/>
        </p:nvSpPr>
        <p:spPr>
          <a:xfrm>
            <a:off x="6228887"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0</a:t>
            </a:r>
            <a:endParaRPr lang="en-SE" dirty="0">
              <a:solidFill>
                <a:schemeClr val="accent6"/>
              </a:solidFill>
            </a:endParaRPr>
          </a:p>
        </p:txBody>
      </p:sp>
      <p:sp>
        <p:nvSpPr>
          <p:cNvPr id="76" name="Rectangle 75">
            <a:extLst>
              <a:ext uri="{FF2B5EF4-FFF2-40B4-BE49-F238E27FC236}">
                <a16:creationId xmlns:a16="http://schemas.microsoft.com/office/drawing/2014/main" id="{6719CA14-657C-B17E-3344-4319B49A3DF7}"/>
              </a:ext>
            </a:extLst>
          </p:cNvPr>
          <p:cNvSpPr/>
          <p:nvPr/>
        </p:nvSpPr>
        <p:spPr>
          <a:xfrm>
            <a:off x="7821467"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6"/>
                </a:solidFill>
              </a:rPr>
              <a:t>0</a:t>
            </a:r>
            <a:endParaRPr lang="en-SE">
              <a:solidFill>
                <a:schemeClr val="accent6"/>
              </a:solidFill>
            </a:endParaRPr>
          </a:p>
        </p:txBody>
      </p:sp>
      <p:grpSp>
        <p:nvGrpSpPr>
          <p:cNvPr id="77" name="Group 76">
            <a:extLst>
              <a:ext uri="{FF2B5EF4-FFF2-40B4-BE49-F238E27FC236}">
                <a16:creationId xmlns:a16="http://schemas.microsoft.com/office/drawing/2014/main" id="{BF6A59A4-34E2-B07A-7419-4DDAC849417B}"/>
              </a:ext>
            </a:extLst>
          </p:cNvPr>
          <p:cNvGrpSpPr/>
          <p:nvPr/>
        </p:nvGrpSpPr>
        <p:grpSpPr>
          <a:xfrm>
            <a:off x="6771812" y="5753290"/>
            <a:ext cx="849630" cy="424460"/>
            <a:chOff x="4855755" y="5897034"/>
            <a:chExt cx="849630" cy="424460"/>
          </a:xfrm>
        </p:grpSpPr>
        <p:grpSp>
          <p:nvGrpSpPr>
            <p:cNvPr id="78" name="Group 77">
              <a:extLst>
                <a:ext uri="{FF2B5EF4-FFF2-40B4-BE49-F238E27FC236}">
                  <a16:creationId xmlns:a16="http://schemas.microsoft.com/office/drawing/2014/main" id="{3A75E07A-A3B4-0509-B1F8-7D5F0DE29835}"/>
                </a:ext>
              </a:extLst>
            </p:cNvPr>
            <p:cNvGrpSpPr/>
            <p:nvPr/>
          </p:nvGrpSpPr>
          <p:grpSpPr>
            <a:xfrm>
              <a:off x="4855755" y="5897034"/>
              <a:ext cx="849630" cy="411480"/>
              <a:chOff x="4855755" y="5897034"/>
              <a:chExt cx="849630" cy="411480"/>
            </a:xfrm>
          </p:grpSpPr>
          <p:sp>
            <p:nvSpPr>
              <p:cNvPr id="82" name="Rectangle 81">
                <a:extLst>
                  <a:ext uri="{FF2B5EF4-FFF2-40B4-BE49-F238E27FC236}">
                    <a16:creationId xmlns:a16="http://schemas.microsoft.com/office/drawing/2014/main" id="{C71C2D05-07C1-7BCE-6B81-504448E65546}"/>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83" name="Rectangle 82">
                <a:extLst>
                  <a:ext uri="{FF2B5EF4-FFF2-40B4-BE49-F238E27FC236}">
                    <a16:creationId xmlns:a16="http://schemas.microsoft.com/office/drawing/2014/main" id="{B321F1EB-BC6F-75A4-5131-9E5812C692CF}"/>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grpSp>
        <p:grpSp>
          <p:nvGrpSpPr>
            <p:cNvPr id="79" name="Group 78">
              <a:extLst>
                <a:ext uri="{FF2B5EF4-FFF2-40B4-BE49-F238E27FC236}">
                  <a16:creationId xmlns:a16="http://schemas.microsoft.com/office/drawing/2014/main" id="{AFB1B2EE-0349-91DD-EF8A-D94D69168EAC}"/>
                </a:ext>
              </a:extLst>
            </p:cNvPr>
            <p:cNvGrpSpPr/>
            <p:nvPr/>
          </p:nvGrpSpPr>
          <p:grpSpPr>
            <a:xfrm>
              <a:off x="4855755" y="5978593"/>
              <a:ext cx="849630" cy="342901"/>
              <a:chOff x="7368540" y="4794551"/>
              <a:chExt cx="849630" cy="342901"/>
            </a:xfrm>
          </p:grpSpPr>
          <p:pic>
            <p:nvPicPr>
              <p:cNvPr id="80" name="Picture Placeholder 49">
                <a:extLst>
                  <a:ext uri="{FF2B5EF4-FFF2-40B4-BE49-F238E27FC236}">
                    <a16:creationId xmlns:a16="http://schemas.microsoft.com/office/drawing/2014/main" id="{8D5B4E07-8FEC-19A8-D580-5BFD7503542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10" b="110"/>
              <a:stretch>
                <a:fillRect/>
              </a:stretch>
            </p:blipFill>
            <p:spPr>
              <a:xfrm>
                <a:off x="7368540" y="4794551"/>
                <a:ext cx="342901" cy="342901"/>
              </a:xfrm>
              <a:prstGeom prst="rect">
                <a:avLst/>
              </a:prstGeom>
            </p:spPr>
          </p:pic>
          <p:pic>
            <p:nvPicPr>
              <p:cNvPr id="81" name="Picture Placeholder 57">
                <a:extLst>
                  <a:ext uri="{FF2B5EF4-FFF2-40B4-BE49-F238E27FC236}">
                    <a16:creationId xmlns:a16="http://schemas.microsoft.com/office/drawing/2014/main" id="{3DE24861-BDE5-E16E-38A4-6E7F639B97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10" b="110"/>
              <a:stretch>
                <a:fillRect/>
              </a:stretch>
            </p:blipFill>
            <p:spPr>
              <a:xfrm>
                <a:off x="7875270" y="4794551"/>
                <a:ext cx="342900" cy="342900"/>
              </a:xfrm>
              <a:prstGeom prst="rect">
                <a:avLst/>
              </a:prstGeom>
            </p:spPr>
          </p:pic>
        </p:grpSp>
      </p:grpSp>
      <p:sp>
        <p:nvSpPr>
          <p:cNvPr id="84" name="Oval 83">
            <a:extLst>
              <a:ext uri="{FF2B5EF4-FFF2-40B4-BE49-F238E27FC236}">
                <a16:creationId xmlns:a16="http://schemas.microsoft.com/office/drawing/2014/main" id="{5B21DA3E-BDD6-C92E-76EF-FFAE43666004}"/>
              </a:ext>
            </a:extLst>
          </p:cNvPr>
          <p:cNvSpPr/>
          <p:nvPr/>
        </p:nvSpPr>
        <p:spPr>
          <a:xfrm>
            <a:off x="6355656" y="4422227"/>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85" name="Straight Connector 84">
            <a:extLst>
              <a:ext uri="{FF2B5EF4-FFF2-40B4-BE49-F238E27FC236}">
                <a16:creationId xmlns:a16="http://schemas.microsoft.com/office/drawing/2014/main" id="{BC57EF7D-F29E-D6E5-97AB-4B9F5FA0941D}"/>
              </a:ext>
            </a:extLst>
          </p:cNvPr>
          <p:cNvCxnSpPr/>
          <p:nvPr/>
        </p:nvCxnSpPr>
        <p:spPr>
          <a:xfrm flipH="1">
            <a:off x="5996131" y="4598477"/>
            <a:ext cx="2327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8D8B3BED-B349-41B6-8022-7D8592D5EE4B}"/>
              </a:ext>
            </a:extLst>
          </p:cNvPr>
          <p:cNvCxnSpPr/>
          <p:nvPr/>
        </p:nvCxnSpPr>
        <p:spPr>
          <a:xfrm flipH="1">
            <a:off x="6112509" y="465692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08F9FF9-1C56-9414-7857-165E64019EC8}"/>
              </a:ext>
            </a:extLst>
          </p:cNvPr>
          <p:cNvCxnSpPr/>
          <p:nvPr/>
        </p:nvCxnSpPr>
        <p:spPr>
          <a:xfrm flipH="1" flipV="1">
            <a:off x="6112509" y="438213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67CA4F71-B5B4-8052-F617-6F426EC82BCC}"/>
              </a:ext>
            </a:extLst>
          </p:cNvPr>
          <p:cNvSpPr/>
          <p:nvPr/>
        </p:nvSpPr>
        <p:spPr>
          <a:xfrm>
            <a:off x="8831698" y="4252706"/>
            <a:ext cx="2563525" cy="19930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89" name="Rectangle 88">
            <a:extLst>
              <a:ext uri="{FF2B5EF4-FFF2-40B4-BE49-F238E27FC236}">
                <a16:creationId xmlns:a16="http://schemas.microsoft.com/office/drawing/2014/main" id="{00D2E9FC-F61E-1A35-1347-01E25F419164}"/>
              </a:ext>
            </a:extLst>
          </p:cNvPr>
          <p:cNvSpPr/>
          <p:nvPr/>
        </p:nvSpPr>
        <p:spPr>
          <a:xfrm>
            <a:off x="9115194" y="4903373"/>
            <a:ext cx="1935480" cy="41148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90" name="Rectangle 89">
            <a:extLst>
              <a:ext uri="{FF2B5EF4-FFF2-40B4-BE49-F238E27FC236}">
                <a16:creationId xmlns:a16="http://schemas.microsoft.com/office/drawing/2014/main" id="{0B1BAB65-7F46-BB08-2F56-571F075AA2BD}"/>
              </a:ext>
            </a:extLst>
          </p:cNvPr>
          <p:cNvSpPr/>
          <p:nvPr/>
        </p:nvSpPr>
        <p:spPr>
          <a:xfrm>
            <a:off x="9115194"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solidFill>
              </a:rPr>
              <a:t>0</a:t>
            </a:r>
            <a:endParaRPr lang="en-SE" dirty="0">
              <a:solidFill>
                <a:schemeClr val="accent6"/>
              </a:solidFill>
            </a:endParaRPr>
          </a:p>
        </p:txBody>
      </p:sp>
      <p:sp>
        <p:nvSpPr>
          <p:cNvPr id="91" name="Rectangle 90">
            <a:extLst>
              <a:ext uri="{FF2B5EF4-FFF2-40B4-BE49-F238E27FC236}">
                <a16:creationId xmlns:a16="http://schemas.microsoft.com/office/drawing/2014/main" id="{254694F4-C5EB-1F5B-0DB3-CEDDF55ADA84}"/>
              </a:ext>
            </a:extLst>
          </p:cNvPr>
          <p:cNvSpPr/>
          <p:nvPr/>
        </p:nvSpPr>
        <p:spPr>
          <a:xfrm>
            <a:off x="10707774" y="5454314"/>
            <a:ext cx="342900" cy="411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6"/>
                </a:solidFill>
              </a:rPr>
              <a:t>0</a:t>
            </a:r>
            <a:endParaRPr lang="en-SE">
              <a:solidFill>
                <a:schemeClr val="accent6"/>
              </a:solidFill>
            </a:endParaRPr>
          </a:p>
        </p:txBody>
      </p:sp>
      <p:grpSp>
        <p:nvGrpSpPr>
          <p:cNvPr id="92" name="Group 91">
            <a:extLst>
              <a:ext uri="{FF2B5EF4-FFF2-40B4-BE49-F238E27FC236}">
                <a16:creationId xmlns:a16="http://schemas.microsoft.com/office/drawing/2014/main" id="{76EE25ED-AD63-5A18-449F-A9A8721A6254}"/>
              </a:ext>
            </a:extLst>
          </p:cNvPr>
          <p:cNvGrpSpPr/>
          <p:nvPr/>
        </p:nvGrpSpPr>
        <p:grpSpPr>
          <a:xfrm>
            <a:off x="9658119" y="5753290"/>
            <a:ext cx="849630" cy="424460"/>
            <a:chOff x="4855755" y="5897034"/>
            <a:chExt cx="849630" cy="424460"/>
          </a:xfrm>
        </p:grpSpPr>
        <p:grpSp>
          <p:nvGrpSpPr>
            <p:cNvPr id="93" name="Group 92">
              <a:extLst>
                <a:ext uri="{FF2B5EF4-FFF2-40B4-BE49-F238E27FC236}">
                  <a16:creationId xmlns:a16="http://schemas.microsoft.com/office/drawing/2014/main" id="{A9A5BF2E-A6B9-C5B0-9478-2657F8125786}"/>
                </a:ext>
              </a:extLst>
            </p:cNvPr>
            <p:cNvGrpSpPr/>
            <p:nvPr/>
          </p:nvGrpSpPr>
          <p:grpSpPr>
            <a:xfrm>
              <a:off x="4855755" y="5897034"/>
              <a:ext cx="849630" cy="411480"/>
              <a:chOff x="4855755" y="5897034"/>
              <a:chExt cx="849630" cy="411480"/>
            </a:xfrm>
          </p:grpSpPr>
          <p:sp>
            <p:nvSpPr>
              <p:cNvPr id="97" name="Rectangle 96">
                <a:extLst>
                  <a:ext uri="{FF2B5EF4-FFF2-40B4-BE49-F238E27FC236}">
                    <a16:creationId xmlns:a16="http://schemas.microsoft.com/office/drawing/2014/main" id="{755E6B15-474E-E8C6-6A0E-7A71CBA2AABA}"/>
                  </a:ext>
                </a:extLst>
              </p:cNvPr>
              <p:cNvSpPr/>
              <p:nvPr/>
            </p:nvSpPr>
            <p:spPr>
              <a:xfrm>
                <a:off x="485575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98" name="Rectangle 97">
                <a:extLst>
                  <a:ext uri="{FF2B5EF4-FFF2-40B4-BE49-F238E27FC236}">
                    <a16:creationId xmlns:a16="http://schemas.microsoft.com/office/drawing/2014/main" id="{4E8B5862-644E-B891-7BFF-6EB8D057C4FC}"/>
                  </a:ext>
                </a:extLst>
              </p:cNvPr>
              <p:cNvSpPr/>
              <p:nvPr/>
            </p:nvSpPr>
            <p:spPr>
              <a:xfrm>
                <a:off x="5362485" y="5897034"/>
                <a:ext cx="342900" cy="411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grpSp>
        <p:grpSp>
          <p:nvGrpSpPr>
            <p:cNvPr id="94" name="Group 93">
              <a:extLst>
                <a:ext uri="{FF2B5EF4-FFF2-40B4-BE49-F238E27FC236}">
                  <a16:creationId xmlns:a16="http://schemas.microsoft.com/office/drawing/2014/main" id="{39F341A7-CA98-59B5-C1CD-11B95422A27D}"/>
                </a:ext>
              </a:extLst>
            </p:cNvPr>
            <p:cNvGrpSpPr/>
            <p:nvPr/>
          </p:nvGrpSpPr>
          <p:grpSpPr>
            <a:xfrm>
              <a:off x="4855755" y="5978593"/>
              <a:ext cx="849630" cy="342901"/>
              <a:chOff x="7368540" y="4794551"/>
              <a:chExt cx="849630" cy="342901"/>
            </a:xfrm>
          </p:grpSpPr>
          <p:pic>
            <p:nvPicPr>
              <p:cNvPr id="95" name="Picture Placeholder 49">
                <a:extLst>
                  <a:ext uri="{FF2B5EF4-FFF2-40B4-BE49-F238E27FC236}">
                    <a16:creationId xmlns:a16="http://schemas.microsoft.com/office/drawing/2014/main" id="{C05EFCE9-9E99-FDBF-D7FE-B73C23E7370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10" b="110"/>
              <a:stretch>
                <a:fillRect/>
              </a:stretch>
            </p:blipFill>
            <p:spPr>
              <a:xfrm>
                <a:off x="7368540" y="4794551"/>
                <a:ext cx="342901" cy="342901"/>
              </a:xfrm>
              <a:prstGeom prst="rect">
                <a:avLst/>
              </a:prstGeom>
            </p:spPr>
          </p:pic>
          <p:pic>
            <p:nvPicPr>
              <p:cNvPr id="96" name="Picture Placeholder 57">
                <a:extLst>
                  <a:ext uri="{FF2B5EF4-FFF2-40B4-BE49-F238E27FC236}">
                    <a16:creationId xmlns:a16="http://schemas.microsoft.com/office/drawing/2014/main" id="{2310359C-935F-3A3C-F762-B41D8DE4D0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10" b="110"/>
              <a:stretch>
                <a:fillRect/>
              </a:stretch>
            </p:blipFill>
            <p:spPr>
              <a:xfrm>
                <a:off x="7875270" y="4794551"/>
                <a:ext cx="342900" cy="342900"/>
              </a:xfrm>
              <a:prstGeom prst="rect">
                <a:avLst/>
              </a:prstGeom>
            </p:spPr>
          </p:pic>
        </p:grpSp>
      </p:grpSp>
      <p:sp>
        <p:nvSpPr>
          <p:cNvPr id="99" name="Oval 98">
            <a:extLst>
              <a:ext uri="{FF2B5EF4-FFF2-40B4-BE49-F238E27FC236}">
                <a16:creationId xmlns:a16="http://schemas.microsoft.com/office/drawing/2014/main" id="{97C6C728-188F-CA8C-E078-4DCBBDC30BCB}"/>
              </a:ext>
            </a:extLst>
          </p:cNvPr>
          <p:cNvSpPr/>
          <p:nvPr/>
        </p:nvSpPr>
        <p:spPr>
          <a:xfrm>
            <a:off x="9241963" y="4422227"/>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100" name="Straight Connector 99">
            <a:extLst>
              <a:ext uri="{FF2B5EF4-FFF2-40B4-BE49-F238E27FC236}">
                <a16:creationId xmlns:a16="http://schemas.microsoft.com/office/drawing/2014/main" id="{7418FE7C-9CFC-AC67-A65B-45DA233456E8}"/>
              </a:ext>
            </a:extLst>
          </p:cNvPr>
          <p:cNvCxnSpPr/>
          <p:nvPr/>
        </p:nvCxnSpPr>
        <p:spPr>
          <a:xfrm flipH="1">
            <a:off x="8882438" y="4598477"/>
            <a:ext cx="2327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D2E28B97-6ED6-61BC-3D9B-E56927C13AD8}"/>
              </a:ext>
            </a:extLst>
          </p:cNvPr>
          <p:cNvCxnSpPr/>
          <p:nvPr/>
        </p:nvCxnSpPr>
        <p:spPr>
          <a:xfrm flipH="1">
            <a:off x="8998816" y="465692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5C251FC8-C852-8862-060F-79554F024AD9}"/>
              </a:ext>
            </a:extLst>
          </p:cNvPr>
          <p:cNvCxnSpPr/>
          <p:nvPr/>
        </p:nvCxnSpPr>
        <p:spPr>
          <a:xfrm flipH="1" flipV="1">
            <a:off x="8998816" y="4382134"/>
            <a:ext cx="116378" cy="1163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7451703"/>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BCE666D-2249-4405-B933-BBFFB254E7D2}"/>
              </a:ext>
            </a:extLst>
          </p:cNvPr>
          <p:cNvPicPr>
            <a:picLocks noChangeAspect="1"/>
          </p:cNvPicPr>
          <p:nvPr/>
        </p:nvPicPr>
        <p:blipFill>
          <a:blip r:embed="rId3"/>
          <a:stretch>
            <a:fillRect/>
          </a:stretch>
        </p:blipFill>
        <p:spPr>
          <a:xfrm>
            <a:off x="2709167" y="3521345"/>
            <a:ext cx="7145131" cy="2139881"/>
          </a:xfrm>
          <a:prstGeom prst="rect">
            <a:avLst/>
          </a:prstGeom>
        </p:spPr>
      </p:pic>
      <p:sp>
        <p:nvSpPr>
          <p:cNvPr id="521" name="CustomShape 1"/>
          <p:cNvSpPr/>
          <p:nvPr/>
        </p:nvSpPr>
        <p:spPr>
          <a:xfrm>
            <a:off x="495720" y="328680"/>
            <a:ext cx="3186720" cy="534240"/>
          </a:xfrm>
          <a:prstGeom prst="rect">
            <a:avLst/>
          </a:prstGeom>
          <a:noFill/>
          <a:ln w="12600">
            <a:noFill/>
          </a:ln>
        </p:spPr>
        <p:style>
          <a:lnRef idx="0">
            <a:scrgbClr r="0" g="0" b="0"/>
          </a:lnRef>
          <a:fillRef idx="0">
            <a:scrgbClr r="0" g="0" b="0"/>
          </a:fillRef>
          <a:effectRef idx="0">
            <a:scrgbClr r="0" g="0" b="0"/>
          </a:effectRef>
          <a:fontRef idx="minor"/>
        </p:style>
        <p:txBody>
          <a:bodyPr lIns="72000" tIns="36000" rIns="73080" bIns="36720"/>
          <a:lstStyle/>
          <a:p>
            <a:pPr>
              <a:lnSpc>
                <a:spcPct val="100000"/>
              </a:lnSpc>
            </a:pPr>
            <a:r>
              <a:rPr lang="sv-SE" sz="4000" b="0" strike="noStrike" spc="-1">
                <a:solidFill>
                  <a:srgbClr val="181818"/>
                </a:solidFill>
                <a:uFill>
                  <a:solidFill>
                    <a:srgbClr val="FFFFFF"/>
                  </a:solidFill>
                </a:uFill>
                <a:latin typeface="Ericsson Hilda"/>
              </a:rPr>
              <a:t>Spelet</a:t>
            </a:r>
            <a:endParaRPr lang="sv-SE" sz="4000" b="0" strike="noStrike" spc="-1">
              <a:solidFill>
                <a:srgbClr val="000000"/>
              </a:solidFill>
              <a:uFill>
                <a:solidFill>
                  <a:srgbClr val="FFFFFF"/>
                </a:solidFill>
              </a:uFill>
              <a:latin typeface="Arial"/>
            </a:endParaRPr>
          </a:p>
        </p:txBody>
      </p:sp>
      <p:pic>
        <p:nvPicPr>
          <p:cNvPr id="522" name="Picture 2"/>
          <p:cNvPicPr/>
          <p:nvPr/>
        </p:nvPicPr>
        <p:blipFill rotWithShape="1">
          <a:blip r:embed="rId4"/>
          <a:srcRect t="32630" b="27089"/>
          <a:stretch/>
        </p:blipFill>
        <p:spPr>
          <a:xfrm>
            <a:off x="3393778" y="862920"/>
            <a:ext cx="5775911" cy="2326583"/>
          </a:xfrm>
          <a:prstGeom prst="rect">
            <a:avLst/>
          </a:prstGeom>
          <a:ln>
            <a:noFill/>
          </a:ln>
        </p:spPr>
      </p:pic>
      <p:sp>
        <p:nvSpPr>
          <p:cNvPr id="5" name="Rectangle 4">
            <a:extLst>
              <a:ext uri="{FF2B5EF4-FFF2-40B4-BE49-F238E27FC236}">
                <a16:creationId xmlns:a16="http://schemas.microsoft.com/office/drawing/2014/main" id="{36DC26EF-5395-4A13-BC87-A99007C71B41}"/>
              </a:ext>
            </a:extLst>
          </p:cNvPr>
          <p:cNvSpPr/>
          <p:nvPr/>
        </p:nvSpPr>
        <p:spPr>
          <a:xfrm>
            <a:off x="11277600" y="309217"/>
            <a:ext cx="649357" cy="6493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4FD7642C-D224-4601-9886-17A950AC3206}"/>
              </a:ext>
            </a:extLst>
          </p:cNvPr>
          <p:cNvSpPr/>
          <p:nvPr/>
        </p:nvSpPr>
        <p:spPr>
          <a:xfrm>
            <a:off x="11277600" y="309217"/>
            <a:ext cx="649357" cy="592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grpSp>
        <p:nvGrpSpPr>
          <p:cNvPr id="1666" name="Group 1665">
            <a:extLst>
              <a:ext uri="{FF2B5EF4-FFF2-40B4-BE49-F238E27FC236}">
                <a16:creationId xmlns:a16="http://schemas.microsoft.com/office/drawing/2014/main" id="{D8C6DB3D-ADCF-9149-2B8B-34438EFE3A3B}"/>
              </a:ext>
            </a:extLst>
          </p:cNvPr>
          <p:cNvGrpSpPr/>
          <p:nvPr/>
        </p:nvGrpSpPr>
        <p:grpSpPr>
          <a:xfrm>
            <a:off x="488374" y="1178299"/>
            <a:ext cx="5092555" cy="1221374"/>
            <a:chOff x="750890" y="1938417"/>
            <a:chExt cx="5092555" cy="1221374"/>
          </a:xfrm>
        </p:grpSpPr>
        <p:sp>
          <p:nvSpPr>
            <p:cNvPr id="73" name="Oval 72">
              <a:extLst>
                <a:ext uri="{FF2B5EF4-FFF2-40B4-BE49-F238E27FC236}">
                  <a16:creationId xmlns:a16="http://schemas.microsoft.com/office/drawing/2014/main" id="{CB86E50C-BE28-81E1-4006-F22A585BB459}"/>
                </a:ext>
              </a:extLst>
            </p:cNvPr>
            <p:cNvSpPr/>
            <p:nvPr/>
          </p:nvSpPr>
          <p:spPr>
            <a:xfrm>
              <a:off x="750890" y="2023987"/>
              <a:ext cx="121920" cy="121920"/>
            </a:xfrm>
            <a:prstGeom prst="ellipse">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SE"/>
            </a:p>
          </p:txBody>
        </p:sp>
        <p:sp>
          <p:nvSpPr>
            <p:cNvPr id="1665" name="TextBox 1664">
              <a:extLst>
                <a:ext uri="{FF2B5EF4-FFF2-40B4-BE49-F238E27FC236}">
                  <a16:creationId xmlns:a16="http://schemas.microsoft.com/office/drawing/2014/main" id="{03C8F327-E2D6-06B5-E608-A204B3178202}"/>
                </a:ext>
              </a:extLst>
            </p:cNvPr>
            <p:cNvSpPr txBox="1"/>
            <p:nvPr/>
          </p:nvSpPr>
          <p:spPr>
            <a:xfrm>
              <a:off x="872810" y="1938417"/>
              <a:ext cx="4890680" cy="261610"/>
            </a:xfrm>
            <a:prstGeom prst="rect">
              <a:avLst/>
            </a:prstGeom>
            <a:noFill/>
          </p:spPr>
          <p:txBody>
            <a:bodyPr wrap="square" rtlCol="0">
              <a:spAutoFit/>
            </a:bodyPr>
            <a:lstStyle/>
            <a:p>
              <a:r>
                <a:rPr lang="sv-SE" sz="1100" dirty="0">
                  <a:latin typeface="Ericsson Hilda" panose="00000500000000000000" pitchFamily="2" charset="0"/>
                </a:rPr>
                <a:t>Kommunikation med </a:t>
              </a:r>
              <a:r>
                <a:rPr lang="sv-SE" sz="1100" i="1" dirty="0">
                  <a:latin typeface="Ericsson Hilda" panose="00000500000000000000" pitchFamily="2" charset="0"/>
                </a:rPr>
                <a:t>SPI-protokollet</a:t>
              </a:r>
              <a:r>
                <a:rPr lang="sv-SE" sz="1100" dirty="0">
                  <a:latin typeface="Ericsson Hilda" panose="00000500000000000000" pitchFamily="2" charset="0"/>
                </a:rPr>
                <a:t> mellan komponent och spelplattform</a:t>
              </a:r>
            </a:p>
          </p:txBody>
        </p:sp>
        <p:sp>
          <p:nvSpPr>
            <p:cNvPr id="76" name="Oval 75">
              <a:extLst>
                <a:ext uri="{FF2B5EF4-FFF2-40B4-BE49-F238E27FC236}">
                  <a16:creationId xmlns:a16="http://schemas.microsoft.com/office/drawing/2014/main" id="{F69138A5-4927-2752-2C8A-CA718625C75C}"/>
                </a:ext>
              </a:extLst>
            </p:cNvPr>
            <p:cNvSpPr/>
            <p:nvPr/>
          </p:nvSpPr>
          <p:spPr>
            <a:xfrm>
              <a:off x="750890" y="2309961"/>
              <a:ext cx="121920" cy="121920"/>
            </a:xfrm>
            <a:prstGeom prst="ellipse">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SE"/>
            </a:p>
          </p:txBody>
        </p:sp>
        <p:sp>
          <p:nvSpPr>
            <p:cNvPr id="77" name="TextBox 76">
              <a:extLst>
                <a:ext uri="{FF2B5EF4-FFF2-40B4-BE49-F238E27FC236}">
                  <a16:creationId xmlns:a16="http://schemas.microsoft.com/office/drawing/2014/main" id="{6ED3F055-443A-E230-1D1A-2D18D5BA71EE}"/>
                </a:ext>
              </a:extLst>
            </p:cNvPr>
            <p:cNvSpPr txBox="1"/>
            <p:nvPr/>
          </p:nvSpPr>
          <p:spPr>
            <a:xfrm>
              <a:off x="872810" y="2224391"/>
              <a:ext cx="4033915" cy="261610"/>
            </a:xfrm>
            <a:prstGeom prst="rect">
              <a:avLst/>
            </a:prstGeom>
            <a:noFill/>
          </p:spPr>
          <p:txBody>
            <a:bodyPr wrap="square" rtlCol="0">
              <a:spAutoFit/>
            </a:bodyPr>
            <a:lstStyle/>
            <a:p>
              <a:r>
                <a:rPr lang="sv-SE" sz="1100" dirty="0">
                  <a:latin typeface="Ericsson Hilda" panose="00000500000000000000" pitchFamily="2" charset="0"/>
                </a:rPr>
                <a:t>Direktkommunikation mellan komponent och spelplattform</a:t>
              </a:r>
            </a:p>
          </p:txBody>
        </p:sp>
        <p:sp>
          <p:nvSpPr>
            <p:cNvPr id="78" name="Oval 77">
              <a:extLst>
                <a:ext uri="{FF2B5EF4-FFF2-40B4-BE49-F238E27FC236}">
                  <a16:creationId xmlns:a16="http://schemas.microsoft.com/office/drawing/2014/main" id="{D69DE338-2544-12D4-849E-EF2D91E74F6B}"/>
                </a:ext>
              </a:extLst>
            </p:cNvPr>
            <p:cNvSpPr/>
            <p:nvPr/>
          </p:nvSpPr>
          <p:spPr>
            <a:xfrm>
              <a:off x="750890" y="2633273"/>
              <a:ext cx="121920" cy="121920"/>
            </a:xfrm>
            <a:prstGeom prst="ellipse">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SE"/>
            </a:p>
          </p:txBody>
        </p:sp>
        <p:sp>
          <p:nvSpPr>
            <p:cNvPr id="79" name="TextBox 78">
              <a:extLst>
                <a:ext uri="{FF2B5EF4-FFF2-40B4-BE49-F238E27FC236}">
                  <a16:creationId xmlns:a16="http://schemas.microsoft.com/office/drawing/2014/main" id="{467B8C07-8721-6D08-6781-6E034BCE99B4}"/>
                </a:ext>
              </a:extLst>
            </p:cNvPr>
            <p:cNvSpPr txBox="1"/>
            <p:nvPr/>
          </p:nvSpPr>
          <p:spPr>
            <a:xfrm>
              <a:off x="872810" y="2547703"/>
              <a:ext cx="4970635" cy="261610"/>
            </a:xfrm>
            <a:prstGeom prst="rect">
              <a:avLst/>
            </a:prstGeom>
            <a:noFill/>
          </p:spPr>
          <p:txBody>
            <a:bodyPr wrap="square" rtlCol="0">
              <a:spAutoFit/>
            </a:bodyPr>
            <a:lstStyle/>
            <a:p>
              <a:r>
                <a:rPr lang="sv-SE" sz="1100" dirty="0">
                  <a:latin typeface="Ericsson Hilda" panose="00000500000000000000" pitchFamily="2" charset="0"/>
                </a:rPr>
                <a:t>Kommunikation med </a:t>
              </a:r>
              <a:r>
                <a:rPr lang="sv-SE" sz="1100" i="1" dirty="0">
                  <a:latin typeface="Ericsson Hilda" panose="00000500000000000000" pitchFamily="2" charset="0"/>
                </a:rPr>
                <a:t>TWI-protokollet</a:t>
              </a:r>
              <a:r>
                <a:rPr lang="sv-SE" sz="1100" dirty="0">
                  <a:latin typeface="Ericsson Hilda" panose="00000500000000000000" pitchFamily="2" charset="0"/>
                </a:rPr>
                <a:t> mellan komponent och spelplattform</a:t>
              </a:r>
            </a:p>
          </p:txBody>
        </p:sp>
        <p:sp>
          <p:nvSpPr>
            <p:cNvPr id="80" name="Oval 79">
              <a:extLst>
                <a:ext uri="{FF2B5EF4-FFF2-40B4-BE49-F238E27FC236}">
                  <a16:creationId xmlns:a16="http://schemas.microsoft.com/office/drawing/2014/main" id="{61F5C874-A4F5-74F9-4806-4E7692880E71}"/>
                </a:ext>
              </a:extLst>
            </p:cNvPr>
            <p:cNvSpPr/>
            <p:nvPr/>
          </p:nvSpPr>
          <p:spPr>
            <a:xfrm>
              <a:off x="750890" y="2983751"/>
              <a:ext cx="121920" cy="121920"/>
            </a:xfrm>
            <a:prstGeom prst="ellipse">
              <a:avLst/>
            </a:prstGeom>
            <a:solidFill>
              <a:schemeClr val="tx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SE"/>
            </a:p>
          </p:txBody>
        </p:sp>
        <p:sp>
          <p:nvSpPr>
            <p:cNvPr id="81" name="TextBox 80">
              <a:extLst>
                <a:ext uri="{FF2B5EF4-FFF2-40B4-BE49-F238E27FC236}">
                  <a16:creationId xmlns:a16="http://schemas.microsoft.com/office/drawing/2014/main" id="{B0FF096F-7BC6-524D-C089-F6549E4006EC}"/>
                </a:ext>
              </a:extLst>
            </p:cNvPr>
            <p:cNvSpPr txBox="1"/>
            <p:nvPr/>
          </p:nvSpPr>
          <p:spPr>
            <a:xfrm>
              <a:off x="872810" y="2898181"/>
              <a:ext cx="4033915" cy="261610"/>
            </a:xfrm>
            <a:prstGeom prst="rect">
              <a:avLst/>
            </a:prstGeom>
            <a:noFill/>
          </p:spPr>
          <p:txBody>
            <a:bodyPr wrap="square" rtlCol="0">
              <a:spAutoFit/>
            </a:bodyPr>
            <a:lstStyle/>
            <a:p>
              <a:r>
                <a:rPr lang="sv-SE" sz="1100" dirty="0">
                  <a:latin typeface="Ericsson Hilda" panose="00000500000000000000" pitchFamily="2" charset="0"/>
                </a:rPr>
                <a:t>Kommunikation mellan spelplattform och mikrokontroller</a:t>
              </a:r>
            </a:p>
          </p:txBody>
        </p:sp>
      </p:grpSp>
      <p:sp>
        <p:nvSpPr>
          <p:cNvPr id="83" name="TextBox 82">
            <a:extLst>
              <a:ext uri="{FF2B5EF4-FFF2-40B4-BE49-F238E27FC236}">
                <a16:creationId xmlns:a16="http://schemas.microsoft.com/office/drawing/2014/main" id="{D407FA0E-1647-BFD9-7845-44AF2FA41C1C}"/>
              </a:ext>
            </a:extLst>
          </p:cNvPr>
          <p:cNvSpPr txBox="1"/>
          <p:nvPr/>
        </p:nvSpPr>
        <p:spPr>
          <a:xfrm>
            <a:off x="393826" y="2523143"/>
            <a:ext cx="4033915" cy="261610"/>
          </a:xfrm>
          <a:prstGeom prst="rect">
            <a:avLst/>
          </a:prstGeom>
          <a:noFill/>
        </p:spPr>
        <p:txBody>
          <a:bodyPr wrap="square" rtlCol="0">
            <a:spAutoFit/>
          </a:bodyPr>
          <a:lstStyle/>
          <a:p>
            <a:r>
              <a:rPr lang="sv-SE" sz="1100" b="1" dirty="0">
                <a:latin typeface="Ericsson Hilda" panose="00000500000000000000" pitchFamily="2" charset="0"/>
              </a:rPr>
              <a:t>Programmeringspråk: Assembler</a:t>
            </a:r>
          </a:p>
        </p:txBody>
      </p:sp>
      <p:sp>
        <p:nvSpPr>
          <p:cNvPr id="84" name="CustomShape 196">
            <a:extLst>
              <a:ext uri="{FF2B5EF4-FFF2-40B4-BE49-F238E27FC236}">
                <a16:creationId xmlns:a16="http://schemas.microsoft.com/office/drawing/2014/main" id="{F880E24C-5597-00C7-3693-6625534B3575}"/>
              </a:ext>
            </a:extLst>
          </p:cNvPr>
          <p:cNvSpPr/>
          <p:nvPr/>
        </p:nvSpPr>
        <p:spPr>
          <a:xfrm>
            <a:off x="495719" y="328680"/>
            <a:ext cx="8576237" cy="534240"/>
          </a:xfrm>
          <a:prstGeom prst="rect">
            <a:avLst/>
          </a:prstGeom>
          <a:noFill/>
          <a:ln w="12600">
            <a:noFill/>
          </a:ln>
        </p:spPr>
        <p:style>
          <a:lnRef idx="0">
            <a:scrgbClr r="0" g="0" b="0"/>
          </a:lnRef>
          <a:fillRef idx="0">
            <a:scrgbClr r="0" g="0" b="0"/>
          </a:fillRef>
          <a:effectRef idx="0">
            <a:scrgbClr r="0" g="0" b="0"/>
          </a:effectRef>
          <a:fontRef idx="minor"/>
        </p:style>
        <p:txBody>
          <a:bodyPr lIns="72000" tIns="36000" rIns="73080" bIns="36720"/>
          <a:lstStyle/>
          <a:p>
            <a:pPr>
              <a:lnSpc>
                <a:spcPct val="100000"/>
              </a:lnSpc>
            </a:pPr>
            <a:r>
              <a:rPr lang="sv-SE" sz="4000" b="0" strike="noStrike" spc="-1" dirty="0">
                <a:solidFill>
                  <a:srgbClr val="181818"/>
                </a:solidFill>
                <a:uFill>
                  <a:solidFill>
                    <a:srgbClr val="FFFFFF"/>
                  </a:solidFill>
                </a:uFill>
                <a:latin typeface="Ericsson Hilda"/>
              </a:rPr>
              <a:t>Översikt: Hårdvarukomponnenter</a:t>
            </a:r>
            <a:endParaRPr lang="sv-SE" sz="4000" b="0" strike="noStrike" spc="-1" dirty="0">
              <a:solidFill>
                <a:srgbClr val="000000"/>
              </a:solidFill>
              <a:uFill>
                <a:solidFill>
                  <a:srgbClr val="FFFFFF"/>
                </a:solidFill>
              </a:uFill>
              <a:latin typeface="Arial"/>
            </a:endParaRPr>
          </a:p>
        </p:txBody>
      </p:sp>
      <p:pic>
        <p:nvPicPr>
          <p:cNvPr id="37" name="Picture 36">
            <a:extLst>
              <a:ext uri="{FF2B5EF4-FFF2-40B4-BE49-F238E27FC236}">
                <a16:creationId xmlns:a16="http://schemas.microsoft.com/office/drawing/2014/main" id="{6F3FB7BB-2551-847A-D805-C14015500CB7}"/>
              </a:ext>
            </a:extLst>
          </p:cNvPr>
          <p:cNvPicPr>
            <a:picLocks noChangeAspect="1"/>
          </p:cNvPicPr>
          <p:nvPr/>
        </p:nvPicPr>
        <p:blipFill>
          <a:blip r:embed="rId3"/>
          <a:stretch>
            <a:fillRect/>
          </a:stretch>
        </p:blipFill>
        <p:spPr>
          <a:xfrm>
            <a:off x="1517676" y="3680086"/>
            <a:ext cx="7145131" cy="2139881"/>
          </a:xfrm>
          <a:prstGeom prst="rect">
            <a:avLst/>
          </a:prstGeom>
        </p:spPr>
      </p:pic>
    </p:spTree>
    <p:extLst>
      <p:ext uri="{BB962C8B-B14F-4D97-AF65-F5344CB8AC3E}">
        <p14:creationId xmlns:p14="http://schemas.microsoft.com/office/powerpoint/2010/main" val="1360824604"/>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 name="TextShape 2"/>
          <p:cNvSpPr txBox="1"/>
          <p:nvPr/>
        </p:nvSpPr>
        <p:spPr>
          <a:xfrm>
            <a:off x="479520" y="476280"/>
            <a:ext cx="5471640" cy="716400"/>
          </a:xfrm>
          <a:prstGeom prst="rect">
            <a:avLst/>
          </a:prstGeom>
          <a:noFill/>
          <a:ln w="9360">
            <a:noFill/>
          </a:ln>
        </p:spPr>
        <p:txBody>
          <a:bodyPr lIns="72000" tIns="36000" rIns="73080" bIns="36720">
            <a:normAutofit/>
          </a:bodyPr>
          <a:lstStyle/>
          <a:p>
            <a:pPr>
              <a:lnSpc>
                <a:spcPct val="100000"/>
              </a:lnSpc>
              <a:spcBef>
                <a:spcPts val="300"/>
              </a:spcBef>
            </a:pPr>
            <a:r>
              <a:rPr lang="en-US" sz="4000" b="0" strike="noStrike" spc="-157" err="1">
                <a:solidFill>
                  <a:srgbClr val="181818"/>
                </a:solidFill>
                <a:uFill>
                  <a:solidFill>
                    <a:srgbClr val="FFFFFF"/>
                  </a:solidFill>
                </a:uFill>
                <a:latin typeface="Ericsson Hilda Light"/>
              </a:rPr>
              <a:t>DAvid</a:t>
            </a:r>
            <a:endParaRPr lang="en-US" sz="4000" b="0" strike="noStrike" spc="-1">
              <a:solidFill>
                <a:srgbClr val="181818"/>
              </a:solidFill>
              <a:uFill>
                <a:solidFill>
                  <a:srgbClr val="FFFFFF"/>
                </a:solidFill>
              </a:uFill>
              <a:latin typeface="Ericsson Hilda"/>
            </a:endParaRPr>
          </a:p>
        </p:txBody>
      </p:sp>
      <p:sp>
        <p:nvSpPr>
          <p:cNvPr id="201" name="Rectangle 200">
            <a:extLst>
              <a:ext uri="{FF2B5EF4-FFF2-40B4-BE49-F238E27FC236}">
                <a16:creationId xmlns:a16="http://schemas.microsoft.com/office/drawing/2014/main" id="{3E4AEA8D-533C-45FE-BFFB-3E8133B8641B}"/>
              </a:ext>
            </a:extLst>
          </p:cNvPr>
          <p:cNvSpPr/>
          <p:nvPr/>
        </p:nvSpPr>
        <p:spPr>
          <a:xfrm>
            <a:off x="11277600" y="309217"/>
            <a:ext cx="649357" cy="592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pic>
        <p:nvPicPr>
          <p:cNvPr id="22" name="Picture 21">
            <a:extLst>
              <a:ext uri="{FF2B5EF4-FFF2-40B4-BE49-F238E27FC236}">
                <a16:creationId xmlns:a16="http://schemas.microsoft.com/office/drawing/2014/main" id="{400BC747-FD88-464F-83C2-9E2E9D48AF55}"/>
              </a:ext>
            </a:extLst>
          </p:cNvPr>
          <p:cNvPicPr>
            <a:picLocks noChangeAspect="1"/>
          </p:cNvPicPr>
          <p:nvPr/>
        </p:nvPicPr>
        <p:blipFill>
          <a:blip r:embed="rId3"/>
          <a:stretch>
            <a:fillRect/>
          </a:stretch>
        </p:blipFill>
        <p:spPr>
          <a:xfrm>
            <a:off x="479520" y="1618942"/>
            <a:ext cx="8000086" cy="3618076"/>
          </a:xfrm>
          <a:prstGeom prst="rect">
            <a:avLst/>
          </a:prstGeom>
        </p:spPr>
      </p:pic>
    </p:spTree>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9424" y="354330"/>
            <a:ext cx="8640764" cy="1081088"/>
          </a:xfrm>
        </p:spPr>
        <p:txBody>
          <a:bodyPr/>
          <a:lstStyle/>
          <a:p>
            <a:r>
              <a:rPr lang="en-US" err="1">
                <a:latin typeface="Ericsson Hilda Light" panose="00000400000000000000" pitchFamily="2" charset="0"/>
              </a:rPr>
              <a:t>Kommunikationsprotokoll</a:t>
            </a:r>
            <a:r>
              <a:rPr lang="en-US">
                <a:latin typeface="Ericsson Hilda Light" panose="00000400000000000000" pitchFamily="2" charset="0"/>
              </a:rPr>
              <a:t>: SPI</a:t>
            </a:r>
          </a:p>
        </p:txBody>
      </p:sp>
      <p:sp>
        <p:nvSpPr>
          <p:cNvPr id="10" name="Rectangle 9">
            <a:extLst>
              <a:ext uri="{FF2B5EF4-FFF2-40B4-BE49-F238E27FC236}">
                <a16:creationId xmlns:a16="http://schemas.microsoft.com/office/drawing/2014/main" id="{725FB8C9-084E-4112-AB41-E6007AA3C234}"/>
              </a:ext>
            </a:extLst>
          </p:cNvPr>
          <p:cNvSpPr/>
          <p:nvPr/>
        </p:nvSpPr>
        <p:spPr>
          <a:xfrm>
            <a:off x="11277600" y="309217"/>
            <a:ext cx="649357" cy="506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pic>
        <p:nvPicPr>
          <p:cNvPr id="5" name="Picture 4">
            <a:extLst>
              <a:ext uri="{FF2B5EF4-FFF2-40B4-BE49-F238E27FC236}">
                <a16:creationId xmlns:a16="http://schemas.microsoft.com/office/drawing/2014/main" id="{C6130054-B5B3-45A4-950C-99A1F5D503EF}"/>
              </a:ext>
            </a:extLst>
          </p:cNvPr>
          <p:cNvPicPr>
            <a:picLocks noChangeAspect="1"/>
          </p:cNvPicPr>
          <p:nvPr/>
        </p:nvPicPr>
        <p:blipFill>
          <a:blip r:embed="rId6"/>
          <a:stretch>
            <a:fillRect/>
          </a:stretch>
        </p:blipFill>
        <p:spPr>
          <a:xfrm>
            <a:off x="6848326" y="1875523"/>
            <a:ext cx="4965787" cy="3430124"/>
          </a:xfrm>
          <a:prstGeom prst="rect">
            <a:avLst/>
          </a:prstGeom>
          <a:ln>
            <a:solidFill>
              <a:schemeClr val="tx1"/>
            </a:solidFill>
          </a:ln>
        </p:spPr>
      </p:pic>
      <p:sp>
        <p:nvSpPr>
          <p:cNvPr id="11" name="TextBox 10">
            <a:extLst>
              <a:ext uri="{FF2B5EF4-FFF2-40B4-BE49-F238E27FC236}">
                <a16:creationId xmlns:a16="http://schemas.microsoft.com/office/drawing/2014/main" id="{4B1FC561-3BEF-48C6-9D76-70B3647978A9}"/>
              </a:ext>
            </a:extLst>
          </p:cNvPr>
          <p:cNvSpPr txBox="1"/>
          <p:nvPr/>
        </p:nvSpPr>
        <p:spPr>
          <a:xfrm>
            <a:off x="495720" y="1674360"/>
            <a:ext cx="4557600" cy="2554545"/>
          </a:xfrm>
          <a:prstGeom prst="rect">
            <a:avLst/>
          </a:prstGeom>
          <a:noFill/>
        </p:spPr>
        <p:txBody>
          <a:bodyPr wrap="square" rtlCol="0">
            <a:spAutoFit/>
          </a:bodyPr>
          <a:lstStyle/>
          <a:p>
            <a:pPr marL="342900" marR="0" indent="-342900"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r>
              <a:rPr lang="en-US">
                <a:latin typeface="Ericsson Hilda" panose="00000500000000000000" pitchFamily="2" charset="0"/>
              </a:rPr>
              <a:t>Buss för </a:t>
            </a:r>
            <a:r>
              <a:rPr lang="en-US" err="1">
                <a:latin typeface="Ericsson Hilda" panose="00000500000000000000" pitchFamily="2" charset="0"/>
              </a:rPr>
              <a:t>synkron</a:t>
            </a:r>
            <a:r>
              <a:rPr lang="en-US">
                <a:latin typeface="Ericsson Hilda" panose="00000500000000000000" pitchFamily="2" charset="0"/>
              </a:rPr>
              <a:t> </a:t>
            </a:r>
            <a:r>
              <a:rPr lang="en-US" err="1">
                <a:latin typeface="Ericsson Hilda" panose="00000500000000000000" pitchFamily="2" charset="0"/>
              </a:rPr>
              <a:t>seriekommunikation</a:t>
            </a:r>
            <a:endParaRPr lang="en-US">
              <a:latin typeface="Ericsson Hilda" panose="00000500000000000000" pitchFamily="2" charset="0"/>
            </a:endParaRPr>
          </a:p>
          <a:p>
            <a:pPr marL="342900" marR="0" indent="-342900"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r>
              <a:rPr lang="en-US">
                <a:latin typeface="Ericsson Hilda" panose="00000500000000000000" pitchFamily="2" charset="0"/>
              </a:rPr>
              <a:t>Master </a:t>
            </a:r>
            <a:r>
              <a:rPr lang="en-US" err="1">
                <a:latin typeface="Ericsson Hilda" panose="00000500000000000000" pitchFamily="2" charset="0"/>
              </a:rPr>
              <a:t>och</a:t>
            </a:r>
            <a:r>
              <a:rPr lang="en-US">
                <a:latin typeface="Ericsson Hilda" panose="00000500000000000000" pitchFamily="2" charset="0"/>
              </a:rPr>
              <a:t> </a:t>
            </a:r>
            <a:r>
              <a:rPr lang="en-US" err="1">
                <a:latin typeface="Ericsson Hilda" panose="00000500000000000000" pitchFamily="2" charset="0"/>
              </a:rPr>
              <a:t>slavenhet</a:t>
            </a:r>
            <a:endParaRPr lang="en-US">
              <a:latin typeface="Ericsson Hilda" panose="00000500000000000000" pitchFamily="2" charset="0"/>
            </a:endParaRPr>
          </a:p>
          <a:p>
            <a:pPr marL="342900" marR="0" indent="-342900"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r>
              <a:rPr lang="en-US">
                <a:latin typeface="Ericsson Hilda" panose="00000500000000000000" pitchFamily="2" charset="0"/>
              </a:rPr>
              <a:t>Duplex</a:t>
            </a:r>
          </a:p>
          <a:p>
            <a:pPr marL="342900" marR="0" indent="-342900"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r>
              <a:rPr lang="en-US" err="1">
                <a:latin typeface="Ericsson Hilda" panose="00000500000000000000" pitchFamily="2" charset="0"/>
              </a:rPr>
              <a:t>Fyra</a:t>
            </a:r>
            <a:r>
              <a:rPr lang="en-US">
                <a:latin typeface="Ericsson Hilda" panose="00000500000000000000" pitchFamily="2" charset="0"/>
              </a:rPr>
              <a:t> </a:t>
            </a:r>
            <a:r>
              <a:rPr lang="en-US" err="1">
                <a:latin typeface="Ericsson Hilda" panose="00000500000000000000" pitchFamily="2" charset="0"/>
              </a:rPr>
              <a:t>logiska</a:t>
            </a:r>
            <a:r>
              <a:rPr lang="en-US">
                <a:latin typeface="Ericsson Hilda" panose="00000500000000000000" pitchFamily="2" charset="0"/>
              </a:rPr>
              <a:t> signaler</a:t>
            </a:r>
          </a:p>
          <a:p>
            <a:pPr marL="800100" lvl="1" indent="-342900" fontAlgn="base">
              <a:spcBef>
                <a:spcPts val="300"/>
              </a:spcBef>
              <a:spcAft>
                <a:spcPct val="0"/>
              </a:spcAft>
              <a:buFont typeface="Ericsson Hilda" panose="00000500000000000000" pitchFamily="2" charset="0"/>
              <a:buChar char="—"/>
            </a:pPr>
            <a:r>
              <a:rPr kumimoji="0" lang="en-US" b="0" i="0" u="none" strike="noStrike" cap="none" normalizeH="0" baseline="0">
                <a:ln>
                  <a:noFill/>
                </a:ln>
                <a:effectLst/>
                <a:latin typeface="Ericsson Hilda" panose="00000500000000000000" pitchFamily="2" charset="0"/>
              </a:rPr>
              <a:t>SCLK</a:t>
            </a:r>
          </a:p>
          <a:p>
            <a:pPr marL="800100" lvl="1" indent="-342900" fontAlgn="base">
              <a:spcBef>
                <a:spcPts val="300"/>
              </a:spcBef>
              <a:spcAft>
                <a:spcPct val="0"/>
              </a:spcAft>
              <a:buFont typeface="Ericsson Hilda" panose="00000500000000000000" pitchFamily="2" charset="0"/>
              <a:buChar char="—"/>
            </a:pPr>
            <a:r>
              <a:rPr kumimoji="0" lang="en-US" b="0" i="0" u="none" strike="noStrike" cap="none" normalizeH="0" baseline="0">
                <a:ln>
                  <a:noFill/>
                </a:ln>
                <a:effectLst/>
                <a:latin typeface="Ericsson Hilda" panose="00000500000000000000" pitchFamily="2" charset="0"/>
              </a:rPr>
              <a:t>MOSI</a:t>
            </a:r>
          </a:p>
          <a:p>
            <a:pPr marL="800100" lvl="1" indent="-342900" fontAlgn="base">
              <a:spcBef>
                <a:spcPts val="300"/>
              </a:spcBef>
              <a:spcAft>
                <a:spcPct val="0"/>
              </a:spcAft>
              <a:buFont typeface="Ericsson Hilda" panose="00000500000000000000" pitchFamily="2" charset="0"/>
              <a:buChar char="—"/>
            </a:pPr>
            <a:r>
              <a:rPr lang="en-US">
                <a:latin typeface="Ericsson Hilda" panose="00000500000000000000" pitchFamily="2" charset="0"/>
              </a:rPr>
              <a:t>MISO</a:t>
            </a:r>
          </a:p>
          <a:p>
            <a:pPr marL="800100" lvl="1" indent="-342900" fontAlgn="base">
              <a:spcBef>
                <a:spcPts val="300"/>
              </a:spcBef>
              <a:spcAft>
                <a:spcPct val="0"/>
              </a:spcAft>
              <a:buFont typeface="Ericsson Hilda" panose="00000500000000000000" pitchFamily="2" charset="0"/>
              <a:buChar char="—"/>
            </a:pPr>
            <a:r>
              <a:rPr kumimoji="0" lang="en-US" b="0" i="0" u="none" strike="noStrike" cap="none" normalizeH="0" baseline="0">
                <a:ln>
                  <a:noFill/>
                </a:ln>
                <a:effectLst/>
                <a:latin typeface="Ericsson Hilda" panose="00000500000000000000" pitchFamily="2" charset="0"/>
              </a:rPr>
              <a:t>SS</a:t>
            </a:r>
          </a:p>
        </p:txBody>
      </p:sp>
    </p:spTree>
    <p:custDataLst>
      <p:custData r:id="rId1"/>
      <p:custData r:id="rId2"/>
      <p:tags r:id="rId3"/>
    </p:custDataLst>
    <p:extLst>
      <p:ext uri="{BB962C8B-B14F-4D97-AF65-F5344CB8AC3E}">
        <p14:creationId xmlns:p14="http://schemas.microsoft.com/office/powerpoint/2010/main" val="34089291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9424" y="354330"/>
            <a:ext cx="8640764" cy="1081088"/>
          </a:xfrm>
        </p:spPr>
        <p:txBody>
          <a:bodyPr/>
          <a:lstStyle/>
          <a:p>
            <a:r>
              <a:rPr lang="en-US" err="1">
                <a:latin typeface="Ericsson Hilda Light" panose="00000400000000000000" pitchFamily="2" charset="0"/>
              </a:rPr>
              <a:t>Kommunikationsprotokoll</a:t>
            </a:r>
            <a:r>
              <a:rPr lang="en-US">
                <a:latin typeface="Ericsson Hilda Light" panose="00000400000000000000" pitchFamily="2" charset="0"/>
              </a:rPr>
              <a:t>: TWI</a:t>
            </a:r>
          </a:p>
        </p:txBody>
      </p:sp>
      <p:sp>
        <p:nvSpPr>
          <p:cNvPr id="10" name="Rectangle 9">
            <a:extLst>
              <a:ext uri="{FF2B5EF4-FFF2-40B4-BE49-F238E27FC236}">
                <a16:creationId xmlns:a16="http://schemas.microsoft.com/office/drawing/2014/main" id="{725FB8C9-084E-4112-AB41-E6007AA3C234}"/>
              </a:ext>
            </a:extLst>
          </p:cNvPr>
          <p:cNvSpPr/>
          <p:nvPr/>
        </p:nvSpPr>
        <p:spPr>
          <a:xfrm>
            <a:off x="11277600" y="309217"/>
            <a:ext cx="649357" cy="506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pic>
        <p:nvPicPr>
          <p:cNvPr id="6" name="Picture 5">
            <a:extLst>
              <a:ext uri="{FF2B5EF4-FFF2-40B4-BE49-F238E27FC236}">
                <a16:creationId xmlns:a16="http://schemas.microsoft.com/office/drawing/2014/main" id="{55D2E903-C86F-4B2B-B08B-EE1B128BE929}"/>
              </a:ext>
            </a:extLst>
          </p:cNvPr>
          <p:cNvPicPr>
            <a:picLocks noChangeAspect="1"/>
          </p:cNvPicPr>
          <p:nvPr/>
        </p:nvPicPr>
        <p:blipFill>
          <a:blip r:embed="rId6"/>
          <a:stretch>
            <a:fillRect/>
          </a:stretch>
        </p:blipFill>
        <p:spPr>
          <a:xfrm>
            <a:off x="5090401" y="1877795"/>
            <a:ext cx="6469212" cy="2639770"/>
          </a:xfrm>
          <a:prstGeom prst="rect">
            <a:avLst/>
          </a:prstGeom>
          <a:ln>
            <a:solidFill>
              <a:schemeClr val="tx1"/>
            </a:solidFill>
          </a:ln>
        </p:spPr>
      </p:pic>
      <p:sp>
        <p:nvSpPr>
          <p:cNvPr id="11" name="TextBox 10">
            <a:extLst>
              <a:ext uri="{FF2B5EF4-FFF2-40B4-BE49-F238E27FC236}">
                <a16:creationId xmlns:a16="http://schemas.microsoft.com/office/drawing/2014/main" id="{8B5F5FED-5017-454A-B9EE-B34F4561AE22}"/>
              </a:ext>
            </a:extLst>
          </p:cNvPr>
          <p:cNvSpPr txBox="1"/>
          <p:nvPr/>
        </p:nvSpPr>
        <p:spPr>
          <a:xfrm>
            <a:off x="495720" y="1674360"/>
            <a:ext cx="4557600" cy="2554545"/>
          </a:xfrm>
          <a:prstGeom prst="rect">
            <a:avLst/>
          </a:prstGeom>
          <a:noFill/>
        </p:spPr>
        <p:txBody>
          <a:bodyPr wrap="square" rtlCol="0">
            <a:spAutoFit/>
          </a:bodyPr>
          <a:lstStyle/>
          <a:p>
            <a:pPr marL="635">
              <a:lnSpc>
                <a:spcPct val="100000"/>
              </a:lnSpc>
              <a:buClr>
                <a:srgbClr val="181818"/>
              </a:buClr>
            </a:pPr>
            <a:r>
              <a:rPr lang="sv-SE" sz="2000" spc="-1" dirty="0">
                <a:solidFill>
                  <a:srgbClr val="181818"/>
                </a:solidFill>
                <a:uFill>
                  <a:solidFill>
                    <a:srgbClr val="FFFFFF"/>
                  </a:solidFill>
                </a:uFill>
                <a:latin typeface="Ericsson Hilda" panose="00000500000000000000" pitchFamily="2" charset="0"/>
              </a:rPr>
              <a:t>Protokollet</a:t>
            </a:r>
          </a:p>
          <a:p>
            <a:pPr marL="344170" indent="-343535">
              <a:lnSpc>
                <a:spcPct val="100000"/>
              </a:lnSpc>
              <a:buClr>
                <a:srgbClr val="181818"/>
              </a:buClr>
              <a:buFont typeface="Ericsson Hilda Light"/>
              <a:buChar char="—"/>
            </a:pPr>
            <a:r>
              <a:rPr lang="sv-SE" sz="2000" spc="-1" dirty="0">
                <a:solidFill>
                  <a:srgbClr val="181818"/>
                </a:solidFill>
                <a:uFill>
                  <a:solidFill>
                    <a:srgbClr val="FFFFFF"/>
                  </a:solidFill>
                </a:uFill>
                <a:latin typeface="Ericsson Hilda" panose="00000500000000000000" pitchFamily="2" charset="0"/>
              </a:rPr>
              <a:t>Seriell kommunikation mellan processor och komponenter</a:t>
            </a:r>
          </a:p>
          <a:p>
            <a:pPr marL="344170" indent="-343535">
              <a:lnSpc>
                <a:spcPct val="100000"/>
              </a:lnSpc>
              <a:buClr>
                <a:srgbClr val="181818"/>
              </a:buClr>
              <a:buFont typeface="Ericsson Hilda Light"/>
              <a:buChar char="—"/>
            </a:pPr>
            <a:r>
              <a:rPr lang="sv-SE" sz="2000" spc="-1" dirty="0">
                <a:solidFill>
                  <a:srgbClr val="181818"/>
                </a:solidFill>
                <a:uFill>
                  <a:solidFill>
                    <a:srgbClr val="FFFFFF"/>
                  </a:solidFill>
                </a:uFill>
                <a:latin typeface="Ericsson Hilda" panose="00000500000000000000" pitchFamily="2" charset="0"/>
              </a:rPr>
              <a:t>Master och Slavenhet</a:t>
            </a:r>
          </a:p>
          <a:p>
            <a:pPr marL="344170" indent="-343535">
              <a:lnSpc>
                <a:spcPct val="100000"/>
              </a:lnSpc>
              <a:buClr>
                <a:srgbClr val="181818"/>
              </a:buClr>
              <a:buFont typeface="Ericsson Hilda Light"/>
              <a:buChar char="—"/>
            </a:pPr>
            <a:r>
              <a:rPr lang="sv-SE" sz="2000" spc="-1" dirty="0">
                <a:solidFill>
                  <a:srgbClr val="181818"/>
                </a:solidFill>
                <a:uFill>
                  <a:solidFill>
                    <a:srgbClr val="FFFFFF"/>
                  </a:solidFill>
                </a:uFill>
                <a:latin typeface="Ericsson Hilda" panose="00000500000000000000" pitchFamily="2" charset="0"/>
              </a:rPr>
              <a:t>Två logiska signaler</a:t>
            </a:r>
          </a:p>
          <a:p>
            <a:pPr marL="801370" lvl="1" indent="-343535">
              <a:buClr>
                <a:srgbClr val="181818"/>
              </a:buClr>
              <a:buFont typeface="Ericsson Hilda Light"/>
              <a:buChar char="—"/>
            </a:pPr>
            <a:r>
              <a:rPr lang="sv-SE" sz="2000" spc="-1" dirty="0">
                <a:solidFill>
                  <a:srgbClr val="181818"/>
                </a:solidFill>
                <a:uFill>
                  <a:solidFill>
                    <a:srgbClr val="FFFFFF"/>
                  </a:solidFill>
                </a:uFill>
                <a:latin typeface="Ericsson Hilda" panose="00000500000000000000" pitchFamily="2" charset="0"/>
              </a:rPr>
              <a:t>SCL</a:t>
            </a:r>
          </a:p>
          <a:p>
            <a:pPr marL="801370" lvl="1" indent="-343535">
              <a:buClr>
                <a:srgbClr val="181818"/>
              </a:buClr>
              <a:buFont typeface="Ericsson Hilda Light"/>
              <a:buChar char="—"/>
            </a:pPr>
            <a:r>
              <a:rPr lang="sv-SE" sz="2000" spc="-1" dirty="0">
                <a:solidFill>
                  <a:srgbClr val="181818"/>
                </a:solidFill>
                <a:uFill>
                  <a:solidFill>
                    <a:srgbClr val="FFFFFF"/>
                  </a:solidFill>
                </a:uFill>
                <a:latin typeface="Ericsson Hilda" panose="00000500000000000000" pitchFamily="2" charset="0"/>
              </a:rPr>
              <a:t>SDA</a:t>
            </a:r>
          </a:p>
          <a:p>
            <a:pPr marL="344170" indent="-343535">
              <a:lnSpc>
                <a:spcPct val="100000"/>
              </a:lnSpc>
              <a:buClr>
                <a:srgbClr val="181818"/>
              </a:buClr>
              <a:buFont typeface="Ericsson Hilda Light"/>
              <a:buChar char="—"/>
            </a:pPr>
            <a:endParaRPr lang="sv-SE" sz="2000" spc="-1" dirty="0">
              <a:solidFill>
                <a:srgbClr val="181818"/>
              </a:solidFill>
              <a:uFill>
                <a:solidFill>
                  <a:srgbClr val="FFFFFF"/>
                </a:solidFill>
              </a:uFill>
              <a:latin typeface="Ericsson Hilda" panose="00000500000000000000" pitchFamily="2" charset="0"/>
            </a:endParaRPr>
          </a:p>
        </p:txBody>
      </p:sp>
      <p:sp>
        <p:nvSpPr>
          <p:cNvPr id="3" name="Rectangle 2">
            <a:extLst>
              <a:ext uri="{FF2B5EF4-FFF2-40B4-BE49-F238E27FC236}">
                <a16:creationId xmlns:a16="http://schemas.microsoft.com/office/drawing/2014/main" id="{C575FBA5-8AF9-4434-B3A4-669D22D7B851}"/>
              </a:ext>
            </a:extLst>
          </p:cNvPr>
          <p:cNvSpPr/>
          <p:nvPr/>
        </p:nvSpPr>
        <p:spPr>
          <a:xfrm>
            <a:off x="5462546" y="1940118"/>
            <a:ext cx="747423" cy="6917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7" name="Rectangle 6">
            <a:extLst>
              <a:ext uri="{FF2B5EF4-FFF2-40B4-BE49-F238E27FC236}">
                <a16:creationId xmlns:a16="http://schemas.microsoft.com/office/drawing/2014/main" id="{65FE3F15-C175-488B-81CF-32A8A3E45FCE}"/>
              </a:ext>
            </a:extLst>
          </p:cNvPr>
          <p:cNvSpPr/>
          <p:nvPr/>
        </p:nvSpPr>
        <p:spPr>
          <a:xfrm>
            <a:off x="6345141" y="1940118"/>
            <a:ext cx="1582309" cy="6917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8" name="Rectangle 7">
            <a:extLst>
              <a:ext uri="{FF2B5EF4-FFF2-40B4-BE49-F238E27FC236}">
                <a16:creationId xmlns:a16="http://schemas.microsoft.com/office/drawing/2014/main" id="{F60B948D-6BD9-46E2-A9A8-870887EB5D62}"/>
              </a:ext>
            </a:extLst>
          </p:cNvPr>
          <p:cNvSpPr/>
          <p:nvPr/>
        </p:nvSpPr>
        <p:spPr>
          <a:xfrm>
            <a:off x="8062622" y="1940118"/>
            <a:ext cx="1582309" cy="6917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9" name="Rectangle 8">
            <a:extLst>
              <a:ext uri="{FF2B5EF4-FFF2-40B4-BE49-F238E27FC236}">
                <a16:creationId xmlns:a16="http://schemas.microsoft.com/office/drawing/2014/main" id="{A532F8C0-477A-44BA-85BA-336DA3F9CDCA}"/>
              </a:ext>
            </a:extLst>
          </p:cNvPr>
          <p:cNvSpPr/>
          <p:nvPr/>
        </p:nvSpPr>
        <p:spPr>
          <a:xfrm>
            <a:off x="9811117" y="1940118"/>
            <a:ext cx="1582309" cy="6917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2" name="Rectangle 11">
            <a:extLst>
              <a:ext uri="{FF2B5EF4-FFF2-40B4-BE49-F238E27FC236}">
                <a16:creationId xmlns:a16="http://schemas.microsoft.com/office/drawing/2014/main" id="{43D07C01-22A1-40D4-8AF0-E374EA616FAE}"/>
              </a:ext>
            </a:extLst>
          </p:cNvPr>
          <p:cNvSpPr/>
          <p:nvPr/>
        </p:nvSpPr>
        <p:spPr>
          <a:xfrm>
            <a:off x="5629522" y="3904090"/>
            <a:ext cx="906449" cy="413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3" name="Rectangle 12">
            <a:extLst>
              <a:ext uri="{FF2B5EF4-FFF2-40B4-BE49-F238E27FC236}">
                <a16:creationId xmlns:a16="http://schemas.microsoft.com/office/drawing/2014/main" id="{1C3F5E55-427B-409E-A801-E7D40CAB52D7}"/>
              </a:ext>
            </a:extLst>
          </p:cNvPr>
          <p:cNvSpPr/>
          <p:nvPr/>
        </p:nvSpPr>
        <p:spPr>
          <a:xfrm>
            <a:off x="7354955" y="3904090"/>
            <a:ext cx="906449" cy="413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4" name="Rectangle 13">
            <a:extLst>
              <a:ext uri="{FF2B5EF4-FFF2-40B4-BE49-F238E27FC236}">
                <a16:creationId xmlns:a16="http://schemas.microsoft.com/office/drawing/2014/main" id="{2EDBD79C-B021-4230-A3E8-42044C232141}"/>
              </a:ext>
            </a:extLst>
          </p:cNvPr>
          <p:cNvSpPr/>
          <p:nvPr/>
        </p:nvSpPr>
        <p:spPr>
          <a:xfrm>
            <a:off x="9080388" y="3904090"/>
            <a:ext cx="978012" cy="413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5" name="Rectangle 14">
            <a:extLst>
              <a:ext uri="{FF2B5EF4-FFF2-40B4-BE49-F238E27FC236}">
                <a16:creationId xmlns:a16="http://schemas.microsoft.com/office/drawing/2014/main" id="{32C5FE48-4736-4336-900F-D395983591E2}"/>
              </a:ext>
            </a:extLst>
          </p:cNvPr>
          <p:cNvSpPr/>
          <p:nvPr/>
        </p:nvSpPr>
        <p:spPr>
          <a:xfrm>
            <a:off x="10618682" y="3808676"/>
            <a:ext cx="658918" cy="413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custDataLst>
      <p:custData r:id="rId1"/>
      <p:custData r:id="rId2"/>
      <p:tags r:id="rId3"/>
    </p:custDataLst>
    <p:extLst>
      <p:ext uri="{BB962C8B-B14F-4D97-AF65-F5344CB8AC3E}">
        <p14:creationId xmlns:p14="http://schemas.microsoft.com/office/powerpoint/2010/main" val="36611651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9424" y="354330"/>
            <a:ext cx="8640764" cy="1081088"/>
          </a:xfrm>
        </p:spPr>
        <p:txBody>
          <a:bodyPr/>
          <a:lstStyle/>
          <a:p>
            <a:r>
              <a:rPr lang="en-US" err="1">
                <a:latin typeface="Ericsson Hilda Light" panose="00000400000000000000" pitchFamily="2" charset="0"/>
              </a:rPr>
              <a:t>Kommunikationsprotokoll</a:t>
            </a:r>
            <a:r>
              <a:rPr lang="en-US">
                <a:latin typeface="Ericsson Hilda Light" panose="00000400000000000000" pitchFamily="2" charset="0"/>
              </a:rPr>
              <a:t>: TWI</a:t>
            </a:r>
          </a:p>
        </p:txBody>
      </p:sp>
      <p:sp>
        <p:nvSpPr>
          <p:cNvPr id="10" name="Rectangle 9">
            <a:extLst>
              <a:ext uri="{FF2B5EF4-FFF2-40B4-BE49-F238E27FC236}">
                <a16:creationId xmlns:a16="http://schemas.microsoft.com/office/drawing/2014/main" id="{725FB8C9-084E-4112-AB41-E6007AA3C234}"/>
              </a:ext>
            </a:extLst>
          </p:cNvPr>
          <p:cNvSpPr/>
          <p:nvPr/>
        </p:nvSpPr>
        <p:spPr>
          <a:xfrm>
            <a:off x="11277600" y="309217"/>
            <a:ext cx="649357" cy="506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pic>
        <p:nvPicPr>
          <p:cNvPr id="6" name="Picture 5">
            <a:extLst>
              <a:ext uri="{FF2B5EF4-FFF2-40B4-BE49-F238E27FC236}">
                <a16:creationId xmlns:a16="http://schemas.microsoft.com/office/drawing/2014/main" id="{55D2E903-C86F-4B2B-B08B-EE1B128BE929}"/>
              </a:ext>
            </a:extLst>
          </p:cNvPr>
          <p:cNvPicPr>
            <a:picLocks noChangeAspect="1"/>
          </p:cNvPicPr>
          <p:nvPr/>
        </p:nvPicPr>
        <p:blipFill>
          <a:blip r:embed="rId6"/>
          <a:stretch>
            <a:fillRect/>
          </a:stretch>
        </p:blipFill>
        <p:spPr>
          <a:xfrm>
            <a:off x="5090401" y="1877795"/>
            <a:ext cx="6469212" cy="2639770"/>
          </a:xfrm>
          <a:prstGeom prst="rect">
            <a:avLst/>
          </a:prstGeom>
          <a:ln>
            <a:solidFill>
              <a:schemeClr val="tx1"/>
            </a:solidFill>
          </a:ln>
        </p:spPr>
      </p:pic>
      <p:sp>
        <p:nvSpPr>
          <p:cNvPr id="11" name="TextBox 10">
            <a:extLst>
              <a:ext uri="{FF2B5EF4-FFF2-40B4-BE49-F238E27FC236}">
                <a16:creationId xmlns:a16="http://schemas.microsoft.com/office/drawing/2014/main" id="{8B5F5FED-5017-454A-B9EE-B34F4561AE22}"/>
              </a:ext>
            </a:extLst>
          </p:cNvPr>
          <p:cNvSpPr txBox="1"/>
          <p:nvPr/>
        </p:nvSpPr>
        <p:spPr>
          <a:xfrm>
            <a:off x="495720" y="1674360"/>
            <a:ext cx="4557600" cy="2554545"/>
          </a:xfrm>
          <a:prstGeom prst="rect">
            <a:avLst/>
          </a:prstGeom>
          <a:noFill/>
        </p:spPr>
        <p:txBody>
          <a:bodyPr wrap="square" rtlCol="0">
            <a:spAutoFit/>
          </a:bodyPr>
          <a:lstStyle/>
          <a:p>
            <a:pPr marL="635">
              <a:lnSpc>
                <a:spcPct val="100000"/>
              </a:lnSpc>
              <a:buClr>
                <a:srgbClr val="181818"/>
              </a:buClr>
            </a:pPr>
            <a:endParaRPr lang="sv-SE" sz="2000" spc="-1" dirty="0">
              <a:solidFill>
                <a:srgbClr val="181818"/>
              </a:solidFill>
              <a:uFill>
                <a:solidFill>
                  <a:srgbClr val="FFFFFF"/>
                </a:solidFill>
              </a:uFill>
              <a:latin typeface="Ericsson Hilda" panose="00000500000000000000" pitchFamily="2" charset="0"/>
            </a:endParaRPr>
          </a:p>
          <a:p>
            <a:pPr marL="344170" indent="-343535">
              <a:buClr>
                <a:srgbClr val="181818"/>
              </a:buClr>
              <a:buFont typeface="Ericsson Hilda Light"/>
              <a:buChar char="—"/>
            </a:pPr>
            <a:r>
              <a:rPr lang="sv-SE" sz="2000" spc="-1" dirty="0">
                <a:solidFill>
                  <a:srgbClr val="181818"/>
                </a:solidFill>
                <a:uFill>
                  <a:solidFill>
                    <a:srgbClr val="FFFFFF"/>
                  </a:solidFill>
                </a:uFill>
                <a:latin typeface="Ericsson Hilda" panose="00000500000000000000" pitchFamily="2" charset="0"/>
              </a:rPr>
              <a:t>Komponenterna kommunicerar genom att hitta addressen för kompenten</a:t>
            </a:r>
          </a:p>
          <a:p>
            <a:pPr marL="635">
              <a:buClr>
                <a:srgbClr val="181818"/>
              </a:buClr>
            </a:pPr>
            <a:endParaRPr lang="sv-SE" sz="2000" spc="-1" dirty="0">
              <a:solidFill>
                <a:srgbClr val="181818"/>
              </a:solidFill>
              <a:uFill>
                <a:solidFill>
                  <a:srgbClr val="FFFFFF"/>
                </a:solidFill>
              </a:uFill>
              <a:latin typeface="Ericsson Hilda" panose="00000500000000000000" pitchFamily="2" charset="0"/>
            </a:endParaRPr>
          </a:p>
          <a:p>
            <a:pPr marL="635">
              <a:lnSpc>
                <a:spcPct val="100000"/>
              </a:lnSpc>
              <a:buClr>
                <a:srgbClr val="181818"/>
              </a:buClr>
            </a:pPr>
            <a:r>
              <a:rPr lang="sv-SE" sz="2000" spc="-1" dirty="0">
                <a:solidFill>
                  <a:srgbClr val="181818"/>
                </a:solidFill>
                <a:uFill>
                  <a:solidFill>
                    <a:srgbClr val="FFFFFF"/>
                  </a:solidFill>
                </a:uFill>
                <a:latin typeface="Ericsson Hilda" panose="00000500000000000000" pitchFamily="2" charset="0"/>
              </a:rPr>
              <a:t>Komponeter som drivs med TWI</a:t>
            </a:r>
          </a:p>
          <a:p>
            <a:pPr marL="344170" indent="-343535">
              <a:lnSpc>
                <a:spcPct val="100000"/>
              </a:lnSpc>
              <a:buClr>
                <a:srgbClr val="181818"/>
              </a:buClr>
              <a:buFont typeface="Ericsson Hilda Light"/>
              <a:buChar char="—"/>
            </a:pPr>
            <a:r>
              <a:rPr lang="sv-SE" sz="2000" spc="-1" dirty="0">
                <a:solidFill>
                  <a:srgbClr val="181818"/>
                </a:solidFill>
                <a:uFill>
                  <a:solidFill>
                    <a:srgbClr val="FFFFFF"/>
                  </a:solidFill>
                </a:uFill>
                <a:latin typeface="Ericsson Hilda" panose="00000500000000000000" pitchFamily="2" charset="0"/>
              </a:rPr>
              <a:t>Knappar</a:t>
            </a:r>
          </a:p>
          <a:p>
            <a:pPr marL="344170" indent="-343535">
              <a:lnSpc>
                <a:spcPct val="100000"/>
              </a:lnSpc>
              <a:buClr>
                <a:srgbClr val="181818"/>
              </a:buClr>
              <a:buFont typeface="Ericsson Hilda Light"/>
              <a:buChar char="—"/>
            </a:pPr>
            <a:r>
              <a:rPr lang="sv-SE" sz="2000" spc="-1" dirty="0">
                <a:solidFill>
                  <a:srgbClr val="181818"/>
                </a:solidFill>
                <a:uFill>
                  <a:solidFill>
                    <a:srgbClr val="FFFFFF"/>
                  </a:solidFill>
                </a:uFill>
                <a:latin typeface="Ericsson Hilda" panose="00000500000000000000" pitchFamily="2" charset="0"/>
              </a:rPr>
              <a:t>7 segement</a:t>
            </a:r>
          </a:p>
        </p:txBody>
      </p:sp>
      <p:sp>
        <p:nvSpPr>
          <p:cNvPr id="3" name="Rectangle 2">
            <a:extLst>
              <a:ext uri="{FF2B5EF4-FFF2-40B4-BE49-F238E27FC236}">
                <a16:creationId xmlns:a16="http://schemas.microsoft.com/office/drawing/2014/main" id="{C575FBA5-8AF9-4434-B3A4-669D22D7B851}"/>
              </a:ext>
            </a:extLst>
          </p:cNvPr>
          <p:cNvSpPr/>
          <p:nvPr/>
        </p:nvSpPr>
        <p:spPr>
          <a:xfrm>
            <a:off x="5462546" y="1940118"/>
            <a:ext cx="747423" cy="6917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7" name="Rectangle 6">
            <a:extLst>
              <a:ext uri="{FF2B5EF4-FFF2-40B4-BE49-F238E27FC236}">
                <a16:creationId xmlns:a16="http://schemas.microsoft.com/office/drawing/2014/main" id="{65FE3F15-C175-488B-81CF-32A8A3E45FCE}"/>
              </a:ext>
            </a:extLst>
          </p:cNvPr>
          <p:cNvSpPr/>
          <p:nvPr/>
        </p:nvSpPr>
        <p:spPr>
          <a:xfrm>
            <a:off x="6345141" y="1940118"/>
            <a:ext cx="1582309" cy="6917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8" name="Rectangle 7">
            <a:extLst>
              <a:ext uri="{FF2B5EF4-FFF2-40B4-BE49-F238E27FC236}">
                <a16:creationId xmlns:a16="http://schemas.microsoft.com/office/drawing/2014/main" id="{F60B948D-6BD9-46E2-A9A8-870887EB5D62}"/>
              </a:ext>
            </a:extLst>
          </p:cNvPr>
          <p:cNvSpPr/>
          <p:nvPr/>
        </p:nvSpPr>
        <p:spPr>
          <a:xfrm>
            <a:off x="8062622" y="1940118"/>
            <a:ext cx="1582309" cy="6917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9" name="Rectangle 8">
            <a:extLst>
              <a:ext uri="{FF2B5EF4-FFF2-40B4-BE49-F238E27FC236}">
                <a16:creationId xmlns:a16="http://schemas.microsoft.com/office/drawing/2014/main" id="{A532F8C0-477A-44BA-85BA-336DA3F9CDCA}"/>
              </a:ext>
            </a:extLst>
          </p:cNvPr>
          <p:cNvSpPr/>
          <p:nvPr/>
        </p:nvSpPr>
        <p:spPr>
          <a:xfrm>
            <a:off x="9811117" y="1940118"/>
            <a:ext cx="1582309" cy="6917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2" name="Rectangle 11">
            <a:extLst>
              <a:ext uri="{FF2B5EF4-FFF2-40B4-BE49-F238E27FC236}">
                <a16:creationId xmlns:a16="http://schemas.microsoft.com/office/drawing/2014/main" id="{43D07C01-22A1-40D4-8AF0-E374EA616FAE}"/>
              </a:ext>
            </a:extLst>
          </p:cNvPr>
          <p:cNvSpPr/>
          <p:nvPr/>
        </p:nvSpPr>
        <p:spPr>
          <a:xfrm>
            <a:off x="5629522" y="3904090"/>
            <a:ext cx="906449" cy="413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3" name="Rectangle 12">
            <a:extLst>
              <a:ext uri="{FF2B5EF4-FFF2-40B4-BE49-F238E27FC236}">
                <a16:creationId xmlns:a16="http://schemas.microsoft.com/office/drawing/2014/main" id="{1C3F5E55-427B-409E-A801-E7D40CAB52D7}"/>
              </a:ext>
            </a:extLst>
          </p:cNvPr>
          <p:cNvSpPr/>
          <p:nvPr/>
        </p:nvSpPr>
        <p:spPr>
          <a:xfrm>
            <a:off x="7354955" y="3904090"/>
            <a:ext cx="906449" cy="413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4" name="Rectangle 13">
            <a:extLst>
              <a:ext uri="{FF2B5EF4-FFF2-40B4-BE49-F238E27FC236}">
                <a16:creationId xmlns:a16="http://schemas.microsoft.com/office/drawing/2014/main" id="{2EDBD79C-B021-4230-A3E8-42044C232141}"/>
              </a:ext>
            </a:extLst>
          </p:cNvPr>
          <p:cNvSpPr/>
          <p:nvPr/>
        </p:nvSpPr>
        <p:spPr>
          <a:xfrm>
            <a:off x="9080388" y="3904090"/>
            <a:ext cx="978012" cy="413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5" name="Rectangle 14">
            <a:extLst>
              <a:ext uri="{FF2B5EF4-FFF2-40B4-BE49-F238E27FC236}">
                <a16:creationId xmlns:a16="http://schemas.microsoft.com/office/drawing/2014/main" id="{32C5FE48-4736-4336-900F-D395983591E2}"/>
              </a:ext>
            </a:extLst>
          </p:cNvPr>
          <p:cNvSpPr/>
          <p:nvPr/>
        </p:nvSpPr>
        <p:spPr>
          <a:xfrm>
            <a:off x="10618682" y="3808676"/>
            <a:ext cx="658918" cy="413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pic>
        <p:nvPicPr>
          <p:cNvPr id="16" name="Picture 15">
            <a:extLst>
              <a:ext uri="{FF2B5EF4-FFF2-40B4-BE49-F238E27FC236}">
                <a16:creationId xmlns:a16="http://schemas.microsoft.com/office/drawing/2014/main" id="{149B163F-DC1F-86D0-C106-500D294D4F29}"/>
              </a:ext>
            </a:extLst>
          </p:cNvPr>
          <p:cNvPicPr>
            <a:picLocks noChangeAspect="1"/>
          </p:cNvPicPr>
          <p:nvPr/>
        </p:nvPicPr>
        <p:blipFill>
          <a:blip r:embed="rId6"/>
          <a:stretch>
            <a:fillRect/>
          </a:stretch>
        </p:blipFill>
        <p:spPr>
          <a:xfrm>
            <a:off x="2472994" y="2685771"/>
            <a:ext cx="6469212" cy="2639770"/>
          </a:xfrm>
          <a:prstGeom prst="rect">
            <a:avLst/>
          </a:prstGeom>
          <a:ln>
            <a:solidFill>
              <a:schemeClr val="tx1"/>
            </a:solidFill>
          </a:ln>
        </p:spPr>
      </p:pic>
      <p:sp>
        <p:nvSpPr>
          <p:cNvPr id="17" name="Rectangle 16">
            <a:extLst>
              <a:ext uri="{FF2B5EF4-FFF2-40B4-BE49-F238E27FC236}">
                <a16:creationId xmlns:a16="http://schemas.microsoft.com/office/drawing/2014/main" id="{630372D8-EDD1-2388-5EAD-9CD35EC3F41B}"/>
              </a:ext>
            </a:extLst>
          </p:cNvPr>
          <p:cNvSpPr/>
          <p:nvPr/>
        </p:nvSpPr>
        <p:spPr>
          <a:xfrm>
            <a:off x="3874294" y="3235184"/>
            <a:ext cx="473870" cy="1033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rPr>
              <a:t>TWINT</a:t>
            </a:r>
            <a:endParaRPr lang="en-SE" sz="700" dirty="0">
              <a:solidFill>
                <a:schemeClr val="tx1"/>
              </a:solidFill>
            </a:endParaRPr>
          </a:p>
        </p:txBody>
      </p:sp>
      <p:sp>
        <p:nvSpPr>
          <p:cNvPr id="18" name="Rectangle 17">
            <a:extLst>
              <a:ext uri="{FF2B5EF4-FFF2-40B4-BE49-F238E27FC236}">
                <a16:creationId xmlns:a16="http://schemas.microsoft.com/office/drawing/2014/main" id="{90D1ED60-63C3-70C6-3477-34A0A3FF2459}"/>
              </a:ext>
            </a:extLst>
          </p:cNvPr>
          <p:cNvSpPr/>
          <p:nvPr/>
        </p:nvSpPr>
        <p:spPr>
          <a:xfrm>
            <a:off x="6588607" y="3235184"/>
            <a:ext cx="617055" cy="1033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rPr>
              <a:t>TWINT is</a:t>
            </a:r>
            <a:endParaRPr lang="en-SE" sz="700" dirty="0">
              <a:solidFill>
                <a:schemeClr val="tx1"/>
              </a:solidFill>
            </a:endParaRPr>
          </a:p>
        </p:txBody>
      </p:sp>
      <p:sp>
        <p:nvSpPr>
          <p:cNvPr id="19" name="Rectangle 18">
            <a:extLst>
              <a:ext uri="{FF2B5EF4-FFF2-40B4-BE49-F238E27FC236}">
                <a16:creationId xmlns:a16="http://schemas.microsoft.com/office/drawing/2014/main" id="{072B3F1D-F084-189D-6D9E-D40F8A2C8F5A}"/>
              </a:ext>
            </a:extLst>
          </p:cNvPr>
          <p:cNvSpPr/>
          <p:nvPr/>
        </p:nvSpPr>
        <p:spPr>
          <a:xfrm>
            <a:off x="8122132" y="3235184"/>
            <a:ext cx="617055" cy="1033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rPr>
              <a:t>TWINT is</a:t>
            </a:r>
            <a:endParaRPr lang="en-SE" sz="700" dirty="0">
              <a:solidFill>
                <a:schemeClr val="tx1"/>
              </a:solidFill>
            </a:endParaRPr>
          </a:p>
        </p:txBody>
      </p:sp>
      <p:sp>
        <p:nvSpPr>
          <p:cNvPr id="20" name="Rectangle 19">
            <a:extLst>
              <a:ext uri="{FF2B5EF4-FFF2-40B4-BE49-F238E27FC236}">
                <a16:creationId xmlns:a16="http://schemas.microsoft.com/office/drawing/2014/main" id="{D250D698-AAB9-C54B-0804-2C81945809F9}"/>
              </a:ext>
            </a:extLst>
          </p:cNvPr>
          <p:cNvSpPr/>
          <p:nvPr/>
        </p:nvSpPr>
        <p:spPr>
          <a:xfrm>
            <a:off x="3286125" y="4778319"/>
            <a:ext cx="642938" cy="115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rPr>
              <a:t>TWINT set</a:t>
            </a:r>
            <a:endParaRPr lang="en-SE" sz="700" dirty="0">
              <a:solidFill>
                <a:schemeClr val="tx1"/>
              </a:solidFill>
            </a:endParaRPr>
          </a:p>
        </p:txBody>
      </p:sp>
      <p:sp>
        <p:nvSpPr>
          <p:cNvPr id="23" name="Rectangle 22">
            <a:extLst>
              <a:ext uri="{FF2B5EF4-FFF2-40B4-BE49-F238E27FC236}">
                <a16:creationId xmlns:a16="http://schemas.microsoft.com/office/drawing/2014/main" id="{613C1678-160F-12F9-EE85-45F2B45885D9}"/>
              </a:ext>
            </a:extLst>
          </p:cNvPr>
          <p:cNvSpPr/>
          <p:nvPr/>
        </p:nvSpPr>
        <p:spPr>
          <a:xfrm>
            <a:off x="5024247" y="4719648"/>
            <a:ext cx="642938" cy="115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rPr>
              <a:t>TWINT set</a:t>
            </a:r>
            <a:endParaRPr lang="en-SE" sz="700" dirty="0">
              <a:solidFill>
                <a:schemeClr val="tx1"/>
              </a:solidFill>
            </a:endParaRPr>
          </a:p>
        </p:txBody>
      </p:sp>
      <p:sp>
        <p:nvSpPr>
          <p:cNvPr id="24" name="Rectangle 23">
            <a:extLst>
              <a:ext uri="{FF2B5EF4-FFF2-40B4-BE49-F238E27FC236}">
                <a16:creationId xmlns:a16="http://schemas.microsoft.com/office/drawing/2014/main" id="{8D994BA3-8480-BAA5-62EE-9BBA00F6929B}"/>
              </a:ext>
            </a:extLst>
          </p:cNvPr>
          <p:cNvSpPr/>
          <p:nvPr/>
        </p:nvSpPr>
        <p:spPr>
          <a:xfrm>
            <a:off x="6762369" y="4767984"/>
            <a:ext cx="642938" cy="115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rPr>
              <a:t>TWINT set</a:t>
            </a:r>
            <a:endParaRPr lang="en-SE" sz="700" dirty="0">
              <a:solidFill>
                <a:schemeClr val="tx1"/>
              </a:solidFill>
            </a:endParaRPr>
          </a:p>
        </p:txBody>
      </p:sp>
      <p:sp>
        <p:nvSpPr>
          <p:cNvPr id="33" name="Rectangle 32">
            <a:extLst>
              <a:ext uri="{FF2B5EF4-FFF2-40B4-BE49-F238E27FC236}">
                <a16:creationId xmlns:a16="http://schemas.microsoft.com/office/drawing/2014/main" id="{7B23EE26-54E2-7E26-614D-EA699444A15A}"/>
              </a:ext>
            </a:extLst>
          </p:cNvPr>
          <p:cNvSpPr/>
          <p:nvPr/>
        </p:nvSpPr>
        <p:spPr>
          <a:xfrm>
            <a:off x="8003538" y="4767984"/>
            <a:ext cx="642938" cy="115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rPr>
              <a:t>TWINT set</a:t>
            </a:r>
            <a:endParaRPr lang="en-SE" sz="700" dirty="0">
              <a:solidFill>
                <a:schemeClr val="tx1"/>
              </a:solidFill>
            </a:endParaRPr>
          </a:p>
        </p:txBody>
      </p:sp>
      <p:pic>
        <p:nvPicPr>
          <p:cNvPr id="5" name="Picture 4">
            <a:extLst>
              <a:ext uri="{FF2B5EF4-FFF2-40B4-BE49-F238E27FC236}">
                <a16:creationId xmlns:a16="http://schemas.microsoft.com/office/drawing/2014/main" id="{B9FA907B-180E-10FF-8937-F7FA449F13C1}"/>
              </a:ext>
            </a:extLst>
          </p:cNvPr>
          <p:cNvPicPr>
            <a:picLocks noChangeAspect="1"/>
          </p:cNvPicPr>
          <p:nvPr/>
        </p:nvPicPr>
        <p:blipFill>
          <a:blip r:embed="rId7"/>
          <a:stretch>
            <a:fillRect/>
          </a:stretch>
        </p:blipFill>
        <p:spPr>
          <a:xfrm>
            <a:off x="4618610" y="446493"/>
            <a:ext cx="6492803" cy="2664183"/>
          </a:xfrm>
          <a:prstGeom prst="rect">
            <a:avLst/>
          </a:prstGeom>
        </p:spPr>
      </p:pic>
    </p:spTree>
    <p:custDataLst>
      <p:custData r:id="rId1"/>
      <p:custData r:id="rId2"/>
      <p:tags r:id="rId3"/>
    </p:custDataLst>
    <p:extLst>
      <p:ext uri="{BB962C8B-B14F-4D97-AF65-F5344CB8AC3E}">
        <p14:creationId xmlns:p14="http://schemas.microsoft.com/office/powerpoint/2010/main" val="27737468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 name="TextShape 2"/>
          <p:cNvSpPr txBox="1"/>
          <p:nvPr/>
        </p:nvSpPr>
        <p:spPr>
          <a:xfrm>
            <a:off x="479520" y="476280"/>
            <a:ext cx="5471640" cy="716400"/>
          </a:xfrm>
          <a:prstGeom prst="rect">
            <a:avLst/>
          </a:prstGeom>
          <a:noFill/>
          <a:ln w="9360">
            <a:noFill/>
          </a:ln>
        </p:spPr>
        <p:txBody>
          <a:bodyPr lIns="72000" tIns="36000" rIns="73080" bIns="36720">
            <a:normAutofit/>
          </a:bodyPr>
          <a:lstStyle/>
          <a:p>
            <a:pPr>
              <a:lnSpc>
                <a:spcPct val="100000"/>
              </a:lnSpc>
              <a:spcBef>
                <a:spcPts val="300"/>
              </a:spcBef>
            </a:pPr>
            <a:r>
              <a:rPr lang="en-US" sz="4000" b="0" strike="noStrike" spc="-157" err="1">
                <a:solidFill>
                  <a:srgbClr val="181818"/>
                </a:solidFill>
                <a:uFill>
                  <a:solidFill>
                    <a:srgbClr val="FFFFFF"/>
                  </a:solidFill>
                </a:uFill>
                <a:latin typeface="Ericsson Hilda Light"/>
              </a:rPr>
              <a:t>DAmatrix</a:t>
            </a:r>
            <a:r>
              <a:rPr lang="en-US" sz="4000" b="0" strike="noStrike" spc="-157">
                <a:solidFill>
                  <a:srgbClr val="181818"/>
                </a:solidFill>
                <a:uFill>
                  <a:solidFill>
                    <a:srgbClr val="FFFFFF"/>
                  </a:solidFill>
                </a:uFill>
                <a:latin typeface="Ericsson Hilda Light"/>
              </a:rPr>
              <a:t>: </a:t>
            </a:r>
            <a:r>
              <a:rPr lang="en-US" sz="4000" b="0" strike="noStrike" spc="-157" err="1">
                <a:solidFill>
                  <a:srgbClr val="181818"/>
                </a:solidFill>
                <a:uFill>
                  <a:solidFill>
                    <a:srgbClr val="FFFFFF"/>
                  </a:solidFill>
                </a:uFill>
                <a:latin typeface="Ericsson Hilda Light"/>
              </a:rPr>
              <a:t>Överblick</a:t>
            </a:r>
            <a:endParaRPr lang="en-US" sz="4000" b="0" strike="noStrike" spc="-1">
              <a:solidFill>
                <a:srgbClr val="181818"/>
              </a:solidFill>
              <a:uFill>
                <a:solidFill>
                  <a:srgbClr val="FFFFFF"/>
                </a:solidFill>
              </a:uFill>
              <a:latin typeface="Ericsson Hilda"/>
            </a:endParaRPr>
          </a:p>
        </p:txBody>
      </p:sp>
      <p:sp>
        <p:nvSpPr>
          <p:cNvPr id="201" name="Rectangle 200">
            <a:extLst>
              <a:ext uri="{FF2B5EF4-FFF2-40B4-BE49-F238E27FC236}">
                <a16:creationId xmlns:a16="http://schemas.microsoft.com/office/drawing/2014/main" id="{3E4AEA8D-533C-45FE-BFFB-3E8133B8641B}"/>
              </a:ext>
            </a:extLst>
          </p:cNvPr>
          <p:cNvSpPr/>
          <p:nvPr/>
        </p:nvSpPr>
        <p:spPr>
          <a:xfrm>
            <a:off x="11277600" y="309217"/>
            <a:ext cx="649357" cy="592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398" name="TextBox 397">
            <a:extLst>
              <a:ext uri="{FF2B5EF4-FFF2-40B4-BE49-F238E27FC236}">
                <a16:creationId xmlns:a16="http://schemas.microsoft.com/office/drawing/2014/main" id="{0B2DA253-2B6E-4C8A-9F57-C5AFC7D3A056}"/>
              </a:ext>
            </a:extLst>
          </p:cNvPr>
          <p:cNvSpPr txBox="1"/>
          <p:nvPr/>
        </p:nvSpPr>
        <p:spPr>
          <a:xfrm>
            <a:off x="495720" y="1674360"/>
            <a:ext cx="4557600" cy="3754874"/>
          </a:xfrm>
          <a:prstGeom prst="rect">
            <a:avLst/>
          </a:prstGeom>
          <a:noFill/>
        </p:spPr>
        <p:txBody>
          <a:bodyPr wrap="square" rtlCol="0">
            <a:spAutoFit/>
          </a:bodyPr>
          <a:lstStyle/>
          <a:p>
            <a:pPr marL="344170" indent="-343535">
              <a:lnSpc>
                <a:spcPct val="100000"/>
              </a:lnSpc>
              <a:buClr>
                <a:srgbClr val="181818"/>
              </a:buClr>
              <a:buFont typeface="Ericsson Hilda Light"/>
              <a:buChar char="—"/>
            </a:pPr>
            <a:r>
              <a:rPr lang="sv-SE" sz="2000" b="0" strike="noStrike" spc="-1">
                <a:solidFill>
                  <a:srgbClr val="181818"/>
                </a:solidFill>
                <a:uFill>
                  <a:solidFill>
                    <a:srgbClr val="FFFFFF"/>
                  </a:solidFill>
                </a:uFill>
                <a:latin typeface="Ericsson Hilda" panose="00000500000000000000" pitchFamily="2" charset="0"/>
              </a:rPr>
              <a:t>Spelplan</a:t>
            </a:r>
          </a:p>
          <a:p>
            <a:pPr marL="344170" indent="-343535">
              <a:lnSpc>
                <a:spcPct val="100000"/>
              </a:lnSpc>
              <a:buClr>
                <a:srgbClr val="181818"/>
              </a:buClr>
              <a:buFont typeface="Ericsson Hilda Light"/>
              <a:buChar char="—"/>
            </a:pPr>
            <a:r>
              <a:rPr lang="sv-SE" sz="2000" b="0" strike="noStrike" spc="-1">
                <a:solidFill>
                  <a:srgbClr val="181818"/>
                </a:solidFill>
                <a:uFill>
                  <a:solidFill>
                    <a:srgbClr val="FFFFFF"/>
                  </a:solidFill>
                </a:uFill>
                <a:latin typeface="Ericsson Hilda" panose="00000500000000000000" pitchFamily="2" charset="0"/>
              </a:rPr>
              <a:t>LED Matris</a:t>
            </a:r>
          </a:p>
          <a:p>
            <a:pPr marL="801370" lvl="1" indent="-343535">
              <a:buClr>
                <a:srgbClr val="181818"/>
              </a:buClr>
              <a:buFont typeface="Ericsson Hilda Light"/>
              <a:buChar char="—"/>
            </a:pPr>
            <a:r>
              <a:rPr lang="sv-SE" sz="2000" spc="-1">
                <a:solidFill>
                  <a:srgbClr val="181818"/>
                </a:solidFill>
                <a:uFill>
                  <a:solidFill>
                    <a:srgbClr val="FFFFFF"/>
                  </a:solidFill>
                </a:uFill>
                <a:latin typeface="Ericsson Hilda" panose="00000500000000000000" pitchFamily="2" charset="0"/>
              </a:rPr>
              <a:t>64 dioder (8x8)</a:t>
            </a:r>
            <a:endParaRPr lang="sv-SE" sz="2000" b="0" strike="noStrike" spc="-1">
              <a:solidFill>
                <a:srgbClr val="181818"/>
              </a:solidFill>
              <a:uFill>
                <a:solidFill>
                  <a:srgbClr val="FFFFFF"/>
                </a:solidFill>
              </a:uFill>
              <a:latin typeface="Ericsson Hilda" panose="00000500000000000000" pitchFamily="2" charset="0"/>
            </a:endParaRPr>
          </a:p>
          <a:p>
            <a:pPr marL="344170" indent="-343535">
              <a:lnSpc>
                <a:spcPct val="100000"/>
              </a:lnSpc>
              <a:buClr>
                <a:srgbClr val="181818"/>
              </a:buClr>
              <a:buFont typeface="Ericsson Hilda Light"/>
              <a:buChar char="—"/>
            </a:pPr>
            <a:r>
              <a:rPr lang="sv-SE" sz="2000" spc="-1">
                <a:solidFill>
                  <a:srgbClr val="000000"/>
                </a:solidFill>
                <a:uFill>
                  <a:solidFill>
                    <a:srgbClr val="FFFFFF"/>
                  </a:solidFill>
                </a:uFill>
                <a:latin typeface="Ericsson Hilda" panose="00000500000000000000" pitchFamily="2" charset="0"/>
              </a:rPr>
              <a:t>3st DAmatrix används för att skapa en större spelplan (8x24)</a:t>
            </a:r>
          </a:p>
          <a:p>
            <a:pPr marL="344170" indent="-343535">
              <a:lnSpc>
                <a:spcPct val="100000"/>
              </a:lnSpc>
              <a:buClr>
                <a:srgbClr val="181818"/>
              </a:buClr>
              <a:buFont typeface="Ericsson Hilda Light"/>
              <a:buChar char="—"/>
            </a:pPr>
            <a:r>
              <a:rPr lang="sv-SE" sz="2000" spc="-1">
                <a:solidFill>
                  <a:srgbClr val="000000"/>
                </a:solidFill>
                <a:uFill>
                  <a:solidFill>
                    <a:srgbClr val="FFFFFF"/>
                  </a:solidFill>
                </a:uFill>
                <a:latin typeface="Ericsson Hilda" panose="00000500000000000000" pitchFamily="2" charset="0"/>
              </a:rPr>
              <a:t>Drivs med SPI</a:t>
            </a:r>
          </a:p>
          <a:p>
            <a:pPr marL="344170" indent="-343535">
              <a:lnSpc>
                <a:spcPct val="100000"/>
              </a:lnSpc>
              <a:buClr>
                <a:srgbClr val="181818"/>
              </a:buClr>
              <a:buFont typeface="Ericsson Hilda Light"/>
              <a:buChar char="—"/>
            </a:pPr>
            <a:endParaRPr lang="sv-SE" sz="2000" spc="-1">
              <a:solidFill>
                <a:srgbClr val="000000"/>
              </a:solidFill>
              <a:uFill>
                <a:solidFill>
                  <a:srgbClr val="FFFFFF"/>
                </a:solidFill>
              </a:uFill>
              <a:latin typeface="Ericsson Hilda" panose="00000500000000000000" pitchFamily="2" charset="0"/>
            </a:endParaRPr>
          </a:p>
          <a:p>
            <a:pPr marL="344170" indent="-343535">
              <a:lnSpc>
                <a:spcPct val="100000"/>
              </a:lnSpc>
              <a:buClr>
                <a:srgbClr val="181818"/>
              </a:buClr>
              <a:buFont typeface="Ericsson Hilda Light"/>
              <a:buChar char="—"/>
            </a:pPr>
            <a:r>
              <a:rPr lang="sv-SE" sz="2000" spc="-1">
                <a:solidFill>
                  <a:srgbClr val="000000"/>
                </a:solidFill>
                <a:uFill>
                  <a:solidFill>
                    <a:srgbClr val="FFFFFF"/>
                  </a:solidFill>
                </a:uFill>
                <a:latin typeface="Ericsson Hilda" panose="00000500000000000000" pitchFamily="2" charset="0"/>
              </a:rPr>
              <a:t>För att tända en diod behöver raden tilförses med positiv spänning samtidigt som diodens kolumn jordas</a:t>
            </a:r>
          </a:p>
          <a:p>
            <a:endParaRPr lang="en-SE"/>
          </a:p>
        </p:txBody>
      </p:sp>
      <p:grpSp>
        <p:nvGrpSpPr>
          <p:cNvPr id="4" name="Group 3">
            <a:extLst>
              <a:ext uri="{FF2B5EF4-FFF2-40B4-BE49-F238E27FC236}">
                <a16:creationId xmlns:a16="http://schemas.microsoft.com/office/drawing/2014/main" id="{C8ACB63B-07E7-47BA-8423-424E87B323BF}"/>
              </a:ext>
            </a:extLst>
          </p:cNvPr>
          <p:cNvGrpSpPr/>
          <p:nvPr/>
        </p:nvGrpSpPr>
        <p:grpSpPr>
          <a:xfrm>
            <a:off x="7210132" y="1795261"/>
            <a:ext cx="4392146" cy="1301459"/>
            <a:chOff x="2232000" y="4464000"/>
            <a:chExt cx="7112160" cy="2107440"/>
          </a:xfrm>
        </p:grpSpPr>
        <p:sp>
          <p:nvSpPr>
            <p:cNvPr id="400" name="CustomShape 4">
              <a:extLst>
                <a:ext uri="{FF2B5EF4-FFF2-40B4-BE49-F238E27FC236}">
                  <a16:creationId xmlns:a16="http://schemas.microsoft.com/office/drawing/2014/main" id="{11A6FB91-16B3-4DB1-B31B-EC78C1569E76}"/>
                </a:ext>
              </a:extLst>
            </p:cNvPr>
            <p:cNvSpPr/>
            <p:nvPr/>
          </p:nvSpPr>
          <p:spPr>
            <a:xfrm>
              <a:off x="2232000" y="4464000"/>
              <a:ext cx="2370600" cy="210744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401" name="CustomShape 5">
              <a:extLst>
                <a:ext uri="{FF2B5EF4-FFF2-40B4-BE49-F238E27FC236}">
                  <a16:creationId xmlns:a16="http://schemas.microsoft.com/office/drawing/2014/main" id="{DEAE2E53-A844-4F9B-8C7C-34860AB1B958}"/>
                </a:ext>
              </a:extLst>
            </p:cNvPr>
            <p:cNvSpPr/>
            <p:nvPr/>
          </p:nvSpPr>
          <p:spPr>
            <a:xfrm>
              <a:off x="231480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02" name="CustomShape 6">
              <a:extLst>
                <a:ext uri="{FF2B5EF4-FFF2-40B4-BE49-F238E27FC236}">
                  <a16:creationId xmlns:a16="http://schemas.microsoft.com/office/drawing/2014/main" id="{D1F6ABD3-C56F-4F21-8C99-76CBEF19FBB4}"/>
                </a:ext>
              </a:extLst>
            </p:cNvPr>
            <p:cNvSpPr/>
            <p:nvPr/>
          </p:nvSpPr>
          <p:spPr>
            <a:xfrm>
              <a:off x="2559240" y="4497480"/>
              <a:ext cx="234720" cy="21600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03" name="CustomShape 7">
              <a:extLst>
                <a:ext uri="{FF2B5EF4-FFF2-40B4-BE49-F238E27FC236}">
                  <a16:creationId xmlns:a16="http://schemas.microsoft.com/office/drawing/2014/main" id="{6EFBB40F-C42F-4F90-99CE-CA149B4A8790}"/>
                </a:ext>
              </a:extLst>
            </p:cNvPr>
            <p:cNvSpPr/>
            <p:nvPr/>
          </p:nvSpPr>
          <p:spPr>
            <a:xfrm>
              <a:off x="28875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04" name="CustomShape 8">
              <a:extLst>
                <a:ext uri="{FF2B5EF4-FFF2-40B4-BE49-F238E27FC236}">
                  <a16:creationId xmlns:a16="http://schemas.microsoft.com/office/drawing/2014/main" id="{D25045B7-F706-4EE8-9529-370822D081BE}"/>
                </a:ext>
              </a:extLst>
            </p:cNvPr>
            <p:cNvSpPr/>
            <p:nvPr/>
          </p:nvSpPr>
          <p:spPr>
            <a:xfrm>
              <a:off x="31737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05" name="CustomShape 9">
              <a:extLst>
                <a:ext uri="{FF2B5EF4-FFF2-40B4-BE49-F238E27FC236}">
                  <a16:creationId xmlns:a16="http://schemas.microsoft.com/office/drawing/2014/main" id="{7F318D17-EDCD-4E90-B9D5-E8FF40467369}"/>
                </a:ext>
              </a:extLst>
            </p:cNvPr>
            <p:cNvSpPr/>
            <p:nvPr/>
          </p:nvSpPr>
          <p:spPr>
            <a:xfrm>
              <a:off x="34603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06" name="CustomShape 10">
              <a:extLst>
                <a:ext uri="{FF2B5EF4-FFF2-40B4-BE49-F238E27FC236}">
                  <a16:creationId xmlns:a16="http://schemas.microsoft.com/office/drawing/2014/main" id="{CED59C83-402B-4B02-8A7F-FA2EC7326153}"/>
                </a:ext>
              </a:extLst>
            </p:cNvPr>
            <p:cNvSpPr/>
            <p:nvPr/>
          </p:nvSpPr>
          <p:spPr>
            <a:xfrm>
              <a:off x="37465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07" name="CustomShape 11">
              <a:extLst>
                <a:ext uri="{FF2B5EF4-FFF2-40B4-BE49-F238E27FC236}">
                  <a16:creationId xmlns:a16="http://schemas.microsoft.com/office/drawing/2014/main" id="{6126F453-53C2-4D28-82EA-F440F9D6593C}"/>
                </a:ext>
              </a:extLst>
            </p:cNvPr>
            <p:cNvSpPr/>
            <p:nvPr/>
          </p:nvSpPr>
          <p:spPr>
            <a:xfrm>
              <a:off x="40330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08" name="CustomShape 12">
              <a:extLst>
                <a:ext uri="{FF2B5EF4-FFF2-40B4-BE49-F238E27FC236}">
                  <a16:creationId xmlns:a16="http://schemas.microsoft.com/office/drawing/2014/main" id="{B896A658-4CE5-4755-A982-36CD216F0FA0}"/>
                </a:ext>
              </a:extLst>
            </p:cNvPr>
            <p:cNvSpPr/>
            <p:nvPr/>
          </p:nvSpPr>
          <p:spPr>
            <a:xfrm>
              <a:off x="43196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09" name="CustomShape 13">
              <a:extLst>
                <a:ext uri="{FF2B5EF4-FFF2-40B4-BE49-F238E27FC236}">
                  <a16:creationId xmlns:a16="http://schemas.microsoft.com/office/drawing/2014/main" id="{D7D02D08-C5A3-44A8-96B3-DA4E8AFEBA30}"/>
                </a:ext>
              </a:extLst>
            </p:cNvPr>
            <p:cNvSpPr/>
            <p:nvPr/>
          </p:nvSpPr>
          <p:spPr>
            <a:xfrm>
              <a:off x="23148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10" name="CustomShape 14">
              <a:extLst>
                <a:ext uri="{FF2B5EF4-FFF2-40B4-BE49-F238E27FC236}">
                  <a16:creationId xmlns:a16="http://schemas.microsoft.com/office/drawing/2014/main" id="{72A7CA6B-3938-4BAC-8BDB-E6DA39E4364C}"/>
                </a:ext>
              </a:extLst>
            </p:cNvPr>
            <p:cNvSpPr/>
            <p:nvPr/>
          </p:nvSpPr>
          <p:spPr>
            <a:xfrm>
              <a:off x="26010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11" name="CustomShape 15">
              <a:extLst>
                <a:ext uri="{FF2B5EF4-FFF2-40B4-BE49-F238E27FC236}">
                  <a16:creationId xmlns:a16="http://schemas.microsoft.com/office/drawing/2014/main" id="{59E01C4D-72BD-4663-AC7F-B946A764F2DE}"/>
                </a:ext>
              </a:extLst>
            </p:cNvPr>
            <p:cNvSpPr/>
            <p:nvPr/>
          </p:nvSpPr>
          <p:spPr>
            <a:xfrm>
              <a:off x="28875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12" name="CustomShape 16">
              <a:extLst>
                <a:ext uri="{FF2B5EF4-FFF2-40B4-BE49-F238E27FC236}">
                  <a16:creationId xmlns:a16="http://schemas.microsoft.com/office/drawing/2014/main" id="{4774D9EF-C695-45F1-9571-6AB8B4975750}"/>
                </a:ext>
              </a:extLst>
            </p:cNvPr>
            <p:cNvSpPr/>
            <p:nvPr/>
          </p:nvSpPr>
          <p:spPr>
            <a:xfrm>
              <a:off x="31737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13" name="CustomShape 17">
              <a:extLst>
                <a:ext uri="{FF2B5EF4-FFF2-40B4-BE49-F238E27FC236}">
                  <a16:creationId xmlns:a16="http://schemas.microsoft.com/office/drawing/2014/main" id="{9870D79D-1A26-46B8-A524-D4A1D2E33F7E}"/>
                </a:ext>
              </a:extLst>
            </p:cNvPr>
            <p:cNvSpPr/>
            <p:nvPr/>
          </p:nvSpPr>
          <p:spPr>
            <a:xfrm>
              <a:off x="34603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14" name="CustomShape 18">
              <a:extLst>
                <a:ext uri="{FF2B5EF4-FFF2-40B4-BE49-F238E27FC236}">
                  <a16:creationId xmlns:a16="http://schemas.microsoft.com/office/drawing/2014/main" id="{B1B16EF3-56FD-4B95-8976-21ED59EA7A19}"/>
                </a:ext>
              </a:extLst>
            </p:cNvPr>
            <p:cNvSpPr/>
            <p:nvPr/>
          </p:nvSpPr>
          <p:spPr>
            <a:xfrm>
              <a:off x="37465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15" name="CustomShape 19">
              <a:extLst>
                <a:ext uri="{FF2B5EF4-FFF2-40B4-BE49-F238E27FC236}">
                  <a16:creationId xmlns:a16="http://schemas.microsoft.com/office/drawing/2014/main" id="{84ABC972-59D6-4245-9172-50F50E0048F7}"/>
                </a:ext>
              </a:extLst>
            </p:cNvPr>
            <p:cNvSpPr/>
            <p:nvPr/>
          </p:nvSpPr>
          <p:spPr>
            <a:xfrm>
              <a:off x="40330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16" name="CustomShape 20">
              <a:extLst>
                <a:ext uri="{FF2B5EF4-FFF2-40B4-BE49-F238E27FC236}">
                  <a16:creationId xmlns:a16="http://schemas.microsoft.com/office/drawing/2014/main" id="{59942A6E-73FC-43AD-AFC3-F6BAF507635E}"/>
                </a:ext>
              </a:extLst>
            </p:cNvPr>
            <p:cNvSpPr/>
            <p:nvPr/>
          </p:nvSpPr>
          <p:spPr>
            <a:xfrm>
              <a:off x="43196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17" name="CustomShape 21">
              <a:extLst>
                <a:ext uri="{FF2B5EF4-FFF2-40B4-BE49-F238E27FC236}">
                  <a16:creationId xmlns:a16="http://schemas.microsoft.com/office/drawing/2014/main" id="{F1BC24D4-DBD7-4AD6-8760-DB9C260C12D8}"/>
                </a:ext>
              </a:extLst>
            </p:cNvPr>
            <p:cNvSpPr/>
            <p:nvPr/>
          </p:nvSpPr>
          <p:spPr>
            <a:xfrm>
              <a:off x="23148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18" name="CustomShape 22">
              <a:extLst>
                <a:ext uri="{FF2B5EF4-FFF2-40B4-BE49-F238E27FC236}">
                  <a16:creationId xmlns:a16="http://schemas.microsoft.com/office/drawing/2014/main" id="{5B3968E6-0268-454C-BF32-04C51109AE98}"/>
                </a:ext>
              </a:extLst>
            </p:cNvPr>
            <p:cNvSpPr/>
            <p:nvPr/>
          </p:nvSpPr>
          <p:spPr>
            <a:xfrm>
              <a:off x="26010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19" name="CustomShape 23">
              <a:extLst>
                <a:ext uri="{FF2B5EF4-FFF2-40B4-BE49-F238E27FC236}">
                  <a16:creationId xmlns:a16="http://schemas.microsoft.com/office/drawing/2014/main" id="{101E301A-2B6D-4FCE-933E-AEDA3DDA8EA5}"/>
                </a:ext>
              </a:extLst>
            </p:cNvPr>
            <p:cNvSpPr/>
            <p:nvPr/>
          </p:nvSpPr>
          <p:spPr>
            <a:xfrm>
              <a:off x="28875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20" name="CustomShape 24">
              <a:extLst>
                <a:ext uri="{FF2B5EF4-FFF2-40B4-BE49-F238E27FC236}">
                  <a16:creationId xmlns:a16="http://schemas.microsoft.com/office/drawing/2014/main" id="{615F67A6-840B-42FA-8C36-80202C32718B}"/>
                </a:ext>
              </a:extLst>
            </p:cNvPr>
            <p:cNvSpPr/>
            <p:nvPr/>
          </p:nvSpPr>
          <p:spPr>
            <a:xfrm>
              <a:off x="31737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21" name="CustomShape 25">
              <a:extLst>
                <a:ext uri="{FF2B5EF4-FFF2-40B4-BE49-F238E27FC236}">
                  <a16:creationId xmlns:a16="http://schemas.microsoft.com/office/drawing/2014/main" id="{1C804EF3-F927-4E05-A44E-2BE22FBECFB1}"/>
                </a:ext>
              </a:extLst>
            </p:cNvPr>
            <p:cNvSpPr/>
            <p:nvPr/>
          </p:nvSpPr>
          <p:spPr>
            <a:xfrm>
              <a:off x="34603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22" name="CustomShape 26">
              <a:extLst>
                <a:ext uri="{FF2B5EF4-FFF2-40B4-BE49-F238E27FC236}">
                  <a16:creationId xmlns:a16="http://schemas.microsoft.com/office/drawing/2014/main" id="{78863AFB-6133-4E44-BD6D-9A796BF950A6}"/>
                </a:ext>
              </a:extLst>
            </p:cNvPr>
            <p:cNvSpPr/>
            <p:nvPr/>
          </p:nvSpPr>
          <p:spPr>
            <a:xfrm>
              <a:off x="37465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23" name="CustomShape 27">
              <a:extLst>
                <a:ext uri="{FF2B5EF4-FFF2-40B4-BE49-F238E27FC236}">
                  <a16:creationId xmlns:a16="http://schemas.microsoft.com/office/drawing/2014/main" id="{93D9FBB7-09AD-40C4-9D5D-2E530449557F}"/>
                </a:ext>
              </a:extLst>
            </p:cNvPr>
            <p:cNvSpPr/>
            <p:nvPr/>
          </p:nvSpPr>
          <p:spPr>
            <a:xfrm>
              <a:off x="40330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24" name="CustomShape 28">
              <a:extLst>
                <a:ext uri="{FF2B5EF4-FFF2-40B4-BE49-F238E27FC236}">
                  <a16:creationId xmlns:a16="http://schemas.microsoft.com/office/drawing/2014/main" id="{38719BF2-64AE-44B9-8AF8-76430EB30ED8}"/>
                </a:ext>
              </a:extLst>
            </p:cNvPr>
            <p:cNvSpPr/>
            <p:nvPr/>
          </p:nvSpPr>
          <p:spPr>
            <a:xfrm>
              <a:off x="43196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25" name="CustomShape 29">
              <a:extLst>
                <a:ext uri="{FF2B5EF4-FFF2-40B4-BE49-F238E27FC236}">
                  <a16:creationId xmlns:a16="http://schemas.microsoft.com/office/drawing/2014/main" id="{C416483F-1DB1-4365-B756-C6B4A06CCAFC}"/>
                </a:ext>
              </a:extLst>
            </p:cNvPr>
            <p:cNvSpPr/>
            <p:nvPr/>
          </p:nvSpPr>
          <p:spPr>
            <a:xfrm>
              <a:off x="23148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26" name="CustomShape 30">
              <a:extLst>
                <a:ext uri="{FF2B5EF4-FFF2-40B4-BE49-F238E27FC236}">
                  <a16:creationId xmlns:a16="http://schemas.microsoft.com/office/drawing/2014/main" id="{FA29760E-2723-43F4-9127-262CD5A01A14}"/>
                </a:ext>
              </a:extLst>
            </p:cNvPr>
            <p:cNvSpPr/>
            <p:nvPr/>
          </p:nvSpPr>
          <p:spPr>
            <a:xfrm>
              <a:off x="26010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27" name="CustomShape 31">
              <a:extLst>
                <a:ext uri="{FF2B5EF4-FFF2-40B4-BE49-F238E27FC236}">
                  <a16:creationId xmlns:a16="http://schemas.microsoft.com/office/drawing/2014/main" id="{3A3525D3-DDAD-45FA-AE51-99DE68F909FB}"/>
                </a:ext>
              </a:extLst>
            </p:cNvPr>
            <p:cNvSpPr/>
            <p:nvPr/>
          </p:nvSpPr>
          <p:spPr>
            <a:xfrm>
              <a:off x="28875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28" name="CustomShape 32">
              <a:extLst>
                <a:ext uri="{FF2B5EF4-FFF2-40B4-BE49-F238E27FC236}">
                  <a16:creationId xmlns:a16="http://schemas.microsoft.com/office/drawing/2014/main" id="{7218D95D-83C4-4DF2-BEA9-B0CFF74882B5}"/>
                </a:ext>
              </a:extLst>
            </p:cNvPr>
            <p:cNvSpPr/>
            <p:nvPr/>
          </p:nvSpPr>
          <p:spPr>
            <a:xfrm>
              <a:off x="31737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29" name="CustomShape 33">
              <a:extLst>
                <a:ext uri="{FF2B5EF4-FFF2-40B4-BE49-F238E27FC236}">
                  <a16:creationId xmlns:a16="http://schemas.microsoft.com/office/drawing/2014/main" id="{B49E6A0E-9FA3-47DD-AE18-FF84014B54A6}"/>
                </a:ext>
              </a:extLst>
            </p:cNvPr>
            <p:cNvSpPr/>
            <p:nvPr/>
          </p:nvSpPr>
          <p:spPr>
            <a:xfrm>
              <a:off x="34603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30" name="CustomShape 34">
              <a:extLst>
                <a:ext uri="{FF2B5EF4-FFF2-40B4-BE49-F238E27FC236}">
                  <a16:creationId xmlns:a16="http://schemas.microsoft.com/office/drawing/2014/main" id="{50EC94A2-F624-4FDD-BD8E-A3C0ECA30B75}"/>
                </a:ext>
              </a:extLst>
            </p:cNvPr>
            <p:cNvSpPr/>
            <p:nvPr/>
          </p:nvSpPr>
          <p:spPr>
            <a:xfrm>
              <a:off x="37465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31" name="CustomShape 35">
              <a:extLst>
                <a:ext uri="{FF2B5EF4-FFF2-40B4-BE49-F238E27FC236}">
                  <a16:creationId xmlns:a16="http://schemas.microsoft.com/office/drawing/2014/main" id="{E29AC50E-FB4C-4137-825F-7DB465482C3B}"/>
                </a:ext>
              </a:extLst>
            </p:cNvPr>
            <p:cNvSpPr/>
            <p:nvPr/>
          </p:nvSpPr>
          <p:spPr>
            <a:xfrm>
              <a:off x="40330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32" name="CustomShape 36">
              <a:extLst>
                <a:ext uri="{FF2B5EF4-FFF2-40B4-BE49-F238E27FC236}">
                  <a16:creationId xmlns:a16="http://schemas.microsoft.com/office/drawing/2014/main" id="{3C359EBD-9341-41E6-BB47-E09FA97C7C3F}"/>
                </a:ext>
              </a:extLst>
            </p:cNvPr>
            <p:cNvSpPr/>
            <p:nvPr/>
          </p:nvSpPr>
          <p:spPr>
            <a:xfrm>
              <a:off x="43196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33" name="CustomShape 37">
              <a:extLst>
                <a:ext uri="{FF2B5EF4-FFF2-40B4-BE49-F238E27FC236}">
                  <a16:creationId xmlns:a16="http://schemas.microsoft.com/office/drawing/2014/main" id="{BFDC9E15-BCAB-45DD-AE4E-8FE8F8ED3BA4}"/>
                </a:ext>
              </a:extLst>
            </p:cNvPr>
            <p:cNvSpPr/>
            <p:nvPr/>
          </p:nvSpPr>
          <p:spPr>
            <a:xfrm>
              <a:off x="23148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34" name="CustomShape 38">
              <a:extLst>
                <a:ext uri="{FF2B5EF4-FFF2-40B4-BE49-F238E27FC236}">
                  <a16:creationId xmlns:a16="http://schemas.microsoft.com/office/drawing/2014/main" id="{3EDC7672-60BE-4DF4-A28D-E90CC0575A50}"/>
                </a:ext>
              </a:extLst>
            </p:cNvPr>
            <p:cNvSpPr/>
            <p:nvPr/>
          </p:nvSpPr>
          <p:spPr>
            <a:xfrm>
              <a:off x="26010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35" name="CustomShape 39">
              <a:extLst>
                <a:ext uri="{FF2B5EF4-FFF2-40B4-BE49-F238E27FC236}">
                  <a16:creationId xmlns:a16="http://schemas.microsoft.com/office/drawing/2014/main" id="{DC199C2A-ACFA-467D-9E69-862E35D8839F}"/>
                </a:ext>
              </a:extLst>
            </p:cNvPr>
            <p:cNvSpPr/>
            <p:nvPr/>
          </p:nvSpPr>
          <p:spPr>
            <a:xfrm>
              <a:off x="28875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36" name="CustomShape 40">
              <a:extLst>
                <a:ext uri="{FF2B5EF4-FFF2-40B4-BE49-F238E27FC236}">
                  <a16:creationId xmlns:a16="http://schemas.microsoft.com/office/drawing/2014/main" id="{4149B535-5C1F-44A0-B712-3BBE4E879849}"/>
                </a:ext>
              </a:extLst>
            </p:cNvPr>
            <p:cNvSpPr/>
            <p:nvPr/>
          </p:nvSpPr>
          <p:spPr>
            <a:xfrm>
              <a:off x="31737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37" name="CustomShape 41">
              <a:extLst>
                <a:ext uri="{FF2B5EF4-FFF2-40B4-BE49-F238E27FC236}">
                  <a16:creationId xmlns:a16="http://schemas.microsoft.com/office/drawing/2014/main" id="{FDB5F085-00A8-4F12-A379-48C8DAC5D816}"/>
                </a:ext>
              </a:extLst>
            </p:cNvPr>
            <p:cNvSpPr/>
            <p:nvPr/>
          </p:nvSpPr>
          <p:spPr>
            <a:xfrm>
              <a:off x="34603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38" name="CustomShape 42">
              <a:extLst>
                <a:ext uri="{FF2B5EF4-FFF2-40B4-BE49-F238E27FC236}">
                  <a16:creationId xmlns:a16="http://schemas.microsoft.com/office/drawing/2014/main" id="{3E60B61C-9597-4172-9FB6-628A8CAF4AE1}"/>
                </a:ext>
              </a:extLst>
            </p:cNvPr>
            <p:cNvSpPr/>
            <p:nvPr/>
          </p:nvSpPr>
          <p:spPr>
            <a:xfrm>
              <a:off x="37465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39" name="CustomShape 43">
              <a:extLst>
                <a:ext uri="{FF2B5EF4-FFF2-40B4-BE49-F238E27FC236}">
                  <a16:creationId xmlns:a16="http://schemas.microsoft.com/office/drawing/2014/main" id="{2D776A5E-1B31-4AFF-B602-341401986011}"/>
                </a:ext>
              </a:extLst>
            </p:cNvPr>
            <p:cNvSpPr/>
            <p:nvPr/>
          </p:nvSpPr>
          <p:spPr>
            <a:xfrm>
              <a:off x="40330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40" name="CustomShape 44">
              <a:extLst>
                <a:ext uri="{FF2B5EF4-FFF2-40B4-BE49-F238E27FC236}">
                  <a16:creationId xmlns:a16="http://schemas.microsoft.com/office/drawing/2014/main" id="{615BF08A-ED78-4587-875B-AADBD19BB963}"/>
                </a:ext>
              </a:extLst>
            </p:cNvPr>
            <p:cNvSpPr/>
            <p:nvPr/>
          </p:nvSpPr>
          <p:spPr>
            <a:xfrm>
              <a:off x="43196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41" name="CustomShape 45">
              <a:extLst>
                <a:ext uri="{FF2B5EF4-FFF2-40B4-BE49-F238E27FC236}">
                  <a16:creationId xmlns:a16="http://schemas.microsoft.com/office/drawing/2014/main" id="{F90D0D5D-12A1-4676-AFD9-547BDA6D5922}"/>
                </a:ext>
              </a:extLst>
            </p:cNvPr>
            <p:cNvSpPr/>
            <p:nvPr/>
          </p:nvSpPr>
          <p:spPr>
            <a:xfrm>
              <a:off x="231480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42" name="CustomShape 46">
              <a:extLst>
                <a:ext uri="{FF2B5EF4-FFF2-40B4-BE49-F238E27FC236}">
                  <a16:creationId xmlns:a16="http://schemas.microsoft.com/office/drawing/2014/main" id="{49B151AE-11E0-45DC-A7D4-E58EE92E0EF8}"/>
                </a:ext>
              </a:extLst>
            </p:cNvPr>
            <p:cNvSpPr/>
            <p:nvPr/>
          </p:nvSpPr>
          <p:spPr>
            <a:xfrm>
              <a:off x="260100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43" name="CustomShape 47">
              <a:extLst>
                <a:ext uri="{FF2B5EF4-FFF2-40B4-BE49-F238E27FC236}">
                  <a16:creationId xmlns:a16="http://schemas.microsoft.com/office/drawing/2014/main" id="{B350C384-C09F-492C-86E5-80C2E4AAFA28}"/>
                </a:ext>
              </a:extLst>
            </p:cNvPr>
            <p:cNvSpPr/>
            <p:nvPr/>
          </p:nvSpPr>
          <p:spPr>
            <a:xfrm>
              <a:off x="288756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44" name="CustomShape 48">
              <a:extLst>
                <a:ext uri="{FF2B5EF4-FFF2-40B4-BE49-F238E27FC236}">
                  <a16:creationId xmlns:a16="http://schemas.microsoft.com/office/drawing/2014/main" id="{E44EF60B-F8D6-4ABC-9822-77A2A062E05B}"/>
                </a:ext>
              </a:extLst>
            </p:cNvPr>
            <p:cNvSpPr/>
            <p:nvPr/>
          </p:nvSpPr>
          <p:spPr>
            <a:xfrm>
              <a:off x="317376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45" name="CustomShape 49">
              <a:extLst>
                <a:ext uri="{FF2B5EF4-FFF2-40B4-BE49-F238E27FC236}">
                  <a16:creationId xmlns:a16="http://schemas.microsoft.com/office/drawing/2014/main" id="{52C6738A-4C99-4C76-AB67-900ACB3E54F5}"/>
                </a:ext>
              </a:extLst>
            </p:cNvPr>
            <p:cNvSpPr/>
            <p:nvPr/>
          </p:nvSpPr>
          <p:spPr>
            <a:xfrm>
              <a:off x="34603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46" name="CustomShape 50">
              <a:extLst>
                <a:ext uri="{FF2B5EF4-FFF2-40B4-BE49-F238E27FC236}">
                  <a16:creationId xmlns:a16="http://schemas.microsoft.com/office/drawing/2014/main" id="{C6360F95-7FBF-4056-8C21-4C0361EE7587}"/>
                </a:ext>
              </a:extLst>
            </p:cNvPr>
            <p:cNvSpPr/>
            <p:nvPr/>
          </p:nvSpPr>
          <p:spPr>
            <a:xfrm>
              <a:off x="37465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47" name="CustomShape 51">
              <a:extLst>
                <a:ext uri="{FF2B5EF4-FFF2-40B4-BE49-F238E27FC236}">
                  <a16:creationId xmlns:a16="http://schemas.microsoft.com/office/drawing/2014/main" id="{B93BF785-BFA9-40BE-9980-8E4126F36E42}"/>
                </a:ext>
              </a:extLst>
            </p:cNvPr>
            <p:cNvSpPr/>
            <p:nvPr/>
          </p:nvSpPr>
          <p:spPr>
            <a:xfrm>
              <a:off x="40330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48" name="CustomShape 52">
              <a:extLst>
                <a:ext uri="{FF2B5EF4-FFF2-40B4-BE49-F238E27FC236}">
                  <a16:creationId xmlns:a16="http://schemas.microsoft.com/office/drawing/2014/main" id="{24353896-21AD-4A73-9AE1-6B2AB7CE8EDA}"/>
                </a:ext>
              </a:extLst>
            </p:cNvPr>
            <p:cNvSpPr/>
            <p:nvPr/>
          </p:nvSpPr>
          <p:spPr>
            <a:xfrm>
              <a:off x="43196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49" name="CustomShape 53">
              <a:extLst>
                <a:ext uri="{FF2B5EF4-FFF2-40B4-BE49-F238E27FC236}">
                  <a16:creationId xmlns:a16="http://schemas.microsoft.com/office/drawing/2014/main" id="{061EB73E-03A3-4901-8241-AB342CFE6F66}"/>
                </a:ext>
              </a:extLst>
            </p:cNvPr>
            <p:cNvSpPr/>
            <p:nvPr/>
          </p:nvSpPr>
          <p:spPr>
            <a:xfrm>
              <a:off x="231480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50" name="CustomShape 54">
              <a:extLst>
                <a:ext uri="{FF2B5EF4-FFF2-40B4-BE49-F238E27FC236}">
                  <a16:creationId xmlns:a16="http://schemas.microsoft.com/office/drawing/2014/main" id="{DD01AD24-BD7D-49C9-895C-EB01BDBDFDAC}"/>
                </a:ext>
              </a:extLst>
            </p:cNvPr>
            <p:cNvSpPr/>
            <p:nvPr/>
          </p:nvSpPr>
          <p:spPr>
            <a:xfrm>
              <a:off x="260100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51" name="CustomShape 55">
              <a:extLst>
                <a:ext uri="{FF2B5EF4-FFF2-40B4-BE49-F238E27FC236}">
                  <a16:creationId xmlns:a16="http://schemas.microsoft.com/office/drawing/2014/main" id="{CBF18744-5BD1-4E35-86A7-617783C0A5DA}"/>
                </a:ext>
              </a:extLst>
            </p:cNvPr>
            <p:cNvSpPr/>
            <p:nvPr/>
          </p:nvSpPr>
          <p:spPr>
            <a:xfrm>
              <a:off x="288756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52" name="CustomShape 56">
              <a:extLst>
                <a:ext uri="{FF2B5EF4-FFF2-40B4-BE49-F238E27FC236}">
                  <a16:creationId xmlns:a16="http://schemas.microsoft.com/office/drawing/2014/main" id="{94E479E4-67F0-4058-953C-84EC0AA44624}"/>
                </a:ext>
              </a:extLst>
            </p:cNvPr>
            <p:cNvSpPr/>
            <p:nvPr/>
          </p:nvSpPr>
          <p:spPr>
            <a:xfrm>
              <a:off x="317376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53" name="CustomShape 57">
              <a:extLst>
                <a:ext uri="{FF2B5EF4-FFF2-40B4-BE49-F238E27FC236}">
                  <a16:creationId xmlns:a16="http://schemas.microsoft.com/office/drawing/2014/main" id="{BAB971B5-FE7E-4EE5-BD8F-BC584D8F0BA0}"/>
                </a:ext>
              </a:extLst>
            </p:cNvPr>
            <p:cNvSpPr/>
            <p:nvPr/>
          </p:nvSpPr>
          <p:spPr>
            <a:xfrm>
              <a:off x="34603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54" name="CustomShape 58">
              <a:extLst>
                <a:ext uri="{FF2B5EF4-FFF2-40B4-BE49-F238E27FC236}">
                  <a16:creationId xmlns:a16="http://schemas.microsoft.com/office/drawing/2014/main" id="{B0B1E62B-66CC-41B4-BE36-C401416F663F}"/>
                </a:ext>
              </a:extLst>
            </p:cNvPr>
            <p:cNvSpPr/>
            <p:nvPr/>
          </p:nvSpPr>
          <p:spPr>
            <a:xfrm>
              <a:off x="37465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55" name="CustomShape 59">
              <a:extLst>
                <a:ext uri="{FF2B5EF4-FFF2-40B4-BE49-F238E27FC236}">
                  <a16:creationId xmlns:a16="http://schemas.microsoft.com/office/drawing/2014/main" id="{AE15E98A-A555-4682-BE48-E6D71ABA233A}"/>
                </a:ext>
              </a:extLst>
            </p:cNvPr>
            <p:cNvSpPr/>
            <p:nvPr/>
          </p:nvSpPr>
          <p:spPr>
            <a:xfrm>
              <a:off x="40330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56" name="CustomShape 60">
              <a:extLst>
                <a:ext uri="{FF2B5EF4-FFF2-40B4-BE49-F238E27FC236}">
                  <a16:creationId xmlns:a16="http://schemas.microsoft.com/office/drawing/2014/main" id="{0C821443-63EE-403D-BDD9-E02498A467EB}"/>
                </a:ext>
              </a:extLst>
            </p:cNvPr>
            <p:cNvSpPr/>
            <p:nvPr/>
          </p:nvSpPr>
          <p:spPr>
            <a:xfrm>
              <a:off x="43196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57" name="CustomShape 61">
              <a:extLst>
                <a:ext uri="{FF2B5EF4-FFF2-40B4-BE49-F238E27FC236}">
                  <a16:creationId xmlns:a16="http://schemas.microsoft.com/office/drawing/2014/main" id="{F6B7C051-9457-422B-9E73-1739EF210EFD}"/>
                </a:ext>
              </a:extLst>
            </p:cNvPr>
            <p:cNvSpPr/>
            <p:nvPr/>
          </p:nvSpPr>
          <p:spPr>
            <a:xfrm>
              <a:off x="231480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58" name="CustomShape 62">
              <a:extLst>
                <a:ext uri="{FF2B5EF4-FFF2-40B4-BE49-F238E27FC236}">
                  <a16:creationId xmlns:a16="http://schemas.microsoft.com/office/drawing/2014/main" id="{EDC533ED-DD6D-4718-A48B-23E1E144BEF1}"/>
                </a:ext>
              </a:extLst>
            </p:cNvPr>
            <p:cNvSpPr/>
            <p:nvPr/>
          </p:nvSpPr>
          <p:spPr>
            <a:xfrm>
              <a:off x="260100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59" name="CustomShape 63">
              <a:extLst>
                <a:ext uri="{FF2B5EF4-FFF2-40B4-BE49-F238E27FC236}">
                  <a16:creationId xmlns:a16="http://schemas.microsoft.com/office/drawing/2014/main" id="{7254035F-1651-452B-82C7-03CEC7DD52E2}"/>
                </a:ext>
              </a:extLst>
            </p:cNvPr>
            <p:cNvSpPr/>
            <p:nvPr/>
          </p:nvSpPr>
          <p:spPr>
            <a:xfrm>
              <a:off x="288756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60" name="CustomShape 64">
              <a:extLst>
                <a:ext uri="{FF2B5EF4-FFF2-40B4-BE49-F238E27FC236}">
                  <a16:creationId xmlns:a16="http://schemas.microsoft.com/office/drawing/2014/main" id="{8509ACF7-5788-4F4B-BA11-7C962967811F}"/>
                </a:ext>
              </a:extLst>
            </p:cNvPr>
            <p:cNvSpPr/>
            <p:nvPr/>
          </p:nvSpPr>
          <p:spPr>
            <a:xfrm>
              <a:off x="317376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61" name="CustomShape 65">
              <a:extLst>
                <a:ext uri="{FF2B5EF4-FFF2-40B4-BE49-F238E27FC236}">
                  <a16:creationId xmlns:a16="http://schemas.microsoft.com/office/drawing/2014/main" id="{BE1B2F90-D00E-4088-ACF2-25315A2D237A}"/>
                </a:ext>
              </a:extLst>
            </p:cNvPr>
            <p:cNvSpPr/>
            <p:nvPr/>
          </p:nvSpPr>
          <p:spPr>
            <a:xfrm>
              <a:off x="346032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62" name="CustomShape 66">
              <a:extLst>
                <a:ext uri="{FF2B5EF4-FFF2-40B4-BE49-F238E27FC236}">
                  <a16:creationId xmlns:a16="http://schemas.microsoft.com/office/drawing/2014/main" id="{9D2E57ED-C4C6-4117-9139-F3ED40EBBA00}"/>
                </a:ext>
              </a:extLst>
            </p:cNvPr>
            <p:cNvSpPr/>
            <p:nvPr/>
          </p:nvSpPr>
          <p:spPr>
            <a:xfrm>
              <a:off x="374652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63" name="CustomShape 67">
              <a:extLst>
                <a:ext uri="{FF2B5EF4-FFF2-40B4-BE49-F238E27FC236}">
                  <a16:creationId xmlns:a16="http://schemas.microsoft.com/office/drawing/2014/main" id="{DC476ECD-9851-4B5A-936C-4D0CABC2E44E}"/>
                </a:ext>
              </a:extLst>
            </p:cNvPr>
            <p:cNvSpPr/>
            <p:nvPr/>
          </p:nvSpPr>
          <p:spPr>
            <a:xfrm>
              <a:off x="403308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64" name="CustomShape 68">
              <a:extLst>
                <a:ext uri="{FF2B5EF4-FFF2-40B4-BE49-F238E27FC236}">
                  <a16:creationId xmlns:a16="http://schemas.microsoft.com/office/drawing/2014/main" id="{2A08466C-D17C-4E9C-9D2B-DA9E95DAFA3C}"/>
                </a:ext>
              </a:extLst>
            </p:cNvPr>
            <p:cNvSpPr/>
            <p:nvPr/>
          </p:nvSpPr>
          <p:spPr>
            <a:xfrm>
              <a:off x="431964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65" name="CustomShape 69">
              <a:extLst>
                <a:ext uri="{FF2B5EF4-FFF2-40B4-BE49-F238E27FC236}">
                  <a16:creationId xmlns:a16="http://schemas.microsoft.com/office/drawing/2014/main" id="{D2F4E942-A8E7-4EDE-93E4-69B9105C2B31}"/>
                </a:ext>
              </a:extLst>
            </p:cNvPr>
            <p:cNvSpPr/>
            <p:nvPr/>
          </p:nvSpPr>
          <p:spPr>
            <a:xfrm>
              <a:off x="4602960" y="4464000"/>
              <a:ext cx="2370600" cy="210744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466" name="CustomShape 70">
              <a:extLst>
                <a:ext uri="{FF2B5EF4-FFF2-40B4-BE49-F238E27FC236}">
                  <a16:creationId xmlns:a16="http://schemas.microsoft.com/office/drawing/2014/main" id="{51A430F9-1C75-4B61-B22E-F357A5A825BB}"/>
                </a:ext>
              </a:extLst>
            </p:cNvPr>
            <p:cNvSpPr/>
            <p:nvPr/>
          </p:nvSpPr>
          <p:spPr>
            <a:xfrm>
              <a:off x="46857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txBody>
            <a:bodyPr/>
            <a:lstStyle/>
            <a:p>
              <a:endParaRPr lang="en-SE" sz="200">
                <a:latin typeface="Ericsson Hilda" panose="00000500000000000000" pitchFamily="2" charset="0"/>
              </a:endParaRPr>
            </a:p>
          </p:txBody>
        </p:sp>
        <p:sp>
          <p:nvSpPr>
            <p:cNvPr id="467" name="CustomShape 71">
              <a:extLst>
                <a:ext uri="{FF2B5EF4-FFF2-40B4-BE49-F238E27FC236}">
                  <a16:creationId xmlns:a16="http://schemas.microsoft.com/office/drawing/2014/main" id="{E19B1D2A-C2E7-4F2C-AB00-93C76F719209}"/>
                </a:ext>
              </a:extLst>
            </p:cNvPr>
            <p:cNvSpPr/>
            <p:nvPr/>
          </p:nvSpPr>
          <p:spPr>
            <a:xfrm>
              <a:off x="49723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68" name="CustomShape 72">
              <a:extLst>
                <a:ext uri="{FF2B5EF4-FFF2-40B4-BE49-F238E27FC236}">
                  <a16:creationId xmlns:a16="http://schemas.microsoft.com/office/drawing/2014/main" id="{282F5FB9-EBE4-48F7-8BCB-7BC37B8072E6}"/>
                </a:ext>
              </a:extLst>
            </p:cNvPr>
            <p:cNvSpPr/>
            <p:nvPr/>
          </p:nvSpPr>
          <p:spPr>
            <a:xfrm>
              <a:off x="52585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69" name="CustomShape 73">
              <a:extLst>
                <a:ext uri="{FF2B5EF4-FFF2-40B4-BE49-F238E27FC236}">
                  <a16:creationId xmlns:a16="http://schemas.microsoft.com/office/drawing/2014/main" id="{796C1183-E5EF-4C7C-BA62-019B0C187EF6}"/>
                </a:ext>
              </a:extLst>
            </p:cNvPr>
            <p:cNvSpPr/>
            <p:nvPr/>
          </p:nvSpPr>
          <p:spPr>
            <a:xfrm>
              <a:off x="55450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70" name="CustomShape 74">
              <a:extLst>
                <a:ext uri="{FF2B5EF4-FFF2-40B4-BE49-F238E27FC236}">
                  <a16:creationId xmlns:a16="http://schemas.microsoft.com/office/drawing/2014/main" id="{B38DF459-4995-439B-B601-534B3FE67302}"/>
                </a:ext>
              </a:extLst>
            </p:cNvPr>
            <p:cNvSpPr/>
            <p:nvPr/>
          </p:nvSpPr>
          <p:spPr>
            <a:xfrm>
              <a:off x="58312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71" name="CustomShape 75">
              <a:extLst>
                <a:ext uri="{FF2B5EF4-FFF2-40B4-BE49-F238E27FC236}">
                  <a16:creationId xmlns:a16="http://schemas.microsoft.com/office/drawing/2014/main" id="{654FDC3B-DDEF-4BB4-B06F-7B7F093802DC}"/>
                </a:ext>
              </a:extLst>
            </p:cNvPr>
            <p:cNvSpPr/>
            <p:nvPr/>
          </p:nvSpPr>
          <p:spPr>
            <a:xfrm>
              <a:off x="61178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72" name="CustomShape 76">
              <a:extLst>
                <a:ext uri="{FF2B5EF4-FFF2-40B4-BE49-F238E27FC236}">
                  <a16:creationId xmlns:a16="http://schemas.microsoft.com/office/drawing/2014/main" id="{962E026E-82FE-47B6-A637-2C40E888B0B7}"/>
                </a:ext>
              </a:extLst>
            </p:cNvPr>
            <p:cNvSpPr/>
            <p:nvPr/>
          </p:nvSpPr>
          <p:spPr>
            <a:xfrm>
              <a:off x="64040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73" name="CustomShape 77">
              <a:extLst>
                <a:ext uri="{FF2B5EF4-FFF2-40B4-BE49-F238E27FC236}">
                  <a16:creationId xmlns:a16="http://schemas.microsoft.com/office/drawing/2014/main" id="{CB07F1E7-EC8E-4C37-A9B1-E90947ED66B0}"/>
                </a:ext>
              </a:extLst>
            </p:cNvPr>
            <p:cNvSpPr/>
            <p:nvPr/>
          </p:nvSpPr>
          <p:spPr>
            <a:xfrm>
              <a:off x="669060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74" name="CustomShape 78">
              <a:extLst>
                <a:ext uri="{FF2B5EF4-FFF2-40B4-BE49-F238E27FC236}">
                  <a16:creationId xmlns:a16="http://schemas.microsoft.com/office/drawing/2014/main" id="{CE05E380-16A3-4D84-B081-4B8FCF9256B9}"/>
                </a:ext>
              </a:extLst>
            </p:cNvPr>
            <p:cNvSpPr/>
            <p:nvPr/>
          </p:nvSpPr>
          <p:spPr>
            <a:xfrm>
              <a:off x="46857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75" name="CustomShape 79">
              <a:extLst>
                <a:ext uri="{FF2B5EF4-FFF2-40B4-BE49-F238E27FC236}">
                  <a16:creationId xmlns:a16="http://schemas.microsoft.com/office/drawing/2014/main" id="{C5C4484F-91F4-4EBA-A67D-33F0C8D0D76B}"/>
                </a:ext>
              </a:extLst>
            </p:cNvPr>
            <p:cNvSpPr/>
            <p:nvPr/>
          </p:nvSpPr>
          <p:spPr>
            <a:xfrm>
              <a:off x="49723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76" name="CustomShape 80">
              <a:extLst>
                <a:ext uri="{FF2B5EF4-FFF2-40B4-BE49-F238E27FC236}">
                  <a16:creationId xmlns:a16="http://schemas.microsoft.com/office/drawing/2014/main" id="{1AC386AA-F376-4FC4-840B-7D7B835FE4AE}"/>
                </a:ext>
              </a:extLst>
            </p:cNvPr>
            <p:cNvSpPr/>
            <p:nvPr/>
          </p:nvSpPr>
          <p:spPr>
            <a:xfrm>
              <a:off x="52585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77" name="CustomShape 81">
              <a:extLst>
                <a:ext uri="{FF2B5EF4-FFF2-40B4-BE49-F238E27FC236}">
                  <a16:creationId xmlns:a16="http://schemas.microsoft.com/office/drawing/2014/main" id="{C1222B34-712E-49D4-BFC2-D62600E0C3B0}"/>
                </a:ext>
              </a:extLst>
            </p:cNvPr>
            <p:cNvSpPr/>
            <p:nvPr/>
          </p:nvSpPr>
          <p:spPr>
            <a:xfrm>
              <a:off x="55450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78" name="CustomShape 82">
              <a:extLst>
                <a:ext uri="{FF2B5EF4-FFF2-40B4-BE49-F238E27FC236}">
                  <a16:creationId xmlns:a16="http://schemas.microsoft.com/office/drawing/2014/main" id="{0C309244-00F6-4AE3-ACE0-54DB3AC0DF9A}"/>
                </a:ext>
              </a:extLst>
            </p:cNvPr>
            <p:cNvSpPr/>
            <p:nvPr/>
          </p:nvSpPr>
          <p:spPr>
            <a:xfrm>
              <a:off x="58312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79" name="CustomShape 83">
              <a:extLst>
                <a:ext uri="{FF2B5EF4-FFF2-40B4-BE49-F238E27FC236}">
                  <a16:creationId xmlns:a16="http://schemas.microsoft.com/office/drawing/2014/main" id="{A328927A-062E-4FF8-A9D2-830D6D2D6B12}"/>
                </a:ext>
              </a:extLst>
            </p:cNvPr>
            <p:cNvSpPr/>
            <p:nvPr/>
          </p:nvSpPr>
          <p:spPr>
            <a:xfrm>
              <a:off x="61178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80" name="CustomShape 84">
              <a:extLst>
                <a:ext uri="{FF2B5EF4-FFF2-40B4-BE49-F238E27FC236}">
                  <a16:creationId xmlns:a16="http://schemas.microsoft.com/office/drawing/2014/main" id="{95668DD0-1668-4F44-8148-6D1F08C819A1}"/>
                </a:ext>
              </a:extLst>
            </p:cNvPr>
            <p:cNvSpPr/>
            <p:nvPr/>
          </p:nvSpPr>
          <p:spPr>
            <a:xfrm>
              <a:off x="64040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81" name="CustomShape 85">
              <a:extLst>
                <a:ext uri="{FF2B5EF4-FFF2-40B4-BE49-F238E27FC236}">
                  <a16:creationId xmlns:a16="http://schemas.microsoft.com/office/drawing/2014/main" id="{96792C4A-C2B4-4382-816A-3E125FBC338C}"/>
                </a:ext>
              </a:extLst>
            </p:cNvPr>
            <p:cNvSpPr/>
            <p:nvPr/>
          </p:nvSpPr>
          <p:spPr>
            <a:xfrm>
              <a:off x="66906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82" name="CustomShape 86">
              <a:extLst>
                <a:ext uri="{FF2B5EF4-FFF2-40B4-BE49-F238E27FC236}">
                  <a16:creationId xmlns:a16="http://schemas.microsoft.com/office/drawing/2014/main" id="{D84BC270-B3F9-4BA6-909E-68F8858A4B56}"/>
                </a:ext>
              </a:extLst>
            </p:cNvPr>
            <p:cNvSpPr/>
            <p:nvPr/>
          </p:nvSpPr>
          <p:spPr>
            <a:xfrm>
              <a:off x="4685760" y="5026680"/>
              <a:ext cx="192960" cy="19296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483" name="CustomShape 87">
              <a:extLst>
                <a:ext uri="{FF2B5EF4-FFF2-40B4-BE49-F238E27FC236}">
                  <a16:creationId xmlns:a16="http://schemas.microsoft.com/office/drawing/2014/main" id="{ABBC847F-92DA-4028-842E-92D4B4D3F445}"/>
                </a:ext>
              </a:extLst>
            </p:cNvPr>
            <p:cNvSpPr/>
            <p:nvPr/>
          </p:nvSpPr>
          <p:spPr>
            <a:xfrm>
              <a:off x="49723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84" name="CustomShape 88">
              <a:extLst>
                <a:ext uri="{FF2B5EF4-FFF2-40B4-BE49-F238E27FC236}">
                  <a16:creationId xmlns:a16="http://schemas.microsoft.com/office/drawing/2014/main" id="{A553E1BF-DB14-4347-9328-6F67CD54B4B3}"/>
                </a:ext>
              </a:extLst>
            </p:cNvPr>
            <p:cNvSpPr/>
            <p:nvPr/>
          </p:nvSpPr>
          <p:spPr>
            <a:xfrm>
              <a:off x="52585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85" name="CustomShape 89">
              <a:extLst>
                <a:ext uri="{FF2B5EF4-FFF2-40B4-BE49-F238E27FC236}">
                  <a16:creationId xmlns:a16="http://schemas.microsoft.com/office/drawing/2014/main" id="{4507B2AA-3A1F-4CA8-BFBF-EABA55F0170D}"/>
                </a:ext>
              </a:extLst>
            </p:cNvPr>
            <p:cNvSpPr/>
            <p:nvPr/>
          </p:nvSpPr>
          <p:spPr>
            <a:xfrm>
              <a:off x="55450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86" name="CustomShape 90">
              <a:extLst>
                <a:ext uri="{FF2B5EF4-FFF2-40B4-BE49-F238E27FC236}">
                  <a16:creationId xmlns:a16="http://schemas.microsoft.com/office/drawing/2014/main" id="{5D60EDA8-D039-4D27-A956-C13F2ACA0F3D}"/>
                </a:ext>
              </a:extLst>
            </p:cNvPr>
            <p:cNvSpPr/>
            <p:nvPr/>
          </p:nvSpPr>
          <p:spPr>
            <a:xfrm>
              <a:off x="58312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87" name="CustomShape 91">
              <a:extLst>
                <a:ext uri="{FF2B5EF4-FFF2-40B4-BE49-F238E27FC236}">
                  <a16:creationId xmlns:a16="http://schemas.microsoft.com/office/drawing/2014/main" id="{F3A2B0DF-EB49-4237-861B-4F464E977DAE}"/>
                </a:ext>
              </a:extLst>
            </p:cNvPr>
            <p:cNvSpPr/>
            <p:nvPr/>
          </p:nvSpPr>
          <p:spPr>
            <a:xfrm>
              <a:off x="61178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88" name="CustomShape 92">
              <a:extLst>
                <a:ext uri="{FF2B5EF4-FFF2-40B4-BE49-F238E27FC236}">
                  <a16:creationId xmlns:a16="http://schemas.microsoft.com/office/drawing/2014/main" id="{9BB7EE6A-9980-4380-BE20-281F6A536164}"/>
                </a:ext>
              </a:extLst>
            </p:cNvPr>
            <p:cNvSpPr/>
            <p:nvPr/>
          </p:nvSpPr>
          <p:spPr>
            <a:xfrm>
              <a:off x="64040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89" name="CustomShape 93">
              <a:extLst>
                <a:ext uri="{FF2B5EF4-FFF2-40B4-BE49-F238E27FC236}">
                  <a16:creationId xmlns:a16="http://schemas.microsoft.com/office/drawing/2014/main" id="{5B9396AB-08A9-4BB5-A7FE-D9933377EB0E}"/>
                </a:ext>
              </a:extLst>
            </p:cNvPr>
            <p:cNvSpPr/>
            <p:nvPr/>
          </p:nvSpPr>
          <p:spPr>
            <a:xfrm>
              <a:off x="66906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90" name="CustomShape 94">
              <a:extLst>
                <a:ext uri="{FF2B5EF4-FFF2-40B4-BE49-F238E27FC236}">
                  <a16:creationId xmlns:a16="http://schemas.microsoft.com/office/drawing/2014/main" id="{9E82A2C2-785E-4788-B4CA-D0CAE708A25D}"/>
                </a:ext>
              </a:extLst>
            </p:cNvPr>
            <p:cNvSpPr/>
            <p:nvPr/>
          </p:nvSpPr>
          <p:spPr>
            <a:xfrm>
              <a:off x="46857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91" name="CustomShape 95">
              <a:extLst>
                <a:ext uri="{FF2B5EF4-FFF2-40B4-BE49-F238E27FC236}">
                  <a16:creationId xmlns:a16="http://schemas.microsoft.com/office/drawing/2014/main" id="{2C9CE241-A8E0-4113-9918-87622A25D49B}"/>
                </a:ext>
              </a:extLst>
            </p:cNvPr>
            <p:cNvSpPr/>
            <p:nvPr/>
          </p:nvSpPr>
          <p:spPr>
            <a:xfrm>
              <a:off x="49723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92" name="CustomShape 96">
              <a:extLst>
                <a:ext uri="{FF2B5EF4-FFF2-40B4-BE49-F238E27FC236}">
                  <a16:creationId xmlns:a16="http://schemas.microsoft.com/office/drawing/2014/main" id="{C7C86A3A-C5AC-4E58-9A68-7F149AB090E7}"/>
                </a:ext>
              </a:extLst>
            </p:cNvPr>
            <p:cNvSpPr/>
            <p:nvPr/>
          </p:nvSpPr>
          <p:spPr>
            <a:xfrm>
              <a:off x="52585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93" name="CustomShape 97">
              <a:extLst>
                <a:ext uri="{FF2B5EF4-FFF2-40B4-BE49-F238E27FC236}">
                  <a16:creationId xmlns:a16="http://schemas.microsoft.com/office/drawing/2014/main" id="{98F34A40-8ABA-430E-BA9F-71ACDFF22DE7}"/>
                </a:ext>
              </a:extLst>
            </p:cNvPr>
            <p:cNvSpPr/>
            <p:nvPr/>
          </p:nvSpPr>
          <p:spPr>
            <a:xfrm>
              <a:off x="55450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94" name="CustomShape 98">
              <a:extLst>
                <a:ext uri="{FF2B5EF4-FFF2-40B4-BE49-F238E27FC236}">
                  <a16:creationId xmlns:a16="http://schemas.microsoft.com/office/drawing/2014/main" id="{BD603060-0B54-4C6C-99CB-5FB4FB2CD9B9}"/>
                </a:ext>
              </a:extLst>
            </p:cNvPr>
            <p:cNvSpPr/>
            <p:nvPr/>
          </p:nvSpPr>
          <p:spPr>
            <a:xfrm>
              <a:off x="58312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95" name="CustomShape 99">
              <a:extLst>
                <a:ext uri="{FF2B5EF4-FFF2-40B4-BE49-F238E27FC236}">
                  <a16:creationId xmlns:a16="http://schemas.microsoft.com/office/drawing/2014/main" id="{37E72973-B3FC-48E4-9560-9995B4847215}"/>
                </a:ext>
              </a:extLst>
            </p:cNvPr>
            <p:cNvSpPr/>
            <p:nvPr/>
          </p:nvSpPr>
          <p:spPr>
            <a:xfrm>
              <a:off x="61178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96" name="CustomShape 100">
              <a:extLst>
                <a:ext uri="{FF2B5EF4-FFF2-40B4-BE49-F238E27FC236}">
                  <a16:creationId xmlns:a16="http://schemas.microsoft.com/office/drawing/2014/main" id="{4786394B-D780-42F1-82BE-60C76F8D1B58}"/>
                </a:ext>
              </a:extLst>
            </p:cNvPr>
            <p:cNvSpPr/>
            <p:nvPr/>
          </p:nvSpPr>
          <p:spPr>
            <a:xfrm>
              <a:off x="64040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97" name="CustomShape 101">
              <a:extLst>
                <a:ext uri="{FF2B5EF4-FFF2-40B4-BE49-F238E27FC236}">
                  <a16:creationId xmlns:a16="http://schemas.microsoft.com/office/drawing/2014/main" id="{61BDC9B4-DFC6-4958-ADBB-920EFB43CE70}"/>
                </a:ext>
              </a:extLst>
            </p:cNvPr>
            <p:cNvSpPr/>
            <p:nvPr/>
          </p:nvSpPr>
          <p:spPr>
            <a:xfrm>
              <a:off x="66906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98" name="CustomShape 102">
              <a:extLst>
                <a:ext uri="{FF2B5EF4-FFF2-40B4-BE49-F238E27FC236}">
                  <a16:creationId xmlns:a16="http://schemas.microsoft.com/office/drawing/2014/main" id="{1A8BFB7D-E5B2-4CEC-91E5-E985A3A183C0}"/>
                </a:ext>
              </a:extLst>
            </p:cNvPr>
            <p:cNvSpPr/>
            <p:nvPr/>
          </p:nvSpPr>
          <p:spPr>
            <a:xfrm>
              <a:off x="46857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99" name="CustomShape 103">
              <a:extLst>
                <a:ext uri="{FF2B5EF4-FFF2-40B4-BE49-F238E27FC236}">
                  <a16:creationId xmlns:a16="http://schemas.microsoft.com/office/drawing/2014/main" id="{6ADFC946-A54B-478D-902A-9065AF6C69F4}"/>
                </a:ext>
              </a:extLst>
            </p:cNvPr>
            <p:cNvSpPr/>
            <p:nvPr/>
          </p:nvSpPr>
          <p:spPr>
            <a:xfrm>
              <a:off x="49723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00" name="CustomShape 104">
              <a:extLst>
                <a:ext uri="{FF2B5EF4-FFF2-40B4-BE49-F238E27FC236}">
                  <a16:creationId xmlns:a16="http://schemas.microsoft.com/office/drawing/2014/main" id="{A03CA6E2-BC6B-48FD-A161-4F51BA975AF3}"/>
                </a:ext>
              </a:extLst>
            </p:cNvPr>
            <p:cNvSpPr/>
            <p:nvPr/>
          </p:nvSpPr>
          <p:spPr>
            <a:xfrm>
              <a:off x="52585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01" name="CustomShape 105">
              <a:extLst>
                <a:ext uri="{FF2B5EF4-FFF2-40B4-BE49-F238E27FC236}">
                  <a16:creationId xmlns:a16="http://schemas.microsoft.com/office/drawing/2014/main" id="{E0BE5005-FD8F-4441-94CD-E210D828F21C}"/>
                </a:ext>
              </a:extLst>
            </p:cNvPr>
            <p:cNvSpPr/>
            <p:nvPr/>
          </p:nvSpPr>
          <p:spPr>
            <a:xfrm>
              <a:off x="55450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02" name="CustomShape 106">
              <a:extLst>
                <a:ext uri="{FF2B5EF4-FFF2-40B4-BE49-F238E27FC236}">
                  <a16:creationId xmlns:a16="http://schemas.microsoft.com/office/drawing/2014/main" id="{F780BD80-2D2E-4985-B168-D348C2C66C12}"/>
                </a:ext>
              </a:extLst>
            </p:cNvPr>
            <p:cNvSpPr/>
            <p:nvPr/>
          </p:nvSpPr>
          <p:spPr>
            <a:xfrm>
              <a:off x="58312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03" name="CustomShape 107">
              <a:extLst>
                <a:ext uri="{FF2B5EF4-FFF2-40B4-BE49-F238E27FC236}">
                  <a16:creationId xmlns:a16="http://schemas.microsoft.com/office/drawing/2014/main" id="{83C11D4B-3728-4CD8-8BCA-E2FEB39A9AFA}"/>
                </a:ext>
              </a:extLst>
            </p:cNvPr>
            <p:cNvSpPr/>
            <p:nvPr/>
          </p:nvSpPr>
          <p:spPr>
            <a:xfrm>
              <a:off x="61178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04" name="CustomShape 108">
              <a:extLst>
                <a:ext uri="{FF2B5EF4-FFF2-40B4-BE49-F238E27FC236}">
                  <a16:creationId xmlns:a16="http://schemas.microsoft.com/office/drawing/2014/main" id="{6E507B79-CFB1-4F48-B249-200ED9ECA6EE}"/>
                </a:ext>
              </a:extLst>
            </p:cNvPr>
            <p:cNvSpPr/>
            <p:nvPr/>
          </p:nvSpPr>
          <p:spPr>
            <a:xfrm>
              <a:off x="64040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05" name="CustomShape 109">
              <a:extLst>
                <a:ext uri="{FF2B5EF4-FFF2-40B4-BE49-F238E27FC236}">
                  <a16:creationId xmlns:a16="http://schemas.microsoft.com/office/drawing/2014/main" id="{3D4C7864-BC1A-4112-AF02-08C0F1E5A99C}"/>
                </a:ext>
              </a:extLst>
            </p:cNvPr>
            <p:cNvSpPr/>
            <p:nvPr/>
          </p:nvSpPr>
          <p:spPr>
            <a:xfrm>
              <a:off x="66906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06" name="CustomShape 110">
              <a:extLst>
                <a:ext uri="{FF2B5EF4-FFF2-40B4-BE49-F238E27FC236}">
                  <a16:creationId xmlns:a16="http://schemas.microsoft.com/office/drawing/2014/main" id="{7E89B32F-A952-4A3C-9B7E-E2ED3B153D76}"/>
                </a:ext>
              </a:extLst>
            </p:cNvPr>
            <p:cNvSpPr/>
            <p:nvPr/>
          </p:nvSpPr>
          <p:spPr>
            <a:xfrm>
              <a:off x="468576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07" name="CustomShape 111">
              <a:extLst>
                <a:ext uri="{FF2B5EF4-FFF2-40B4-BE49-F238E27FC236}">
                  <a16:creationId xmlns:a16="http://schemas.microsoft.com/office/drawing/2014/main" id="{7685D7CC-D333-404B-9972-A8F3707D0188}"/>
                </a:ext>
              </a:extLst>
            </p:cNvPr>
            <p:cNvSpPr/>
            <p:nvPr/>
          </p:nvSpPr>
          <p:spPr>
            <a:xfrm>
              <a:off x="49723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08" name="CustomShape 112">
              <a:extLst>
                <a:ext uri="{FF2B5EF4-FFF2-40B4-BE49-F238E27FC236}">
                  <a16:creationId xmlns:a16="http://schemas.microsoft.com/office/drawing/2014/main" id="{CC767476-59C8-4D0F-A984-5A3AAC72EFA9}"/>
                </a:ext>
              </a:extLst>
            </p:cNvPr>
            <p:cNvSpPr/>
            <p:nvPr/>
          </p:nvSpPr>
          <p:spPr>
            <a:xfrm>
              <a:off x="52585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09" name="CustomShape 113">
              <a:extLst>
                <a:ext uri="{FF2B5EF4-FFF2-40B4-BE49-F238E27FC236}">
                  <a16:creationId xmlns:a16="http://schemas.microsoft.com/office/drawing/2014/main" id="{FE901154-FA42-40F2-BBB9-054FE5FA2FFF}"/>
                </a:ext>
              </a:extLst>
            </p:cNvPr>
            <p:cNvSpPr/>
            <p:nvPr/>
          </p:nvSpPr>
          <p:spPr>
            <a:xfrm>
              <a:off x="55450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10" name="CustomShape 114">
              <a:extLst>
                <a:ext uri="{FF2B5EF4-FFF2-40B4-BE49-F238E27FC236}">
                  <a16:creationId xmlns:a16="http://schemas.microsoft.com/office/drawing/2014/main" id="{3DD88671-7143-49D3-A2CA-2FEDE57CFF23}"/>
                </a:ext>
              </a:extLst>
            </p:cNvPr>
            <p:cNvSpPr/>
            <p:nvPr/>
          </p:nvSpPr>
          <p:spPr>
            <a:xfrm>
              <a:off x="58312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11" name="CustomShape 115">
              <a:extLst>
                <a:ext uri="{FF2B5EF4-FFF2-40B4-BE49-F238E27FC236}">
                  <a16:creationId xmlns:a16="http://schemas.microsoft.com/office/drawing/2014/main" id="{1A708188-4DB3-489A-910B-87829FFCD069}"/>
                </a:ext>
              </a:extLst>
            </p:cNvPr>
            <p:cNvSpPr/>
            <p:nvPr/>
          </p:nvSpPr>
          <p:spPr>
            <a:xfrm>
              <a:off x="61178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12" name="CustomShape 116">
              <a:extLst>
                <a:ext uri="{FF2B5EF4-FFF2-40B4-BE49-F238E27FC236}">
                  <a16:creationId xmlns:a16="http://schemas.microsoft.com/office/drawing/2014/main" id="{27412807-1FFF-445D-AD09-1F1AB1F27BD3}"/>
                </a:ext>
              </a:extLst>
            </p:cNvPr>
            <p:cNvSpPr/>
            <p:nvPr/>
          </p:nvSpPr>
          <p:spPr>
            <a:xfrm>
              <a:off x="64040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13" name="CustomShape 117">
              <a:extLst>
                <a:ext uri="{FF2B5EF4-FFF2-40B4-BE49-F238E27FC236}">
                  <a16:creationId xmlns:a16="http://schemas.microsoft.com/office/drawing/2014/main" id="{CDD001A6-58C3-48B6-85D5-34CB0E1856EF}"/>
                </a:ext>
              </a:extLst>
            </p:cNvPr>
            <p:cNvSpPr/>
            <p:nvPr/>
          </p:nvSpPr>
          <p:spPr>
            <a:xfrm>
              <a:off x="669060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14" name="CustomShape 118">
              <a:extLst>
                <a:ext uri="{FF2B5EF4-FFF2-40B4-BE49-F238E27FC236}">
                  <a16:creationId xmlns:a16="http://schemas.microsoft.com/office/drawing/2014/main" id="{20554F5F-92BE-488D-AC34-B944898FAB9A}"/>
                </a:ext>
              </a:extLst>
            </p:cNvPr>
            <p:cNvSpPr/>
            <p:nvPr/>
          </p:nvSpPr>
          <p:spPr>
            <a:xfrm>
              <a:off x="468576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15" name="CustomShape 119">
              <a:extLst>
                <a:ext uri="{FF2B5EF4-FFF2-40B4-BE49-F238E27FC236}">
                  <a16:creationId xmlns:a16="http://schemas.microsoft.com/office/drawing/2014/main" id="{2FD4F74E-F930-4628-9695-26EF6A40EC62}"/>
                </a:ext>
              </a:extLst>
            </p:cNvPr>
            <p:cNvSpPr/>
            <p:nvPr/>
          </p:nvSpPr>
          <p:spPr>
            <a:xfrm>
              <a:off x="49723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16" name="CustomShape 120">
              <a:extLst>
                <a:ext uri="{FF2B5EF4-FFF2-40B4-BE49-F238E27FC236}">
                  <a16:creationId xmlns:a16="http://schemas.microsoft.com/office/drawing/2014/main" id="{150856F3-6B98-4F0A-8646-C9FD44DB7FB3}"/>
                </a:ext>
              </a:extLst>
            </p:cNvPr>
            <p:cNvSpPr/>
            <p:nvPr/>
          </p:nvSpPr>
          <p:spPr>
            <a:xfrm>
              <a:off x="52585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17" name="CustomShape 121">
              <a:extLst>
                <a:ext uri="{FF2B5EF4-FFF2-40B4-BE49-F238E27FC236}">
                  <a16:creationId xmlns:a16="http://schemas.microsoft.com/office/drawing/2014/main" id="{09AB1C29-9780-40A2-AC6F-4B80A6522064}"/>
                </a:ext>
              </a:extLst>
            </p:cNvPr>
            <p:cNvSpPr/>
            <p:nvPr/>
          </p:nvSpPr>
          <p:spPr>
            <a:xfrm>
              <a:off x="55450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18" name="CustomShape 122">
              <a:extLst>
                <a:ext uri="{FF2B5EF4-FFF2-40B4-BE49-F238E27FC236}">
                  <a16:creationId xmlns:a16="http://schemas.microsoft.com/office/drawing/2014/main" id="{8DEDB522-2DB2-48EB-853B-1EC01C838F4D}"/>
                </a:ext>
              </a:extLst>
            </p:cNvPr>
            <p:cNvSpPr/>
            <p:nvPr/>
          </p:nvSpPr>
          <p:spPr>
            <a:xfrm>
              <a:off x="58312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19" name="CustomShape 123">
              <a:extLst>
                <a:ext uri="{FF2B5EF4-FFF2-40B4-BE49-F238E27FC236}">
                  <a16:creationId xmlns:a16="http://schemas.microsoft.com/office/drawing/2014/main" id="{741045B3-3155-4E15-9F99-365717FB2E67}"/>
                </a:ext>
              </a:extLst>
            </p:cNvPr>
            <p:cNvSpPr/>
            <p:nvPr/>
          </p:nvSpPr>
          <p:spPr>
            <a:xfrm>
              <a:off x="61178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20" name="CustomShape 124">
              <a:extLst>
                <a:ext uri="{FF2B5EF4-FFF2-40B4-BE49-F238E27FC236}">
                  <a16:creationId xmlns:a16="http://schemas.microsoft.com/office/drawing/2014/main" id="{BA55BC20-6AB0-429C-A871-58666108DF9D}"/>
                </a:ext>
              </a:extLst>
            </p:cNvPr>
            <p:cNvSpPr/>
            <p:nvPr/>
          </p:nvSpPr>
          <p:spPr>
            <a:xfrm>
              <a:off x="64040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21" name="CustomShape 125">
              <a:extLst>
                <a:ext uri="{FF2B5EF4-FFF2-40B4-BE49-F238E27FC236}">
                  <a16:creationId xmlns:a16="http://schemas.microsoft.com/office/drawing/2014/main" id="{F636A7F7-4C92-4AEB-ACBB-31FE868483EF}"/>
                </a:ext>
              </a:extLst>
            </p:cNvPr>
            <p:cNvSpPr/>
            <p:nvPr/>
          </p:nvSpPr>
          <p:spPr>
            <a:xfrm>
              <a:off x="669060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22" name="CustomShape 126">
              <a:extLst>
                <a:ext uri="{FF2B5EF4-FFF2-40B4-BE49-F238E27FC236}">
                  <a16:creationId xmlns:a16="http://schemas.microsoft.com/office/drawing/2014/main" id="{C8052DBE-66FB-4760-A3A9-6C8BE21890E8}"/>
                </a:ext>
              </a:extLst>
            </p:cNvPr>
            <p:cNvSpPr/>
            <p:nvPr/>
          </p:nvSpPr>
          <p:spPr>
            <a:xfrm>
              <a:off x="468576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23" name="CustomShape 127">
              <a:extLst>
                <a:ext uri="{FF2B5EF4-FFF2-40B4-BE49-F238E27FC236}">
                  <a16:creationId xmlns:a16="http://schemas.microsoft.com/office/drawing/2014/main" id="{01A6F33B-3C57-47F1-BEDE-B64DE8EF4FD9}"/>
                </a:ext>
              </a:extLst>
            </p:cNvPr>
            <p:cNvSpPr/>
            <p:nvPr/>
          </p:nvSpPr>
          <p:spPr>
            <a:xfrm>
              <a:off x="497232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24" name="CustomShape 128">
              <a:extLst>
                <a:ext uri="{FF2B5EF4-FFF2-40B4-BE49-F238E27FC236}">
                  <a16:creationId xmlns:a16="http://schemas.microsoft.com/office/drawing/2014/main" id="{2EF2A2F2-A578-4AB4-B0CC-A474BF71BA7D}"/>
                </a:ext>
              </a:extLst>
            </p:cNvPr>
            <p:cNvSpPr/>
            <p:nvPr/>
          </p:nvSpPr>
          <p:spPr>
            <a:xfrm>
              <a:off x="525852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25" name="CustomShape 129">
              <a:extLst>
                <a:ext uri="{FF2B5EF4-FFF2-40B4-BE49-F238E27FC236}">
                  <a16:creationId xmlns:a16="http://schemas.microsoft.com/office/drawing/2014/main" id="{F47ABEB0-016C-4C69-8785-15B6C235E7A3}"/>
                </a:ext>
              </a:extLst>
            </p:cNvPr>
            <p:cNvSpPr/>
            <p:nvPr/>
          </p:nvSpPr>
          <p:spPr>
            <a:xfrm>
              <a:off x="554508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26" name="CustomShape 130">
              <a:extLst>
                <a:ext uri="{FF2B5EF4-FFF2-40B4-BE49-F238E27FC236}">
                  <a16:creationId xmlns:a16="http://schemas.microsoft.com/office/drawing/2014/main" id="{96AA8C32-F8B2-4CC5-9D04-644CA05D535F}"/>
                </a:ext>
              </a:extLst>
            </p:cNvPr>
            <p:cNvSpPr/>
            <p:nvPr/>
          </p:nvSpPr>
          <p:spPr>
            <a:xfrm>
              <a:off x="583128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27" name="CustomShape 131">
              <a:extLst>
                <a:ext uri="{FF2B5EF4-FFF2-40B4-BE49-F238E27FC236}">
                  <a16:creationId xmlns:a16="http://schemas.microsoft.com/office/drawing/2014/main" id="{D99EE452-2AEF-453C-8A23-A4A2F809DC54}"/>
                </a:ext>
              </a:extLst>
            </p:cNvPr>
            <p:cNvSpPr/>
            <p:nvPr/>
          </p:nvSpPr>
          <p:spPr>
            <a:xfrm>
              <a:off x="611784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28" name="CustomShape 132">
              <a:extLst>
                <a:ext uri="{FF2B5EF4-FFF2-40B4-BE49-F238E27FC236}">
                  <a16:creationId xmlns:a16="http://schemas.microsoft.com/office/drawing/2014/main" id="{276B8FB7-3978-457F-AC3D-A64A2FD57600}"/>
                </a:ext>
              </a:extLst>
            </p:cNvPr>
            <p:cNvSpPr/>
            <p:nvPr/>
          </p:nvSpPr>
          <p:spPr>
            <a:xfrm>
              <a:off x="640404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29" name="CustomShape 133">
              <a:extLst>
                <a:ext uri="{FF2B5EF4-FFF2-40B4-BE49-F238E27FC236}">
                  <a16:creationId xmlns:a16="http://schemas.microsoft.com/office/drawing/2014/main" id="{38834475-08EA-418D-AAFC-4B5270B6FFCC}"/>
                </a:ext>
              </a:extLst>
            </p:cNvPr>
            <p:cNvSpPr/>
            <p:nvPr/>
          </p:nvSpPr>
          <p:spPr>
            <a:xfrm>
              <a:off x="669060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30" name="CustomShape 134">
              <a:extLst>
                <a:ext uri="{FF2B5EF4-FFF2-40B4-BE49-F238E27FC236}">
                  <a16:creationId xmlns:a16="http://schemas.microsoft.com/office/drawing/2014/main" id="{85B64DF4-156C-40BC-99C0-A199E5D28265}"/>
                </a:ext>
              </a:extLst>
            </p:cNvPr>
            <p:cNvSpPr/>
            <p:nvPr/>
          </p:nvSpPr>
          <p:spPr>
            <a:xfrm>
              <a:off x="6973560" y="4464000"/>
              <a:ext cx="2370600" cy="210744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531" name="CustomShape 135">
              <a:extLst>
                <a:ext uri="{FF2B5EF4-FFF2-40B4-BE49-F238E27FC236}">
                  <a16:creationId xmlns:a16="http://schemas.microsoft.com/office/drawing/2014/main" id="{A1ABFD45-091B-40AD-869D-DBE9835044D8}"/>
                </a:ext>
              </a:extLst>
            </p:cNvPr>
            <p:cNvSpPr/>
            <p:nvPr/>
          </p:nvSpPr>
          <p:spPr>
            <a:xfrm>
              <a:off x="70567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32" name="CustomShape 136">
              <a:extLst>
                <a:ext uri="{FF2B5EF4-FFF2-40B4-BE49-F238E27FC236}">
                  <a16:creationId xmlns:a16="http://schemas.microsoft.com/office/drawing/2014/main" id="{3AC999B3-A64F-4BEE-9335-E0C8DE61D141}"/>
                </a:ext>
              </a:extLst>
            </p:cNvPr>
            <p:cNvSpPr/>
            <p:nvPr/>
          </p:nvSpPr>
          <p:spPr>
            <a:xfrm>
              <a:off x="73432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33" name="CustomShape 137">
              <a:extLst>
                <a:ext uri="{FF2B5EF4-FFF2-40B4-BE49-F238E27FC236}">
                  <a16:creationId xmlns:a16="http://schemas.microsoft.com/office/drawing/2014/main" id="{627AE0C0-7B06-4923-8E2C-270D616AE864}"/>
                </a:ext>
              </a:extLst>
            </p:cNvPr>
            <p:cNvSpPr/>
            <p:nvPr/>
          </p:nvSpPr>
          <p:spPr>
            <a:xfrm>
              <a:off x="76294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34" name="CustomShape 138">
              <a:extLst>
                <a:ext uri="{FF2B5EF4-FFF2-40B4-BE49-F238E27FC236}">
                  <a16:creationId xmlns:a16="http://schemas.microsoft.com/office/drawing/2014/main" id="{F519866B-F652-4905-8FBC-0E52202ADCB5}"/>
                </a:ext>
              </a:extLst>
            </p:cNvPr>
            <p:cNvSpPr/>
            <p:nvPr/>
          </p:nvSpPr>
          <p:spPr>
            <a:xfrm>
              <a:off x="79160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35" name="CustomShape 139">
              <a:extLst>
                <a:ext uri="{FF2B5EF4-FFF2-40B4-BE49-F238E27FC236}">
                  <a16:creationId xmlns:a16="http://schemas.microsoft.com/office/drawing/2014/main" id="{02865C84-7A89-4632-9403-378A34A34C6E}"/>
                </a:ext>
              </a:extLst>
            </p:cNvPr>
            <p:cNvSpPr/>
            <p:nvPr/>
          </p:nvSpPr>
          <p:spPr>
            <a:xfrm>
              <a:off x="82022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36" name="CustomShape 140">
              <a:extLst>
                <a:ext uri="{FF2B5EF4-FFF2-40B4-BE49-F238E27FC236}">
                  <a16:creationId xmlns:a16="http://schemas.microsoft.com/office/drawing/2014/main" id="{B3C12101-23CF-4721-AB87-400CA2D99C4F}"/>
                </a:ext>
              </a:extLst>
            </p:cNvPr>
            <p:cNvSpPr/>
            <p:nvPr/>
          </p:nvSpPr>
          <p:spPr>
            <a:xfrm>
              <a:off x="848880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37" name="CustomShape 141">
              <a:extLst>
                <a:ext uri="{FF2B5EF4-FFF2-40B4-BE49-F238E27FC236}">
                  <a16:creationId xmlns:a16="http://schemas.microsoft.com/office/drawing/2014/main" id="{CB5D62D1-9476-4AFA-A749-BFC056479D36}"/>
                </a:ext>
              </a:extLst>
            </p:cNvPr>
            <p:cNvSpPr/>
            <p:nvPr/>
          </p:nvSpPr>
          <p:spPr>
            <a:xfrm>
              <a:off x="87753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38" name="CustomShape 142">
              <a:extLst>
                <a:ext uri="{FF2B5EF4-FFF2-40B4-BE49-F238E27FC236}">
                  <a16:creationId xmlns:a16="http://schemas.microsoft.com/office/drawing/2014/main" id="{6605FEE0-3203-456D-AB00-5C2188513987}"/>
                </a:ext>
              </a:extLst>
            </p:cNvPr>
            <p:cNvSpPr/>
            <p:nvPr/>
          </p:nvSpPr>
          <p:spPr>
            <a:xfrm>
              <a:off x="90615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39" name="CustomShape 143">
              <a:extLst>
                <a:ext uri="{FF2B5EF4-FFF2-40B4-BE49-F238E27FC236}">
                  <a16:creationId xmlns:a16="http://schemas.microsoft.com/office/drawing/2014/main" id="{4F75951B-5D33-4759-9FDF-43B929F4D0C5}"/>
                </a:ext>
              </a:extLst>
            </p:cNvPr>
            <p:cNvSpPr/>
            <p:nvPr/>
          </p:nvSpPr>
          <p:spPr>
            <a:xfrm>
              <a:off x="70567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40" name="CustomShape 144">
              <a:extLst>
                <a:ext uri="{FF2B5EF4-FFF2-40B4-BE49-F238E27FC236}">
                  <a16:creationId xmlns:a16="http://schemas.microsoft.com/office/drawing/2014/main" id="{98890DEE-FE32-40DD-ADB3-1281B56C0529}"/>
                </a:ext>
              </a:extLst>
            </p:cNvPr>
            <p:cNvSpPr/>
            <p:nvPr/>
          </p:nvSpPr>
          <p:spPr>
            <a:xfrm>
              <a:off x="73432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41" name="CustomShape 145">
              <a:extLst>
                <a:ext uri="{FF2B5EF4-FFF2-40B4-BE49-F238E27FC236}">
                  <a16:creationId xmlns:a16="http://schemas.microsoft.com/office/drawing/2014/main" id="{826E6486-10AD-4E0E-B044-B3819A7DB6C9}"/>
                </a:ext>
              </a:extLst>
            </p:cNvPr>
            <p:cNvSpPr/>
            <p:nvPr/>
          </p:nvSpPr>
          <p:spPr>
            <a:xfrm>
              <a:off x="76294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42" name="CustomShape 146">
              <a:extLst>
                <a:ext uri="{FF2B5EF4-FFF2-40B4-BE49-F238E27FC236}">
                  <a16:creationId xmlns:a16="http://schemas.microsoft.com/office/drawing/2014/main" id="{8C029E7F-1A12-47B7-B280-CB8F840671C0}"/>
                </a:ext>
              </a:extLst>
            </p:cNvPr>
            <p:cNvSpPr/>
            <p:nvPr/>
          </p:nvSpPr>
          <p:spPr>
            <a:xfrm>
              <a:off x="79160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43" name="CustomShape 147">
              <a:extLst>
                <a:ext uri="{FF2B5EF4-FFF2-40B4-BE49-F238E27FC236}">
                  <a16:creationId xmlns:a16="http://schemas.microsoft.com/office/drawing/2014/main" id="{6EE17F8E-FB0A-47C1-A723-18C022B981FA}"/>
                </a:ext>
              </a:extLst>
            </p:cNvPr>
            <p:cNvSpPr/>
            <p:nvPr/>
          </p:nvSpPr>
          <p:spPr>
            <a:xfrm>
              <a:off x="82022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44" name="CustomShape 148">
              <a:extLst>
                <a:ext uri="{FF2B5EF4-FFF2-40B4-BE49-F238E27FC236}">
                  <a16:creationId xmlns:a16="http://schemas.microsoft.com/office/drawing/2014/main" id="{E6FCFB97-4697-49A8-B83F-847D383C716E}"/>
                </a:ext>
              </a:extLst>
            </p:cNvPr>
            <p:cNvSpPr/>
            <p:nvPr/>
          </p:nvSpPr>
          <p:spPr>
            <a:xfrm>
              <a:off x="84888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45" name="CustomShape 149">
              <a:extLst>
                <a:ext uri="{FF2B5EF4-FFF2-40B4-BE49-F238E27FC236}">
                  <a16:creationId xmlns:a16="http://schemas.microsoft.com/office/drawing/2014/main" id="{48E42028-2A91-4C7B-947D-2D770F1663D4}"/>
                </a:ext>
              </a:extLst>
            </p:cNvPr>
            <p:cNvSpPr/>
            <p:nvPr/>
          </p:nvSpPr>
          <p:spPr>
            <a:xfrm>
              <a:off x="87753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46" name="CustomShape 150">
              <a:extLst>
                <a:ext uri="{FF2B5EF4-FFF2-40B4-BE49-F238E27FC236}">
                  <a16:creationId xmlns:a16="http://schemas.microsoft.com/office/drawing/2014/main" id="{4B318373-F77A-49F7-BEF7-A027898C559C}"/>
                </a:ext>
              </a:extLst>
            </p:cNvPr>
            <p:cNvSpPr/>
            <p:nvPr/>
          </p:nvSpPr>
          <p:spPr>
            <a:xfrm>
              <a:off x="90615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47" name="CustomShape 151">
              <a:extLst>
                <a:ext uri="{FF2B5EF4-FFF2-40B4-BE49-F238E27FC236}">
                  <a16:creationId xmlns:a16="http://schemas.microsoft.com/office/drawing/2014/main" id="{D8B9338B-E94F-450B-8558-D0072118121F}"/>
                </a:ext>
              </a:extLst>
            </p:cNvPr>
            <p:cNvSpPr/>
            <p:nvPr/>
          </p:nvSpPr>
          <p:spPr>
            <a:xfrm>
              <a:off x="70567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48" name="CustomShape 152">
              <a:extLst>
                <a:ext uri="{FF2B5EF4-FFF2-40B4-BE49-F238E27FC236}">
                  <a16:creationId xmlns:a16="http://schemas.microsoft.com/office/drawing/2014/main" id="{C4CA5407-D068-4A6B-908F-77D3B79D8756}"/>
                </a:ext>
              </a:extLst>
            </p:cNvPr>
            <p:cNvSpPr/>
            <p:nvPr/>
          </p:nvSpPr>
          <p:spPr>
            <a:xfrm>
              <a:off x="73432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49" name="CustomShape 153">
              <a:extLst>
                <a:ext uri="{FF2B5EF4-FFF2-40B4-BE49-F238E27FC236}">
                  <a16:creationId xmlns:a16="http://schemas.microsoft.com/office/drawing/2014/main" id="{3C59489C-DBBE-4EAD-B990-13A8C8C9B92C}"/>
                </a:ext>
              </a:extLst>
            </p:cNvPr>
            <p:cNvSpPr/>
            <p:nvPr/>
          </p:nvSpPr>
          <p:spPr>
            <a:xfrm>
              <a:off x="76294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50" name="CustomShape 154">
              <a:extLst>
                <a:ext uri="{FF2B5EF4-FFF2-40B4-BE49-F238E27FC236}">
                  <a16:creationId xmlns:a16="http://schemas.microsoft.com/office/drawing/2014/main" id="{C0FAA015-754B-4380-9AE1-6515823D1DA2}"/>
                </a:ext>
              </a:extLst>
            </p:cNvPr>
            <p:cNvSpPr/>
            <p:nvPr/>
          </p:nvSpPr>
          <p:spPr>
            <a:xfrm>
              <a:off x="79160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51" name="CustomShape 155">
              <a:extLst>
                <a:ext uri="{FF2B5EF4-FFF2-40B4-BE49-F238E27FC236}">
                  <a16:creationId xmlns:a16="http://schemas.microsoft.com/office/drawing/2014/main" id="{BCD1DF1A-D7F5-4979-B5EC-A2430603E065}"/>
                </a:ext>
              </a:extLst>
            </p:cNvPr>
            <p:cNvSpPr/>
            <p:nvPr/>
          </p:nvSpPr>
          <p:spPr>
            <a:xfrm>
              <a:off x="82022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52" name="CustomShape 156">
              <a:extLst>
                <a:ext uri="{FF2B5EF4-FFF2-40B4-BE49-F238E27FC236}">
                  <a16:creationId xmlns:a16="http://schemas.microsoft.com/office/drawing/2014/main" id="{B0F22D59-2292-48C5-959A-ACCEBB81FA8F}"/>
                </a:ext>
              </a:extLst>
            </p:cNvPr>
            <p:cNvSpPr/>
            <p:nvPr/>
          </p:nvSpPr>
          <p:spPr>
            <a:xfrm>
              <a:off x="84888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53" name="CustomShape 157">
              <a:extLst>
                <a:ext uri="{FF2B5EF4-FFF2-40B4-BE49-F238E27FC236}">
                  <a16:creationId xmlns:a16="http://schemas.microsoft.com/office/drawing/2014/main" id="{21CBB0BB-A2AA-41DE-8802-BF31F38E4CA7}"/>
                </a:ext>
              </a:extLst>
            </p:cNvPr>
            <p:cNvSpPr/>
            <p:nvPr/>
          </p:nvSpPr>
          <p:spPr>
            <a:xfrm>
              <a:off x="87753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54" name="CustomShape 158">
              <a:extLst>
                <a:ext uri="{FF2B5EF4-FFF2-40B4-BE49-F238E27FC236}">
                  <a16:creationId xmlns:a16="http://schemas.microsoft.com/office/drawing/2014/main" id="{4D5226AB-E2CF-43C9-A4FF-6973EACC0344}"/>
                </a:ext>
              </a:extLst>
            </p:cNvPr>
            <p:cNvSpPr/>
            <p:nvPr/>
          </p:nvSpPr>
          <p:spPr>
            <a:xfrm>
              <a:off x="90615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55" name="CustomShape 159">
              <a:extLst>
                <a:ext uri="{FF2B5EF4-FFF2-40B4-BE49-F238E27FC236}">
                  <a16:creationId xmlns:a16="http://schemas.microsoft.com/office/drawing/2014/main" id="{DAD645D6-F18E-4907-A654-6C0F041E7581}"/>
                </a:ext>
              </a:extLst>
            </p:cNvPr>
            <p:cNvSpPr/>
            <p:nvPr/>
          </p:nvSpPr>
          <p:spPr>
            <a:xfrm>
              <a:off x="70567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56" name="CustomShape 160">
              <a:extLst>
                <a:ext uri="{FF2B5EF4-FFF2-40B4-BE49-F238E27FC236}">
                  <a16:creationId xmlns:a16="http://schemas.microsoft.com/office/drawing/2014/main" id="{389E9476-FBF8-4E11-AB7B-3187A516F2C6}"/>
                </a:ext>
              </a:extLst>
            </p:cNvPr>
            <p:cNvSpPr/>
            <p:nvPr/>
          </p:nvSpPr>
          <p:spPr>
            <a:xfrm>
              <a:off x="73432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57" name="CustomShape 161">
              <a:extLst>
                <a:ext uri="{FF2B5EF4-FFF2-40B4-BE49-F238E27FC236}">
                  <a16:creationId xmlns:a16="http://schemas.microsoft.com/office/drawing/2014/main" id="{A870DDE3-937E-423D-B1BA-0CF55A98C31D}"/>
                </a:ext>
              </a:extLst>
            </p:cNvPr>
            <p:cNvSpPr/>
            <p:nvPr/>
          </p:nvSpPr>
          <p:spPr>
            <a:xfrm>
              <a:off x="76294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58" name="CustomShape 162">
              <a:extLst>
                <a:ext uri="{FF2B5EF4-FFF2-40B4-BE49-F238E27FC236}">
                  <a16:creationId xmlns:a16="http://schemas.microsoft.com/office/drawing/2014/main" id="{A6FFC204-8A6C-462D-B3E8-7F38FF7D6FFC}"/>
                </a:ext>
              </a:extLst>
            </p:cNvPr>
            <p:cNvSpPr/>
            <p:nvPr/>
          </p:nvSpPr>
          <p:spPr>
            <a:xfrm>
              <a:off x="79160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59" name="CustomShape 163">
              <a:extLst>
                <a:ext uri="{FF2B5EF4-FFF2-40B4-BE49-F238E27FC236}">
                  <a16:creationId xmlns:a16="http://schemas.microsoft.com/office/drawing/2014/main" id="{A8E62BF3-39A2-42D4-9F11-3878B86E936A}"/>
                </a:ext>
              </a:extLst>
            </p:cNvPr>
            <p:cNvSpPr/>
            <p:nvPr/>
          </p:nvSpPr>
          <p:spPr>
            <a:xfrm>
              <a:off x="82022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60" name="CustomShape 164">
              <a:extLst>
                <a:ext uri="{FF2B5EF4-FFF2-40B4-BE49-F238E27FC236}">
                  <a16:creationId xmlns:a16="http://schemas.microsoft.com/office/drawing/2014/main" id="{561BF891-5A2C-40E3-9165-2717014ADB53}"/>
                </a:ext>
              </a:extLst>
            </p:cNvPr>
            <p:cNvSpPr/>
            <p:nvPr/>
          </p:nvSpPr>
          <p:spPr>
            <a:xfrm>
              <a:off x="84888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61" name="CustomShape 165">
              <a:extLst>
                <a:ext uri="{FF2B5EF4-FFF2-40B4-BE49-F238E27FC236}">
                  <a16:creationId xmlns:a16="http://schemas.microsoft.com/office/drawing/2014/main" id="{9C020190-7A6A-4C1A-8C51-7808E664F692}"/>
                </a:ext>
              </a:extLst>
            </p:cNvPr>
            <p:cNvSpPr/>
            <p:nvPr/>
          </p:nvSpPr>
          <p:spPr>
            <a:xfrm>
              <a:off x="87753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62" name="CustomShape 166">
              <a:extLst>
                <a:ext uri="{FF2B5EF4-FFF2-40B4-BE49-F238E27FC236}">
                  <a16:creationId xmlns:a16="http://schemas.microsoft.com/office/drawing/2014/main" id="{34788925-7536-4776-A818-66A83F9F9924}"/>
                </a:ext>
              </a:extLst>
            </p:cNvPr>
            <p:cNvSpPr/>
            <p:nvPr/>
          </p:nvSpPr>
          <p:spPr>
            <a:xfrm>
              <a:off x="90615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63" name="CustomShape 167">
              <a:extLst>
                <a:ext uri="{FF2B5EF4-FFF2-40B4-BE49-F238E27FC236}">
                  <a16:creationId xmlns:a16="http://schemas.microsoft.com/office/drawing/2014/main" id="{1AEA285D-CBC6-4E5D-A898-160150195050}"/>
                </a:ext>
              </a:extLst>
            </p:cNvPr>
            <p:cNvSpPr/>
            <p:nvPr/>
          </p:nvSpPr>
          <p:spPr>
            <a:xfrm>
              <a:off x="70567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64" name="CustomShape 168">
              <a:extLst>
                <a:ext uri="{FF2B5EF4-FFF2-40B4-BE49-F238E27FC236}">
                  <a16:creationId xmlns:a16="http://schemas.microsoft.com/office/drawing/2014/main" id="{B045C413-7081-4C76-B84B-C2DD23F09847}"/>
                </a:ext>
              </a:extLst>
            </p:cNvPr>
            <p:cNvSpPr/>
            <p:nvPr/>
          </p:nvSpPr>
          <p:spPr>
            <a:xfrm>
              <a:off x="73432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65" name="CustomShape 169">
              <a:extLst>
                <a:ext uri="{FF2B5EF4-FFF2-40B4-BE49-F238E27FC236}">
                  <a16:creationId xmlns:a16="http://schemas.microsoft.com/office/drawing/2014/main" id="{20D62A5D-67E1-45E1-A2D8-2C8F51A12C39}"/>
                </a:ext>
              </a:extLst>
            </p:cNvPr>
            <p:cNvSpPr/>
            <p:nvPr/>
          </p:nvSpPr>
          <p:spPr>
            <a:xfrm>
              <a:off x="76294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66" name="CustomShape 170">
              <a:extLst>
                <a:ext uri="{FF2B5EF4-FFF2-40B4-BE49-F238E27FC236}">
                  <a16:creationId xmlns:a16="http://schemas.microsoft.com/office/drawing/2014/main" id="{4D972A39-9E52-4970-9B31-448F4173D929}"/>
                </a:ext>
              </a:extLst>
            </p:cNvPr>
            <p:cNvSpPr/>
            <p:nvPr/>
          </p:nvSpPr>
          <p:spPr>
            <a:xfrm>
              <a:off x="79160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67" name="CustomShape 171">
              <a:extLst>
                <a:ext uri="{FF2B5EF4-FFF2-40B4-BE49-F238E27FC236}">
                  <a16:creationId xmlns:a16="http://schemas.microsoft.com/office/drawing/2014/main" id="{6A6A839A-D25D-4CC9-9E27-3FF2B6B4AEB9}"/>
                </a:ext>
              </a:extLst>
            </p:cNvPr>
            <p:cNvSpPr/>
            <p:nvPr/>
          </p:nvSpPr>
          <p:spPr>
            <a:xfrm>
              <a:off x="82022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68" name="CustomShape 172">
              <a:extLst>
                <a:ext uri="{FF2B5EF4-FFF2-40B4-BE49-F238E27FC236}">
                  <a16:creationId xmlns:a16="http://schemas.microsoft.com/office/drawing/2014/main" id="{6541A6B1-7348-4883-BB93-D1EDE2D030A6}"/>
                </a:ext>
              </a:extLst>
            </p:cNvPr>
            <p:cNvSpPr/>
            <p:nvPr/>
          </p:nvSpPr>
          <p:spPr>
            <a:xfrm>
              <a:off x="84888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69" name="CustomShape 173">
              <a:extLst>
                <a:ext uri="{FF2B5EF4-FFF2-40B4-BE49-F238E27FC236}">
                  <a16:creationId xmlns:a16="http://schemas.microsoft.com/office/drawing/2014/main" id="{355814C4-8E44-42F9-A739-275566BC5129}"/>
                </a:ext>
              </a:extLst>
            </p:cNvPr>
            <p:cNvSpPr/>
            <p:nvPr/>
          </p:nvSpPr>
          <p:spPr>
            <a:xfrm>
              <a:off x="87753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70" name="CustomShape 174">
              <a:extLst>
                <a:ext uri="{FF2B5EF4-FFF2-40B4-BE49-F238E27FC236}">
                  <a16:creationId xmlns:a16="http://schemas.microsoft.com/office/drawing/2014/main" id="{A4751C6C-C68A-4B8F-854E-6C349800D312}"/>
                </a:ext>
              </a:extLst>
            </p:cNvPr>
            <p:cNvSpPr/>
            <p:nvPr/>
          </p:nvSpPr>
          <p:spPr>
            <a:xfrm>
              <a:off x="90615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71" name="CustomShape 175">
              <a:extLst>
                <a:ext uri="{FF2B5EF4-FFF2-40B4-BE49-F238E27FC236}">
                  <a16:creationId xmlns:a16="http://schemas.microsoft.com/office/drawing/2014/main" id="{4AAF2922-F5E2-4882-8A42-B216B01AFA2F}"/>
                </a:ext>
              </a:extLst>
            </p:cNvPr>
            <p:cNvSpPr/>
            <p:nvPr/>
          </p:nvSpPr>
          <p:spPr>
            <a:xfrm>
              <a:off x="70567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72" name="CustomShape 176">
              <a:extLst>
                <a:ext uri="{FF2B5EF4-FFF2-40B4-BE49-F238E27FC236}">
                  <a16:creationId xmlns:a16="http://schemas.microsoft.com/office/drawing/2014/main" id="{B535DDFD-E8A4-4F93-A9C4-AE0C5564D575}"/>
                </a:ext>
              </a:extLst>
            </p:cNvPr>
            <p:cNvSpPr/>
            <p:nvPr/>
          </p:nvSpPr>
          <p:spPr>
            <a:xfrm>
              <a:off x="73432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73" name="CustomShape 177">
              <a:extLst>
                <a:ext uri="{FF2B5EF4-FFF2-40B4-BE49-F238E27FC236}">
                  <a16:creationId xmlns:a16="http://schemas.microsoft.com/office/drawing/2014/main" id="{0CE0E99C-B292-42F5-AD9A-A89B4723F017}"/>
                </a:ext>
              </a:extLst>
            </p:cNvPr>
            <p:cNvSpPr/>
            <p:nvPr/>
          </p:nvSpPr>
          <p:spPr>
            <a:xfrm>
              <a:off x="76294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74" name="CustomShape 178">
              <a:extLst>
                <a:ext uri="{FF2B5EF4-FFF2-40B4-BE49-F238E27FC236}">
                  <a16:creationId xmlns:a16="http://schemas.microsoft.com/office/drawing/2014/main" id="{2CB69F3A-CFB9-42EC-85B0-C68B7BB35EFE}"/>
                </a:ext>
              </a:extLst>
            </p:cNvPr>
            <p:cNvSpPr/>
            <p:nvPr/>
          </p:nvSpPr>
          <p:spPr>
            <a:xfrm>
              <a:off x="79160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75" name="CustomShape 179">
              <a:extLst>
                <a:ext uri="{FF2B5EF4-FFF2-40B4-BE49-F238E27FC236}">
                  <a16:creationId xmlns:a16="http://schemas.microsoft.com/office/drawing/2014/main" id="{D229EE5B-25D4-4502-8E85-093C3AA02397}"/>
                </a:ext>
              </a:extLst>
            </p:cNvPr>
            <p:cNvSpPr/>
            <p:nvPr/>
          </p:nvSpPr>
          <p:spPr>
            <a:xfrm>
              <a:off x="82022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76" name="CustomShape 180">
              <a:extLst>
                <a:ext uri="{FF2B5EF4-FFF2-40B4-BE49-F238E27FC236}">
                  <a16:creationId xmlns:a16="http://schemas.microsoft.com/office/drawing/2014/main" id="{DE38B71D-FB3B-4ECF-9DC3-8B60FFF74151}"/>
                </a:ext>
              </a:extLst>
            </p:cNvPr>
            <p:cNvSpPr/>
            <p:nvPr/>
          </p:nvSpPr>
          <p:spPr>
            <a:xfrm>
              <a:off x="848880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77" name="CustomShape 181">
              <a:extLst>
                <a:ext uri="{FF2B5EF4-FFF2-40B4-BE49-F238E27FC236}">
                  <a16:creationId xmlns:a16="http://schemas.microsoft.com/office/drawing/2014/main" id="{010ABACF-A9E2-41D6-945C-8B01C1A25A25}"/>
                </a:ext>
              </a:extLst>
            </p:cNvPr>
            <p:cNvSpPr/>
            <p:nvPr/>
          </p:nvSpPr>
          <p:spPr>
            <a:xfrm>
              <a:off x="877536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78" name="CustomShape 182">
              <a:extLst>
                <a:ext uri="{FF2B5EF4-FFF2-40B4-BE49-F238E27FC236}">
                  <a16:creationId xmlns:a16="http://schemas.microsoft.com/office/drawing/2014/main" id="{125327D2-DE29-4E9A-BE4C-4E2AF0536C14}"/>
                </a:ext>
              </a:extLst>
            </p:cNvPr>
            <p:cNvSpPr/>
            <p:nvPr/>
          </p:nvSpPr>
          <p:spPr>
            <a:xfrm>
              <a:off x="906156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79" name="CustomShape 183">
              <a:extLst>
                <a:ext uri="{FF2B5EF4-FFF2-40B4-BE49-F238E27FC236}">
                  <a16:creationId xmlns:a16="http://schemas.microsoft.com/office/drawing/2014/main" id="{1B96140A-B044-4854-A889-A9DB4230B003}"/>
                </a:ext>
              </a:extLst>
            </p:cNvPr>
            <p:cNvSpPr/>
            <p:nvPr/>
          </p:nvSpPr>
          <p:spPr>
            <a:xfrm>
              <a:off x="70567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80" name="CustomShape 184">
              <a:extLst>
                <a:ext uri="{FF2B5EF4-FFF2-40B4-BE49-F238E27FC236}">
                  <a16:creationId xmlns:a16="http://schemas.microsoft.com/office/drawing/2014/main" id="{C4D40DB1-1AA6-4381-B209-F75312A66FC8}"/>
                </a:ext>
              </a:extLst>
            </p:cNvPr>
            <p:cNvSpPr/>
            <p:nvPr/>
          </p:nvSpPr>
          <p:spPr>
            <a:xfrm>
              <a:off x="73432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81" name="CustomShape 185">
              <a:extLst>
                <a:ext uri="{FF2B5EF4-FFF2-40B4-BE49-F238E27FC236}">
                  <a16:creationId xmlns:a16="http://schemas.microsoft.com/office/drawing/2014/main" id="{7BDDF00B-CA59-4985-A2C3-3E4E2682FBFE}"/>
                </a:ext>
              </a:extLst>
            </p:cNvPr>
            <p:cNvSpPr/>
            <p:nvPr/>
          </p:nvSpPr>
          <p:spPr>
            <a:xfrm>
              <a:off x="76294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82" name="CustomShape 186">
              <a:extLst>
                <a:ext uri="{FF2B5EF4-FFF2-40B4-BE49-F238E27FC236}">
                  <a16:creationId xmlns:a16="http://schemas.microsoft.com/office/drawing/2014/main" id="{CD72A260-C62B-401E-872E-CD716A9ACF5A}"/>
                </a:ext>
              </a:extLst>
            </p:cNvPr>
            <p:cNvSpPr/>
            <p:nvPr/>
          </p:nvSpPr>
          <p:spPr>
            <a:xfrm>
              <a:off x="79160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83" name="CustomShape 187">
              <a:extLst>
                <a:ext uri="{FF2B5EF4-FFF2-40B4-BE49-F238E27FC236}">
                  <a16:creationId xmlns:a16="http://schemas.microsoft.com/office/drawing/2014/main" id="{C2E726C8-42C3-4647-B84A-AD97EA31634B}"/>
                </a:ext>
              </a:extLst>
            </p:cNvPr>
            <p:cNvSpPr/>
            <p:nvPr/>
          </p:nvSpPr>
          <p:spPr>
            <a:xfrm>
              <a:off x="82022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84" name="CustomShape 188">
              <a:extLst>
                <a:ext uri="{FF2B5EF4-FFF2-40B4-BE49-F238E27FC236}">
                  <a16:creationId xmlns:a16="http://schemas.microsoft.com/office/drawing/2014/main" id="{236DA1F7-2F9E-4C8A-8E29-714503BCEE53}"/>
                </a:ext>
              </a:extLst>
            </p:cNvPr>
            <p:cNvSpPr/>
            <p:nvPr/>
          </p:nvSpPr>
          <p:spPr>
            <a:xfrm>
              <a:off x="848880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85" name="CustomShape 189">
              <a:extLst>
                <a:ext uri="{FF2B5EF4-FFF2-40B4-BE49-F238E27FC236}">
                  <a16:creationId xmlns:a16="http://schemas.microsoft.com/office/drawing/2014/main" id="{BCF32601-BD93-4725-888A-FBFD79BB8965}"/>
                </a:ext>
              </a:extLst>
            </p:cNvPr>
            <p:cNvSpPr/>
            <p:nvPr/>
          </p:nvSpPr>
          <p:spPr>
            <a:xfrm>
              <a:off x="877536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86" name="CustomShape 190">
              <a:extLst>
                <a:ext uri="{FF2B5EF4-FFF2-40B4-BE49-F238E27FC236}">
                  <a16:creationId xmlns:a16="http://schemas.microsoft.com/office/drawing/2014/main" id="{27CF9C86-5783-4AED-8370-5BE36FD632DE}"/>
                </a:ext>
              </a:extLst>
            </p:cNvPr>
            <p:cNvSpPr/>
            <p:nvPr/>
          </p:nvSpPr>
          <p:spPr>
            <a:xfrm>
              <a:off x="906156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87" name="CustomShape 191">
              <a:extLst>
                <a:ext uri="{FF2B5EF4-FFF2-40B4-BE49-F238E27FC236}">
                  <a16:creationId xmlns:a16="http://schemas.microsoft.com/office/drawing/2014/main" id="{4ADFD249-CAB0-4FF0-A03D-D9216774A7DF}"/>
                </a:ext>
              </a:extLst>
            </p:cNvPr>
            <p:cNvSpPr/>
            <p:nvPr/>
          </p:nvSpPr>
          <p:spPr>
            <a:xfrm>
              <a:off x="705672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88" name="CustomShape 192">
              <a:extLst>
                <a:ext uri="{FF2B5EF4-FFF2-40B4-BE49-F238E27FC236}">
                  <a16:creationId xmlns:a16="http://schemas.microsoft.com/office/drawing/2014/main" id="{5962DA45-320A-4C34-A4BA-0B5D4C6C7789}"/>
                </a:ext>
              </a:extLst>
            </p:cNvPr>
            <p:cNvSpPr/>
            <p:nvPr/>
          </p:nvSpPr>
          <p:spPr>
            <a:xfrm>
              <a:off x="734328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89" name="CustomShape 193">
              <a:extLst>
                <a:ext uri="{FF2B5EF4-FFF2-40B4-BE49-F238E27FC236}">
                  <a16:creationId xmlns:a16="http://schemas.microsoft.com/office/drawing/2014/main" id="{5653E66D-8AFA-4D87-9076-CB804265F187}"/>
                </a:ext>
              </a:extLst>
            </p:cNvPr>
            <p:cNvSpPr/>
            <p:nvPr/>
          </p:nvSpPr>
          <p:spPr>
            <a:xfrm>
              <a:off x="762948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90" name="CustomShape 194">
              <a:extLst>
                <a:ext uri="{FF2B5EF4-FFF2-40B4-BE49-F238E27FC236}">
                  <a16:creationId xmlns:a16="http://schemas.microsoft.com/office/drawing/2014/main" id="{21852B2B-F62C-4240-B6F4-4CF68455D24F}"/>
                </a:ext>
              </a:extLst>
            </p:cNvPr>
            <p:cNvSpPr/>
            <p:nvPr/>
          </p:nvSpPr>
          <p:spPr>
            <a:xfrm>
              <a:off x="791604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91" name="CustomShape 195">
              <a:extLst>
                <a:ext uri="{FF2B5EF4-FFF2-40B4-BE49-F238E27FC236}">
                  <a16:creationId xmlns:a16="http://schemas.microsoft.com/office/drawing/2014/main" id="{63EC905B-CEA7-4E80-AE19-AA8EA76CF852}"/>
                </a:ext>
              </a:extLst>
            </p:cNvPr>
            <p:cNvSpPr/>
            <p:nvPr/>
          </p:nvSpPr>
          <p:spPr>
            <a:xfrm>
              <a:off x="820224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92" name="CustomShape 196">
              <a:extLst>
                <a:ext uri="{FF2B5EF4-FFF2-40B4-BE49-F238E27FC236}">
                  <a16:creationId xmlns:a16="http://schemas.microsoft.com/office/drawing/2014/main" id="{7E3C08EE-62CD-49A2-B1D0-E5DCFDCCCE5C}"/>
                </a:ext>
              </a:extLst>
            </p:cNvPr>
            <p:cNvSpPr/>
            <p:nvPr/>
          </p:nvSpPr>
          <p:spPr>
            <a:xfrm>
              <a:off x="848880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93" name="CustomShape 197">
              <a:extLst>
                <a:ext uri="{FF2B5EF4-FFF2-40B4-BE49-F238E27FC236}">
                  <a16:creationId xmlns:a16="http://schemas.microsoft.com/office/drawing/2014/main" id="{845DBB31-539F-4B52-A60E-BFEEFA3FE3C9}"/>
                </a:ext>
              </a:extLst>
            </p:cNvPr>
            <p:cNvSpPr/>
            <p:nvPr/>
          </p:nvSpPr>
          <p:spPr>
            <a:xfrm>
              <a:off x="877536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94" name="CustomShape 198">
              <a:extLst>
                <a:ext uri="{FF2B5EF4-FFF2-40B4-BE49-F238E27FC236}">
                  <a16:creationId xmlns:a16="http://schemas.microsoft.com/office/drawing/2014/main" id="{99777E14-0D06-4A85-86F7-6A93E7957977}"/>
                </a:ext>
              </a:extLst>
            </p:cNvPr>
            <p:cNvSpPr/>
            <p:nvPr/>
          </p:nvSpPr>
          <p:spPr>
            <a:xfrm>
              <a:off x="906156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grpSp>
      <p:sp>
        <p:nvSpPr>
          <p:cNvPr id="5" name="TextBox 4">
            <a:extLst>
              <a:ext uri="{FF2B5EF4-FFF2-40B4-BE49-F238E27FC236}">
                <a16:creationId xmlns:a16="http://schemas.microsoft.com/office/drawing/2014/main" id="{2549C9D4-2731-49F7-B59D-A504666E86DE}"/>
              </a:ext>
            </a:extLst>
          </p:cNvPr>
          <p:cNvSpPr txBox="1"/>
          <p:nvPr/>
        </p:nvSpPr>
        <p:spPr>
          <a:xfrm>
            <a:off x="6524847" y="1953778"/>
            <a:ext cx="369332" cy="1676113"/>
          </a:xfrm>
          <a:prstGeom prst="rect">
            <a:avLst/>
          </a:prstGeom>
          <a:noFill/>
        </p:spPr>
        <p:txBody>
          <a:bodyPr vert="vert" wrap="square" rtlCol="0">
            <a:spAutoFit/>
          </a:bodyPr>
          <a:lstStyle/>
          <a:p>
            <a:r>
              <a:rPr lang="en-US" sz="1200" dirty="0" err="1">
                <a:latin typeface="Ericsson Hilda" panose="00000500000000000000" pitchFamily="2" charset="0"/>
              </a:rPr>
              <a:t>Katoder</a:t>
            </a:r>
            <a:r>
              <a:rPr lang="en-US" sz="1200" dirty="0">
                <a:latin typeface="Ericsson Hilda" panose="00000500000000000000" pitchFamily="2" charset="0"/>
              </a:rPr>
              <a:t> (</a:t>
            </a:r>
            <a:r>
              <a:rPr lang="en-US" sz="1200" dirty="0" err="1">
                <a:latin typeface="Ericsson Hilda" panose="00000500000000000000" pitchFamily="2" charset="0"/>
              </a:rPr>
              <a:t>kolumn</a:t>
            </a:r>
            <a:r>
              <a:rPr lang="en-US" sz="1200" dirty="0">
                <a:latin typeface="Ericsson Hilda" panose="00000500000000000000" pitchFamily="2" charset="0"/>
              </a:rPr>
              <a:t>)</a:t>
            </a:r>
            <a:endParaRPr lang="en-SE" sz="1200" dirty="0">
              <a:latin typeface="Ericsson Hilda" panose="00000500000000000000" pitchFamily="2" charset="0"/>
            </a:endParaRPr>
          </a:p>
        </p:txBody>
      </p:sp>
      <p:grpSp>
        <p:nvGrpSpPr>
          <p:cNvPr id="10" name="Group 9">
            <a:extLst>
              <a:ext uri="{FF2B5EF4-FFF2-40B4-BE49-F238E27FC236}">
                <a16:creationId xmlns:a16="http://schemas.microsoft.com/office/drawing/2014/main" id="{A3FE7D58-806F-4463-8845-F1165A5EDA36}"/>
              </a:ext>
            </a:extLst>
          </p:cNvPr>
          <p:cNvGrpSpPr/>
          <p:nvPr/>
        </p:nvGrpSpPr>
        <p:grpSpPr>
          <a:xfrm>
            <a:off x="6896078" y="1737360"/>
            <a:ext cx="4706200" cy="1614371"/>
            <a:chOff x="6637479" y="3931920"/>
            <a:chExt cx="4706200" cy="1614371"/>
          </a:xfrm>
        </p:grpSpPr>
        <p:cxnSp>
          <p:nvCxnSpPr>
            <p:cNvPr id="7" name="Straight Arrow Connector 6">
              <a:extLst>
                <a:ext uri="{FF2B5EF4-FFF2-40B4-BE49-F238E27FC236}">
                  <a16:creationId xmlns:a16="http://schemas.microsoft.com/office/drawing/2014/main" id="{DB4FFB2B-C149-4DA8-B4A8-50996897C8BE}"/>
                </a:ext>
              </a:extLst>
            </p:cNvPr>
            <p:cNvCxnSpPr>
              <a:cxnSpLocks/>
            </p:cNvCxnSpPr>
            <p:nvPr/>
          </p:nvCxnSpPr>
          <p:spPr>
            <a:xfrm flipV="1">
              <a:off x="6644640" y="3931920"/>
              <a:ext cx="0" cy="161437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0" name="Straight Arrow Connector 599">
              <a:extLst>
                <a:ext uri="{FF2B5EF4-FFF2-40B4-BE49-F238E27FC236}">
                  <a16:creationId xmlns:a16="http://schemas.microsoft.com/office/drawing/2014/main" id="{F9FB71E0-5605-4ED3-9150-1C7480169C2B}"/>
                </a:ext>
              </a:extLst>
            </p:cNvPr>
            <p:cNvCxnSpPr>
              <a:cxnSpLocks/>
            </p:cNvCxnSpPr>
            <p:nvPr/>
          </p:nvCxnSpPr>
          <p:spPr>
            <a:xfrm>
              <a:off x="6637479" y="5546291"/>
              <a:ext cx="470620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605" name="TextBox 604">
            <a:extLst>
              <a:ext uri="{FF2B5EF4-FFF2-40B4-BE49-F238E27FC236}">
                <a16:creationId xmlns:a16="http://schemas.microsoft.com/office/drawing/2014/main" id="{EF7E7C7E-B7F6-47AE-A35E-3AEFB768C1C9}"/>
              </a:ext>
            </a:extLst>
          </p:cNvPr>
          <p:cNvSpPr txBox="1"/>
          <p:nvPr/>
        </p:nvSpPr>
        <p:spPr>
          <a:xfrm>
            <a:off x="6894179" y="3474864"/>
            <a:ext cx="1653265" cy="276999"/>
          </a:xfrm>
          <a:prstGeom prst="rect">
            <a:avLst/>
          </a:prstGeom>
          <a:noFill/>
        </p:spPr>
        <p:txBody>
          <a:bodyPr wrap="square" rtlCol="0">
            <a:spAutoFit/>
          </a:bodyPr>
          <a:lstStyle/>
          <a:p>
            <a:r>
              <a:rPr lang="en-US" sz="1200" dirty="0" err="1">
                <a:latin typeface="Ericsson Hilda" panose="00000500000000000000" pitchFamily="2" charset="0"/>
              </a:rPr>
              <a:t>Anoder</a:t>
            </a:r>
            <a:r>
              <a:rPr lang="en-US" sz="1200" dirty="0">
                <a:latin typeface="Ericsson Hilda" panose="00000500000000000000" pitchFamily="2" charset="0"/>
              </a:rPr>
              <a:t> (rad)</a:t>
            </a:r>
            <a:endParaRPr lang="en-SE" sz="1200" dirty="0">
              <a:latin typeface="Ericsson Hilda" panose="00000500000000000000" pitchFamily="2" charset="0"/>
            </a:endParaRPr>
          </a:p>
        </p:txBody>
      </p:sp>
      <p:cxnSp>
        <p:nvCxnSpPr>
          <p:cNvPr id="13" name="Straight Arrow Connector 12">
            <a:extLst>
              <a:ext uri="{FF2B5EF4-FFF2-40B4-BE49-F238E27FC236}">
                <a16:creationId xmlns:a16="http://schemas.microsoft.com/office/drawing/2014/main" id="{E6027CB2-523A-4BFC-8F82-D374900C9717}"/>
              </a:ext>
            </a:extLst>
          </p:cNvPr>
          <p:cNvCxnSpPr>
            <a:cxnSpLocks/>
            <a:stCxn id="489" idx="6"/>
            <a:endCxn id="482" idx="6"/>
          </p:cNvCxnSpPr>
          <p:nvPr/>
        </p:nvCxnSpPr>
        <p:spPr>
          <a:xfrm flipH="1">
            <a:off x="8844625" y="2202329"/>
            <a:ext cx="1238098" cy="0"/>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612" name="Straight Arrow Connector 611">
            <a:extLst>
              <a:ext uri="{FF2B5EF4-FFF2-40B4-BE49-F238E27FC236}">
                <a16:creationId xmlns:a16="http://schemas.microsoft.com/office/drawing/2014/main" id="{75C0D5B9-81A9-4418-9992-948D02974F10}"/>
              </a:ext>
            </a:extLst>
          </p:cNvPr>
          <p:cNvCxnSpPr>
            <a:cxnSpLocks/>
            <a:stCxn id="522" idx="4"/>
            <a:endCxn id="490" idx="0"/>
          </p:cNvCxnSpPr>
          <p:nvPr/>
        </p:nvCxnSpPr>
        <p:spPr>
          <a:xfrm flipV="1">
            <a:off x="8785044" y="2299037"/>
            <a:ext cx="0" cy="74432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6661577"/>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 name="TextShape 2"/>
          <p:cNvSpPr txBox="1"/>
          <p:nvPr/>
        </p:nvSpPr>
        <p:spPr>
          <a:xfrm>
            <a:off x="479520" y="476280"/>
            <a:ext cx="5471640" cy="716400"/>
          </a:xfrm>
          <a:prstGeom prst="rect">
            <a:avLst/>
          </a:prstGeom>
          <a:noFill/>
          <a:ln w="9360">
            <a:noFill/>
          </a:ln>
        </p:spPr>
        <p:txBody>
          <a:bodyPr lIns="72000" tIns="36000" rIns="73080" bIns="36720">
            <a:normAutofit fontScale="77500" lnSpcReduction="20000"/>
          </a:bodyPr>
          <a:lstStyle/>
          <a:p>
            <a:pPr>
              <a:lnSpc>
                <a:spcPct val="100000"/>
              </a:lnSpc>
              <a:spcBef>
                <a:spcPts val="300"/>
              </a:spcBef>
            </a:pPr>
            <a:r>
              <a:rPr lang="en-US" sz="4000" b="0" strike="noStrike" spc="-157" err="1">
                <a:solidFill>
                  <a:srgbClr val="181818"/>
                </a:solidFill>
                <a:uFill>
                  <a:solidFill>
                    <a:srgbClr val="FFFFFF"/>
                  </a:solidFill>
                </a:uFill>
                <a:latin typeface="Ericsson Hilda Light"/>
              </a:rPr>
              <a:t>DAmatrix</a:t>
            </a:r>
            <a:r>
              <a:rPr lang="en-US" sz="4000" b="0" strike="noStrike" spc="-157">
                <a:solidFill>
                  <a:srgbClr val="181818"/>
                </a:solidFill>
                <a:uFill>
                  <a:solidFill>
                    <a:srgbClr val="FFFFFF"/>
                  </a:solidFill>
                </a:uFill>
                <a:latin typeface="Ericsson Hilda Light"/>
              </a:rPr>
              <a:t>: </a:t>
            </a:r>
            <a:r>
              <a:rPr lang="en-US" sz="4000" b="0" strike="noStrike" spc="-157" err="1">
                <a:solidFill>
                  <a:srgbClr val="181818"/>
                </a:solidFill>
                <a:uFill>
                  <a:solidFill>
                    <a:srgbClr val="FFFFFF"/>
                  </a:solidFill>
                </a:uFill>
                <a:latin typeface="Ericsson Hilda Light"/>
              </a:rPr>
              <a:t>Addressering</a:t>
            </a:r>
            <a:r>
              <a:rPr lang="en-US" sz="4000" b="0" strike="noStrike" spc="-157">
                <a:solidFill>
                  <a:srgbClr val="181818"/>
                </a:solidFill>
                <a:uFill>
                  <a:solidFill>
                    <a:srgbClr val="FFFFFF"/>
                  </a:solidFill>
                </a:uFill>
                <a:latin typeface="Ericsson Hilda Light"/>
              </a:rPr>
              <a:t> av </a:t>
            </a:r>
            <a:r>
              <a:rPr lang="en-US" sz="4000" b="0" strike="noStrike" spc="-157" err="1">
                <a:solidFill>
                  <a:srgbClr val="181818"/>
                </a:solidFill>
                <a:uFill>
                  <a:solidFill>
                    <a:srgbClr val="FFFFFF"/>
                  </a:solidFill>
                </a:uFill>
                <a:latin typeface="Ericsson Hilda Light"/>
              </a:rPr>
              <a:t>pixlar</a:t>
            </a:r>
            <a:endParaRPr lang="en-US" sz="4000" b="0" strike="noStrike" spc="-1">
              <a:solidFill>
                <a:srgbClr val="181818"/>
              </a:solidFill>
              <a:uFill>
                <a:solidFill>
                  <a:srgbClr val="FFFFFF"/>
                </a:solidFill>
              </a:uFill>
              <a:latin typeface="Ericsson Hilda"/>
            </a:endParaRPr>
          </a:p>
        </p:txBody>
      </p:sp>
      <p:sp>
        <p:nvSpPr>
          <p:cNvPr id="201" name="Rectangle 200">
            <a:extLst>
              <a:ext uri="{FF2B5EF4-FFF2-40B4-BE49-F238E27FC236}">
                <a16:creationId xmlns:a16="http://schemas.microsoft.com/office/drawing/2014/main" id="{3E4AEA8D-533C-45FE-BFFB-3E8133B8641B}"/>
              </a:ext>
            </a:extLst>
          </p:cNvPr>
          <p:cNvSpPr/>
          <p:nvPr/>
        </p:nvSpPr>
        <p:spPr>
          <a:xfrm>
            <a:off x="11277600" y="309217"/>
            <a:ext cx="649357" cy="592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05" name="TextBox 204">
            <a:extLst>
              <a:ext uri="{FF2B5EF4-FFF2-40B4-BE49-F238E27FC236}">
                <a16:creationId xmlns:a16="http://schemas.microsoft.com/office/drawing/2014/main" id="{94241CA3-2DBF-4167-8697-4666BB0545F0}"/>
              </a:ext>
            </a:extLst>
          </p:cNvPr>
          <p:cNvSpPr txBox="1"/>
          <p:nvPr/>
        </p:nvSpPr>
        <p:spPr>
          <a:xfrm>
            <a:off x="495720" y="1674360"/>
            <a:ext cx="4557600" cy="2554545"/>
          </a:xfrm>
          <a:prstGeom prst="rect">
            <a:avLst/>
          </a:prstGeom>
          <a:noFill/>
        </p:spPr>
        <p:txBody>
          <a:bodyPr wrap="square" lIns="91440" tIns="45720" rIns="91440" bIns="45720" rtlCol="0" anchor="t">
            <a:spAutoFit/>
          </a:bodyPr>
          <a:lstStyle/>
          <a:p>
            <a:pPr marL="635">
              <a:buClr>
                <a:srgbClr val="181818"/>
              </a:buClr>
            </a:pPr>
            <a:endParaRPr lang="sv-SE" sz="2000" spc="-1">
              <a:solidFill>
                <a:srgbClr val="181818"/>
              </a:solidFill>
              <a:uFill>
                <a:solidFill>
                  <a:srgbClr val="FFFFFF"/>
                </a:solidFill>
              </a:uFill>
              <a:latin typeface="Ericsson Hilda"/>
            </a:endParaRPr>
          </a:p>
          <a:p>
            <a:pPr marL="344170" indent="-343535">
              <a:lnSpc>
                <a:spcPct val="100000"/>
              </a:lnSpc>
              <a:buClr>
                <a:srgbClr val="181818"/>
              </a:buClr>
              <a:buFont typeface="Ericsson Hilda Light"/>
              <a:buChar char="—"/>
            </a:pPr>
            <a:r>
              <a:rPr lang="sv-SE" sz="2000" spc="-1">
                <a:solidFill>
                  <a:srgbClr val="000000"/>
                </a:solidFill>
                <a:uFill>
                  <a:solidFill>
                    <a:srgbClr val="FFFFFF"/>
                  </a:solidFill>
                </a:uFill>
                <a:latin typeface="Ericsson Hilda"/>
              </a:rPr>
              <a:t>Videominnet innehåller relevant diodinformation (färg, position)</a:t>
            </a:r>
            <a:endParaRPr lang="sv-SE"/>
          </a:p>
          <a:p>
            <a:pPr marL="344170" indent="-343535">
              <a:lnSpc>
                <a:spcPct val="100000"/>
              </a:lnSpc>
              <a:buClr>
                <a:srgbClr val="181818"/>
              </a:buClr>
              <a:buFont typeface="Ericsson Hilda Light"/>
              <a:buChar char="—"/>
            </a:pPr>
            <a:r>
              <a:rPr lang="en-US" sz="2000" spc="-1" err="1">
                <a:solidFill>
                  <a:srgbClr val="000000"/>
                </a:solidFill>
                <a:uFill>
                  <a:solidFill>
                    <a:srgbClr val="FFFFFF"/>
                  </a:solidFill>
                </a:uFill>
                <a:latin typeface="Ericsson Hilda"/>
              </a:rPr>
              <a:t>När</a:t>
            </a:r>
            <a:r>
              <a:rPr lang="en-US" sz="2000" spc="-1">
                <a:solidFill>
                  <a:srgbClr val="000000"/>
                </a:solidFill>
                <a:uFill>
                  <a:solidFill>
                    <a:srgbClr val="FFFFFF"/>
                  </a:solidFill>
                </a:uFill>
                <a:latin typeface="Ericsson Hilda"/>
              </a:rPr>
              <a:t> all relevant information </a:t>
            </a:r>
            <a:r>
              <a:rPr lang="en-US" sz="2000" spc="-1" err="1">
                <a:solidFill>
                  <a:srgbClr val="000000"/>
                </a:solidFill>
                <a:uFill>
                  <a:solidFill>
                    <a:srgbClr val="FFFFFF"/>
                  </a:solidFill>
                </a:uFill>
                <a:latin typeface="Ericsson Hilda"/>
              </a:rPr>
              <a:t>mottagits</a:t>
            </a:r>
            <a:r>
              <a:rPr lang="en-US" sz="2000" spc="-1">
                <a:solidFill>
                  <a:srgbClr val="000000"/>
                </a:solidFill>
                <a:uFill>
                  <a:solidFill>
                    <a:srgbClr val="FFFFFF"/>
                  </a:solidFill>
                </a:uFill>
                <a:latin typeface="Ericsson Hilda"/>
              </a:rPr>
              <a:t> </a:t>
            </a:r>
            <a:r>
              <a:rPr lang="en-US" sz="2000" spc="-1" err="1">
                <a:solidFill>
                  <a:srgbClr val="000000"/>
                </a:solidFill>
                <a:uFill>
                  <a:solidFill>
                    <a:srgbClr val="FFFFFF"/>
                  </a:solidFill>
                </a:uFill>
                <a:latin typeface="Ericsson Hilda"/>
              </a:rPr>
              <a:t>skickas</a:t>
            </a:r>
            <a:r>
              <a:rPr lang="en-US" sz="2000" spc="-1">
                <a:solidFill>
                  <a:srgbClr val="000000"/>
                </a:solidFill>
                <a:uFill>
                  <a:solidFill>
                    <a:srgbClr val="FFFFFF"/>
                  </a:solidFill>
                </a:uFill>
                <a:latin typeface="Ericsson Hilda"/>
              </a:rPr>
              <a:t> </a:t>
            </a:r>
            <a:r>
              <a:rPr lang="en-US" sz="2000" spc="-1" err="1">
                <a:solidFill>
                  <a:srgbClr val="000000"/>
                </a:solidFill>
                <a:uFill>
                  <a:solidFill>
                    <a:srgbClr val="FFFFFF"/>
                  </a:solidFill>
                </a:uFill>
                <a:latin typeface="Ericsson Hilda"/>
              </a:rPr>
              <a:t>informationen</a:t>
            </a:r>
            <a:r>
              <a:rPr lang="en-US" sz="2000" spc="-1">
                <a:solidFill>
                  <a:srgbClr val="000000"/>
                </a:solidFill>
                <a:uFill>
                  <a:solidFill>
                    <a:srgbClr val="FFFFFF"/>
                  </a:solidFill>
                </a:uFill>
                <a:latin typeface="Ericsson Hilda"/>
              </a:rPr>
              <a:t> </a:t>
            </a:r>
            <a:r>
              <a:rPr lang="en-US" sz="2000" spc="-1" err="1">
                <a:solidFill>
                  <a:srgbClr val="000000"/>
                </a:solidFill>
                <a:uFill>
                  <a:solidFill>
                    <a:srgbClr val="FFFFFF"/>
                  </a:solidFill>
                </a:uFill>
                <a:latin typeface="Ericsson Hilda"/>
              </a:rPr>
              <a:t>ut</a:t>
            </a:r>
            <a:r>
              <a:rPr lang="en-US" sz="2000" spc="-1">
                <a:solidFill>
                  <a:srgbClr val="000000"/>
                </a:solidFill>
                <a:uFill>
                  <a:solidFill>
                    <a:srgbClr val="FFFFFF"/>
                  </a:solidFill>
                </a:uFill>
                <a:latin typeface="Ericsson Hilda"/>
              </a:rPr>
              <a:t> till </a:t>
            </a:r>
            <a:r>
              <a:rPr lang="en-US" sz="2000" spc="-1" err="1">
                <a:solidFill>
                  <a:srgbClr val="000000"/>
                </a:solidFill>
                <a:uFill>
                  <a:solidFill>
                    <a:srgbClr val="FFFFFF"/>
                  </a:solidFill>
                </a:uFill>
                <a:latin typeface="Ericsson Hilda"/>
              </a:rPr>
              <a:t>skärmen</a:t>
            </a:r>
            <a:r>
              <a:rPr lang="en-US" sz="2000" spc="-1">
                <a:solidFill>
                  <a:srgbClr val="000000"/>
                </a:solidFill>
                <a:uFill>
                  <a:solidFill>
                    <a:srgbClr val="FFFFFF"/>
                  </a:solidFill>
                </a:uFill>
                <a:latin typeface="Ericsson Hilda"/>
              </a:rPr>
              <a:t> för </a:t>
            </a:r>
            <a:r>
              <a:rPr lang="en-US" sz="2000" spc="-1" err="1">
                <a:solidFill>
                  <a:srgbClr val="000000"/>
                </a:solidFill>
                <a:uFill>
                  <a:solidFill>
                    <a:srgbClr val="FFFFFF"/>
                  </a:solidFill>
                </a:uFill>
                <a:latin typeface="Ericsson Hilda"/>
              </a:rPr>
              <a:t>att</a:t>
            </a:r>
            <a:r>
              <a:rPr lang="en-US" sz="2000" spc="-1">
                <a:solidFill>
                  <a:srgbClr val="000000"/>
                </a:solidFill>
                <a:uFill>
                  <a:solidFill>
                    <a:srgbClr val="FFFFFF"/>
                  </a:solidFill>
                </a:uFill>
                <a:latin typeface="Ericsson Hilda"/>
              </a:rPr>
              <a:t> </a:t>
            </a:r>
            <a:r>
              <a:rPr lang="en-US" sz="2000" spc="-1" err="1">
                <a:solidFill>
                  <a:srgbClr val="000000"/>
                </a:solidFill>
                <a:uFill>
                  <a:solidFill>
                    <a:srgbClr val="FFFFFF"/>
                  </a:solidFill>
                </a:uFill>
                <a:latin typeface="Ericsson Hilda"/>
              </a:rPr>
              <a:t>tända</a:t>
            </a:r>
            <a:r>
              <a:rPr lang="en-US" sz="2000" spc="-1">
                <a:solidFill>
                  <a:srgbClr val="000000"/>
                </a:solidFill>
                <a:uFill>
                  <a:solidFill>
                    <a:srgbClr val="FFFFFF"/>
                  </a:solidFill>
                </a:uFill>
                <a:latin typeface="Ericsson Hilda"/>
              </a:rPr>
              <a:t> </a:t>
            </a:r>
            <a:r>
              <a:rPr lang="en-US" sz="2000" spc="-1" err="1">
                <a:solidFill>
                  <a:srgbClr val="000000"/>
                </a:solidFill>
                <a:uFill>
                  <a:solidFill>
                    <a:srgbClr val="FFFFFF"/>
                  </a:solidFill>
                </a:uFill>
                <a:latin typeface="Ericsson Hilda"/>
              </a:rPr>
              <a:t>en</a:t>
            </a:r>
            <a:r>
              <a:rPr lang="en-US" sz="2000" spc="-1">
                <a:solidFill>
                  <a:srgbClr val="000000"/>
                </a:solidFill>
                <a:uFill>
                  <a:solidFill>
                    <a:srgbClr val="FFFFFF"/>
                  </a:solidFill>
                </a:uFill>
                <a:latin typeface="Ericsson Hilda"/>
              </a:rPr>
              <a:t> </a:t>
            </a:r>
            <a:r>
              <a:rPr lang="en-US" sz="2000" spc="-1" err="1">
                <a:solidFill>
                  <a:srgbClr val="000000"/>
                </a:solidFill>
                <a:uFill>
                  <a:solidFill>
                    <a:srgbClr val="FFFFFF"/>
                  </a:solidFill>
                </a:uFill>
                <a:latin typeface="Ericsson Hilda"/>
              </a:rPr>
              <a:t>eller</a:t>
            </a:r>
            <a:r>
              <a:rPr lang="en-US" sz="2000" spc="-1">
                <a:solidFill>
                  <a:srgbClr val="000000"/>
                </a:solidFill>
                <a:uFill>
                  <a:solidFill>
                    <a:srgbClr val="FFFFFF"/>
                  </a:solidFill>
                </a:uFill>
                <a:latin typeface="Ericsson Hilda"/>
              </a:rPr>
              <a:t> </a:t>
            </a:r>
            <a:r>
              <a:rPr lang="en-US" sz="2000" spc="-1" err="1">
                <a:solidFill>
                  <a:srgbClr val="000000"/>
                </a:solidFill>
                <a:uFill>
                  <a:solidFill>
                    <a:srgbClr val="FFFFFF"/>
                  </a:solidFill>
                </a:uFill>
                <a:latin typeface="Ericsson Hilda"/>
              </a:rPr>
              <a:t>flera</a:t>
            </a:r>
            <a:r>
              <a:rPr lang="en-US" sz="2000" spc="-1">
                <a:solidFill>
                  <a:srgbClr val="000000"/>
                </a:solidFill>
                <a:uFill>
                  <a:solidFill>
                    <a:srgbClr val="FFFFFF"/>
                  </a:solidFill>
                </a:uFill>
                <a:latin typeface="Ericsson Hilda"/>
              </a:rPr>
              <a:t> </a:t>
            </a:r>
            <a:r>
              <a:rPr lang="en-US" sz="2000" spc="-1" err="1">
                <a:solidFill>
                  <a:srgbClr val="000000"/>
                </a:solidFill>
                <a:uFill>
                  <a:solidFill>
                    <a:srgbClr val="FFFFFF"/>
                  </a:solidFill>
                </a:uFill>
                <a:latin typeface="Ericsson Hilda"/>
              </a:rPr>
              <a:t>dioder</a:t>
            </a:r>
            <a:endParaRPr lang="en-US" sz="2000" spc="-1">
              <a:solidFill>
                <a:srgbClr val="000000"/>
              </a:solidFill>
              <a:uFill>
                <a:solidFill>
                  <a:srgbClr val="FFFFFF"/>
                </a:solidFill>
              </a:uFill>
              <a:latin typeface="Ericsson Hilda"/>
            </a:endParaRPr>
          </a:p>
          <a:p>
            <a:pPr marL="344170" indent="-343535">
              <a:lnSpc>
                <a:spcPct val="100000"/>
              </a:lnSpc>
              <a:buClr>
                <a:srgbClr val="181818"/>
              </a:buClr>
              <a:buFont typeface="Ericsson Hilda Light"/>
              <a:buChar char="—"/>
            </a:pPr>
            <a:r>
              <a:rPr lang="en-US" sz="2000" spc="-1" err="1">
                <a:solidFill>
                  <a:srgbClr val="000000"/>
                </a:solidFill>
                <a:uFill>
                  <a:solidFill>
                    <a:srgbClr val="FFFFFF"/>
                  </a:solidFill>
                </a:uFill>
                <a:latin typeface="Ericsson Hilda"/>
              </a:rPr>
              <a:t>Iterationer</a:t>
            </a:r>
            <a:r>
              <a:rPr lang="en-US" sz="2000" spc="-1">
                <a:solidFill>
                  <a:srgbClr val="000000"/>
                </a:solidFill>
                <a:uFill>
                  <a:solidFill>
                    <a:srgbClr val="FFFFFF"/>
                  </a:solidFill>
                </a:uFill>
                <a:latin typeface="Ericsson Hilda"/>
              </a:rPr>
              <a:t> </a:t>
            </a:r>
            <a:r>
              <a:rPr lang="en-US" sz="2000" spc="-1" err="1">
                <a:solidFill>
                  <a:srgbClr val="000000"/>
                </a:solidFill>
                <a:uFill>
                  <a:solidFill>
                    <a:srgbClr val="FFFFFF"/>
                  </a:solidFill>
                </a:uFill>
                <a:latin typeface="Ericsson Hilda"/>
              </a:rPr>
              <a:t>skapar</a:t>
            </a:r>
            <a:r>
              <a:rPr lang="en-US" sz="2000" spc="-1">
                <a:solidFill>
                  <a:srgbClr val="000000"/>
                </a:solidFill>
                <a:uFill>
                  <a:solidFill>
                    <a:srgbClr val="FFFFFF"/>
                  </a:solidFill>
                </a:uFill>
                <a:latin typeface="Ericsson Hilda"/>
              </a:rPr>
              <a:t> </a:t>
            </a:r>
            <a:r>
              <a:rPr lang="en-US" sz="2000" spc="-1" err="1">
                <a:solidFill>
                  <a:srgbClr val="000000"/>
                </a:solidFill>
                <a:uFill>
                  <a:solidFill>
                    <a:srgbClr val="FFFFFF"/>
                  </a:solidFill>
                </a:uFill>
                <a:latin typeface="Ericsson Hilda"/>
              </a:rPr>
              <a:t>sekvenser</a:t>
            </a:r>
            <a:endParaRPr lang="sv-SE" sz="2000" spc="-1">
              <a:solidFill>
                <a:srgbClr val="000000"/>
              </a:solidFill>
              <a:uFill>
                <a:solidFill>
                  <a:srgbClr val="FFFFFF"/>
                </a:solidFill>
              </a:uFill>
              <a:latin typeface="Ericsson Hilda"/>
            </a:endParaRPr>
          </a:p>
        </p:txBody>
      </p:sp>
      <p:grpSp>
        <p:nvGrpSpPr>
          <p:cNvPr id="15" name="Group 14">
            <a:extLst>
              <a:ext uri="{FF2B5EF4-FFF2-40B4-BE49-F238E27FC236}">
                <a16:creationId xmlns:a16="http://schemas.microsoft.com/office/drawing/2014/main" id="{DA9A4902-F8B9-426B-ADCF-5A7F13F20441}"/>
              </a:ext>
            </a:extLst>
          </p:cNvPr>
          <p:cNvGrpSpPr/>
          <p:nvPr/>
        </p:nvGrpSpPr>
        <p:grpSpPr>
          <a:xfrm>
            <a:off x="6541213" y="4584181"/>
            <a:ext cx="4690612" cy="1389899"/>
            <a:chOff x="2232000" y="4464000"/>
            <a:chExt cx="7112160" cy="2107440"/>
          </a:xfrm>
        </p:grpSpPr>
        <p:sp>
          <p:nvSpPr>
            <p:cNvPr id="16" name="CustomShape 4">
              <a:extLst>
                <a:ext uri="{FF2B5EF4-FFF2-40B4-BE49-F238E27FC236}">
                  <a16:creationId xmlns:a16="http://schemas.microsoft.com/office/drawing/2014/main" id="{D7D0262C-C411-4DF7-B539-C3DAB13D592D}"/>
                </a:ext>
              </a:extLst>
            </p:cNvPr>
            <p:cNvSpPr/>
            <p:nvPr/>
          </p:nvSpPr>
          <p:spPr>
            <a:xfrm>
              <a:off x="2232000" y="4464000"/>
              <a:ext cx="2370600" cy="210744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17" name="CustomShape 5">
              <a:extLst>
                <a:ext uri="{FF2B5EF4-FFF2-40B4-BE49-F238E27FC236}">
                  <a16:creationId xmlns:a16="http://schemas.microsoft.com/office/drawing/2014/main" id="{AF81D624-3698-41C8-89EE-DEB2F632F7FF}"/>
                </a:ext>
              </a:extLst>
            </p:cNvPr>
            <p:cNvSpPr/>
            <p:nvPr/>
          </p:nvSpPr>
          <p:spPr>
            <a:xfrm>
              <a:off x="231480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 name="CustomShape 6">
              <a:extLst>
                <a:ext uri="{FF2B5EF4-FFF2-40B4-BE49-F238E27FC236}">
                  <a16:creationId xmlns:a16="http://schemas.microsoft.com/office/drawing/2014/main" id="{742C9A06-A4C4-46A4-A599-9810C0C490AC}"/>
                </a:ext>
              </a:extLst>
            </p:cNvPr>
            <p:cNvSpPr/>
            <p:nvPr/>
          </p:nvSpPr>
          <p:spPr>
            <a:xfrm>
              <a:off x="2559240" y="4497480"/>
              <a:ext cx="234720" cy="21600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 name="CustomShape 7">
              <a:extLst>
                <a:ext uri="{FF2B5EF4-FFF2-40B4-BE49-F238E27FC236}">
                  <a16:creationId xmlns:a16="http://schemas.microsoft.com/office/drawing/2014/main" id="{984BA218-CFB0-4CA6-9BC6-7B49594EC919}"/>
                </a:ext>
              </a:extLst>
            </p:cNvPr>
            <p:cNvSpPr/>
            <p:nvPr/>
          </p:nvSpPr>
          <p:spPr>
            <a:xfrm>
              <a:off x="28875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20" name="CustomShape 8">
              <a:extLst>
                <a:ext uri="{FF2B5EF4-FFF2-40B4-BE49-F238E27FC236}">
                  <a16:creationId xmlns:a16="http://schemas.microsoft.com/office/drawing/2014/main" id="{B98F4B01-D9E5-48EA-84D9-179A0B66F749}"/>
                </a:ext>
              </a:extLst>
            </p:cNvPr>
            <p:cNvSpPr/>
            <p:nvPr/>
          </p:nvSpPr>
          <p:spPr>
            <a:xfrm>
              <a:off x="31737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21" name="CustomShape 9">
              <a:extLst>
                <a:ext uri="{FF2B5EF4-FFF2-40B4-BE49-F238E27FC236}">
                  <a16:creationId xmlns:a16="http://schemas.microsoft.com/office/drawing/2014/main" id="{25FED675-4BD2-4DD1-BA59-158F092A7D96}"/>
                </a:ext>
              </a:extLst>
            </p:cNvPr>
            <p:cNvSpPr/>
            <p:nvPr/>
          </p:nvSpPr>
          <p:spPr>
            <a:xfrm>
              <a:off x="34603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22" name="CustomShape 10">
              <a:extLst>
                <a:ext uri="{FF2B5EF4-FFF2-40B4-BE49-F238E27FC236}">
                  <a16:creationId xmlns:a16="http://schemas.microsoft.com/office/drawing/2014/main" id="{F123410B-4993-46C6-BF15-1144663956E5}"/>
                </a:ext>
              </a:extLst>
            </p:cNvPr>
            <p:cNvSpPr/>
            <p:nvPr/>
          </p:nvSpPr>
          <p:spPr>
            <a:xfrm>
              <a:off x="37465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23" name="CustomShape 11">
              <a:extLst>
                <a:ext uri="{FF2B5EF4-FFF2-40B4-BE49-F238E27FC236}">
                  <a16:creationId xmlns:a16="http://schemas.microsoft.com/office/drawing/2014/main" id="{3E4F838F-CC1A-4046-BB8D-1652C091E51C}"/>
                </a:ext>
              </a:extLst>
            </p:cNvPr>
            <p:cNvSpPr/>
            <p:nvPr/>
          </p:nvSpPr>
          <p:spPr>
            <a:xfrm>
              <a:off x="40330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24" name="CustomShape 12">
              <a:extLst>
                <a:ext uri="{FF2B5EF4-FFF2-40B4-BE49-F238E27FC236}">
                  <a16:creationId xmlns:a16="http://schemas.microsoft.com/office/drawing/2014/main" id="{8A9B8163-B5D5-407F-B11B-59CEDE986102}"/>
                </a:ext>
              </a:extLst>
            </p:cNvPr>
            <p:cNvSpPr/>
            <p:nvPr/>
          </p:nvSpPr>
          <p:spPr>
            <a:xfrm>
              <a:off x="43196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25" name="CustomShape 13">
              <a:extLst>
                <a:ext uri="{FF2B5EF4-FFF2-40B4-BE49-F238E27FC236}">
                  <a16:creationId xmlns:a16="http://schemas.microsoft.com/office/drawing/2014/main" id="{6776F26C-9E69-4904-B9CA-28D3ADBFC7C0}"/>
                </a:ext>
              </a:extLst>
            </p:cNvPr>
            <p:cNvSpPr/>
            <p:nvPr/>
          </p:nvSpPr>
          <p:spPr>
            <a:xfrm>
              <a:off x="23148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26" name="CustomShape 14">
              <a:extLst>
                <a:ext uri="{FF2B5EF4-FFF2-40B4-BE49-F238E27FC236}">
                  <a16:creationId xmlns:a16="http://schemas.microsoft.com/office/drawing/2014/main" id="{5DA68298-5693-4FEF-885F-5080F436470B}"/>
                </a:ext>
              </a:extLst>
            </p:cNvPr>
            <p:cNvSpPr/>
            <p:nvPr/>
          </p:nvSpPr>
          <p:spPr>
            <a:xfrm>
              <a:off x="26010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27" name="CustomShape 15">
              <a:extLst>
                <a:ext uri="{FF2B5EF4-FFF2-40B4-BE49-F238E27FC236}">
                  <a16:creationId xmlns:a16="http://schemas.microsoft.com/office/drawing/2014/main" id="{824FD57E-20EB-4606-800A-0722BBE5FEF7}"/>
                </a:ext>
              </a:extLst>
            </p:cNvPr>
            <p:cNvSpPr/>
            <p:nvPr/>
          </p:nvSpPr>
          <p:spPr>
            <a:xfrm>
              <a:off x="28875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28" name="CustomShape 16">
              <a:extLst>
                <a:ext uri="{FF2B5EF4-FFF2-40B4-BE49-F238E27FC236}">
                  <a16:creationId xmlns:a16="http://schemas.microsoft.com/office/drawing/2014/main" id="{8DA8B5C4-8A90-4F3E-88A3-592B614A70C9}"/>
                </a:ext>
              </a:extLst>
            </p:cNvPr>
            <p:cNvSpPr/>
            <p:nvPr/>
          </p:nvSpPr>
          <p:spPr>
            <a:xfrm>
              <a:off x="31737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29" name="CustomShape 17">
              <a:extLst>
                <a:ext uri="{FF2B5EF4-FFF2-40B4-BE49-F238E27FC236}">
                  <a16:creationId xmlns:a16="http://schemas.microsoft.com/office/drawing/2014/main" id="{FE4A5705-4151-4973-AD8A-04D447488713}"/>
                </a:ext>
              </a:extLst>
            </p:cNvPr>
            <p:cNvSpPr/>
            <p:nvPr/>
          </p:nvSpPr>
          <p:spPr>
            <a:xfrm>
              <a:off x="34603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30" name="CustomShape 18">
              <a:extLst>
                <a:ext uri="{FF2B5EF4-FFF2-40B4-BE49-F238E27FC236}">
                  <a16:creationId xmlns:a16="http://schemas.microsoft.com/office/drawing/2014/main" id="{7A0B8704-56A3-4474-8C3D-3D38DA989D48}"/>
                </a:ext>
              </a:extLst>
            </p:cNvPr>
            <p:cNvSpPr/>
            <p:nvPr/>
          </p:nvSpPr>
          <p:spPr>
            <a:xfrm>
              <a:off x="37465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31" name="CustomShape 19">
              <a:extLst>
                <a:ext uri="{FF2B5EF4-FFF2-40B4-BE49-F238E27FC236}">
                  <a16:creationId xmlns:a16="http://schemas.microsoft.com/office/drawing/2014/main" id="{83C190CF-EA39-423F-BA0E-1887B8D56FFA}"/>
                </a:ext>
              </a:extLst>
            </p:cNvPr>
            <p:cNvSpPr/>
            <p:nvPr/>
          </p:nvSpPr>
          <p:spPr>
            <a:xfrm>
              <a:off x="40330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32" name="CustomShape 20">
              <a:extLst>
                <a:ext uri="{FF2B5EF4-FFF2-40B4-BE49-F238E27FC236}">
                  <a16:creationId xmlns:a16="http://schemas.microsoft.com/office/drawing/2014/main" id="{F0FB6E78-211D-4214-95D9-F9DAB1881CFB}"/>
                </a:ext>
              </a:extLst>
            </p:cNvPr>
            <p:cNvSpPr/>
            <p:nvPr/>
          </p:nvSpPr>
          <p:spPr>
            <a:xfrm>
              <a:off x="43196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33" name="CustomShape 21">
              <a:extLst>
                <a:ext uri="{FF2B5EF4-FFF2-40B4-BE49-F238E27FC236}">
                  <a16:creationId xmlns:a16="http://schemas.microsoft.com/office/drawing/2014/main" id="{216B66CD-2FD9-48DE-981A-F414AF0CC041}"/>
                </a:ext>
              </a:extLst>
            </p:cNvPr>
            <p:cNvSpPr/>
            <p:nvPr/>
          </p:nvSpPr>
          <p:spPr>
            <a:xfrm>
              <a:off x="23148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34" name="CustomShape 22">
              <a:extLst>
                <a:ext uri="{FF2B5EF4-FFF2-40B4-BE49-F238E27FC236}">
                  <a16:creationId xmlns:a16="http://schemas.microsoft.com/office/drawing/2014/main" id="{191C604D-E7E7-4FCC-BF0A-9531F2A25FE7}"/>
                </a:ext>
              </a:extLst>
            </p:cNvPr>
            <p:cNvSpPr/>
            <p:nvPr/>
          </p:nvSpPr>
          <p:spPr>
            <a:xfrm>
              <a:off x="26010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35" name="CustomShape 23">
              <a:extLst>
                <a:ext uri="{FF2B5EF4-FFF2-40B4-BE49-F238E27FC236}">
                  <a16:creationId xmlns:a16="http://schemas.microsoft.com/office/drawing/2014/main" id="{7817EBFE-91E3-488C-BDF9-296E376892CE}"/>
                </a:ext>
              </a:extLst>
            </p:cNvPr>
            <p:cNvSpPr/>
            <p:nvPr/>
          </p:nvSpPr>
          <p:spPr>
            <a:xfrm>
              <a:off x="28875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36" name="CustomShape 24">
              <a:extLst>
                <a:ext uri="{FF2B5EF4-FFF2-40B4-BE49-F238E27FC236}">
                  <a16:creationId xmlns:a16="http://schemas.microsoft.com/office/drawing/2014/main" id="{D99FF0DF-40E3-4B4F-8289-FAA43E3CDEA2}"/>
                </a:ext>
              </a:extLst>
            </p:cNvPr>
            <p:cNvSpPr/>
            <p:nvPr/>
          </p:nvSpPr>
          <p:spPr>
            <a:xfrm>
              <a:off x="31737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37" name="CustomShape 25">
              <a:extLst>
                <a:ext uri="{FF2B5EF4-FFF2-40B4-BE49-F238E27FC236}">
                  <a16:creationId xmlns:a16="http://schemas.microsoft.com/office/drawing/2014/main" id="{D670D6D9-AEC9-44E1-93DA-D69ECAA8A176}"/>
                </a:ext>
              </a:extLst>
            </p:cNvPr>
            <p:cNvSpPr/>
            <p:nvPr/>
          </p:nvSpPr>
          <p:spPr>
            <a:xfrm>
              <a:off x="34603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38" name="CustomShape 26">
              <a:extLst>
                <a:ext uri="{FF2B5EF4-FFF2-40B4-BE49-F238E27FC236}">
                  <a16:creationId xmlns:a16="http://schemas.microsoft.com/office/drawing/2014/main" id="{81F68928-42EC-4C97-BE77-C8041EBF21CC}"/>
                </a:ext>
              </a:extLst>
            </p:cNvPr>
            <p:cNvSpPr/>
            <p:nvPr/>
          </p:nvSpPr>
          <p:spPr>
            <a:xfrm>
              <a:off x="37465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39" name="CustomShape 27">
              <a:extLst>
                <a:ext uri="{FF2B5EF4-FFF2-40B4-BE49-F238E27FC236}">
                  <a16:creationId xmlns:a16="http://schemas.microsoft.com/office/drawing/2014/main" id="{1D072F8F-1776-40C2-9190-FF8FC0AD7B8C}"/>
                </a:ext>
              </a:extLst>
            </p:cNvPr>
            <p:cNvSpPr/>
            <p:nvPr/>
          </p:nvSpPr>
          <p:spPr>
            <a:xfrm>
              <a:off x="40330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0" name="CustomShape 28">
              <a:extLst>
                <a:ext uri="{FF2B5EF4-FFF2-40B4-BE49-F238E27FC236}">
                  <a16:creationId xmlns:a16="http://schemas.microsoft.com/office/drawing/2014/main" id="{704BC450-DE9A-4724-BD3F-9D5667362D61}"/>
                </a:ext>
              </a:extLst>
            </p:cNvPr>
            <p:cNvSpPr/>
            <p:nvPr/>
          </p:nvSpPr>
          <p:spPr>
            <a:xfrm>
              <a:off x="43196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1" name="CustomShape 29">
              <a:extLst>
                <a:ext uri="{FF2B5EF4-FFF2-40B4-BE49-F238E27FC236}">
                  <a16:creationId xmlns:a16="http://schemas.microsoft.com/office/drawing/2014/main" id="{F2AD8065-17B3-4E9A-B98E-4E369C2859F9}"/>
                </a:ext>
              </a:extLst>
            </p:cNvPr>
            <p:cNvSpPr/>
            <p:nvPr/>
          </p:nvSpPr>
          <p:spPr>
            <a:xfrm>
              <a:off x="23148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2" name="CustomShape 30">
              <a:extLst>
                <a:ext uri="{FF2B5EF4-FFF2-40B4-BE49-F238E27FC236}">
                  <a16:creationId xmlns:a16="http://schemas.microsoft.com/office/drawing/2014/main" id="{C048F5E8-0357-4043-8DC3-02226A5237CB}"/>
                </a:ext>
              </a:extLst>
            </p:cNvPr>
            <p:cNvSpPr/>
            <p:nvPr/>
          </p:nvSpPr>
          <p:spPr>
            <a:xfrm>
              <a:off x="26010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3" name="CustomShape 31">
              <a:extLst>
                <a:ext uri="{FF2B5EF4-FFF2-40B4-BE49-F238E27FC236}">
                  <a16:creationId xmlns:a16="http://schemas.microsoft.com/office/drawing/2014/main" id="{895BB779-6155-44BB-8F29-0779564F8B27}"/>
                </a:ext>
              </a:extLst>
            </p:cNvPr>
            <p:cNvSpPr/>
            <p:nvPr/>
          </p:nvSpPr>
          <p:spPr>
            <a:xfrm>
              <a:off x="28875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4" name="CustomShape 32">
              <a:extLst>
                <a:ext uri="{FF2B5EF4-FFF2-40B4-BE49-F238E27FC236}">
                  <a16:creationId xmlns:a16="http://schemas.microsoft.com/office/drawing/2014/main" id="{06504D37-E54F-4397-9D32-B4F908616D0B}"/>
                </a:ext>
              </a:extLst>
            </p:cNvPr>
            <p:cNvSpPr/>
            <p:nvPr/>
          </p:nvSpPr>
          <p:spPr>
            <a:xfrm>
              <a:off x="31737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5" name="CustomShape 33">
              <a:extLst>
                <a:ext uri="{FF2B5EF4-FFF2-40B4-BE49-F238E27FC236}">
                  <a16:creationId xmlns:a16="http://schemas.microsoft.com/office/drawing/2014/main" id="{E770D44D-D09D-4E1E-BA19-3C6719C18EFC}"/>
                </a:ext>
              </a:extLst>
            </p:cNvPr>
            <p:cNvSpPr/>
            <p:nvPr/>
          </p:nvSpPr>
          <p:spPr>
            <a:xfrm>
              <a:off x="34603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6" name="CustomShape 34">
              <a:extLst>
                <a:ext uri="{FF2B5EF4-FFF2-40B4-BE49-F238E27FC236}">
                  <a16:creationId xmlns:a16="http://schemas.microsoft.com/office/drawing/2014/main" id="{AC4D1C5B-A9B4-420A-A9C0-EEABC5FD6A69}"/>
                </a:ext>
              </a:extLst>
            </p:cNvPr>
            <p:cNvSpPr/>
            <p:nvPr/>
          </p:nvSpPr>
          <p:spPr>
            <a:xfrm>
              <a:off x="37465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7" name="CustomShape 35">
              <a:extLst>
                <a:ext uri="{FF2B5EF4-FFF2-40B4-BE49-F238E27FC236}">
                  <a16:creationId xmlns:a16="http://schemas.microsoft.com/office/drawing/2014/main" id="{8732AFE0-5DB3-4E6A-944F-20370970CEC9}"/>
                </a:ext>
              </a:extLst>
            </p:cNvPr>
            <p:cNvSpPr/>
            <p:nvPr/>
          </p:nvSpPr>
          <p:spPr>
            <a:xfrm>
              <a:off x="40330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8" name="CustomShape 36">
              <a:extLst>
                <a:ext uri="{FF2B5EF4-FFF2-40B4-BE49-F238E27FC236}">
                  <a16:creationId xmlns:a16="http://schemas.microsoft.com/office/drawing/2014/main" id="{0CD33ED4-B419-4E01-AC43-7B10DAE34E0F}"/>
                </a:ext>
              </a:extLst>
            </p:cNvPr>
            <p:cNvSpPr/>
            <p:nvPr/>
          </p:nvSpPr>
          <p:spPr>
            <a:xfrm>
              <a:off x="43196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49" name="CustomShape 37">
              <a:extLst>
                <a:ext uri="{FF2B5EF4-FFF2-40B4-BE49-F238E27FC236}">
                  <a16:creationId xmlns:a16="http://schemas.microsoft.com/office/drawing/2014/main" id="{1344D2D6-EC49-4D62-9F72-A87AB13903EB}"/>
                </a:ext>
              </a:extLst>
            </p:cNvPr>
            <p:cNvSpPr/>
            <p:nvPr/>
          </p:nvSpPr>
          <p:spPr>
            <a:xfrm>
              <a:off x="23148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0" name="CustomShape 38">
              <a:extLst>
                <a:ext uri="{FF2B5EF4-FFF2-40B4-BE49-F238E27FC236}">
                  <a16:creationId xmlns:a16="http://schemas.microsoft.com/office/drawing/2014/main" id="{EC89C37A-46D6-4C6C-96F0-75F10A13151D}"/>
                </a:ext>
              </a:extLst>
            </p:cNvPr>
            <p:cNvSpPr/>
            <p:nvPr/>
          </p:nvSpPr>
          <p:spPr>
            <a:xfrm>
              <a:off x="26010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1" name="CustomShape 39">
              <a:extLst>
                <a:ext uri="{FF2B5EF4-FFF2-40B4-BE49-F238E27FC236}">
                  <a16:creationId xmlns:a16="http://schemas.microsoft.com/office/drawing/2014/main" id="{365316CE-7DE2-4877-8D60-4993FCCA9AC8}"/>
                </a:ext>
              </a:extLst>
            </p:cNvPr>
            <p:cNvSpPr/>
            <p:nvPr/>
          </p:nvSpPr>
          <p:spPr>
            <a:xfrm>
              <a:off x="28875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2" name="CustomShape 40">
              <a:extLst>
                <a:ext uri="{FF2B5EF4-FFF2-40B4-BE49-F238E27FC236}">
                  <a16:creationId xmlns:a16="http://schemas.microsoft.com/office/drawing/2014/main" id="{5365165C-0176-4F2A-92CC-6F61D56447C6}"/>
                </a:ext>
              </a:extLst>
            </p:cNvPr>
            <p:cNvSpPr/>
            <p:nvPr/>
          </p:nvSpPr>
          <p:spPr>
            <a:xfrm>
              <a:off x="31737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3" name="CustomShape 41">
              <a:extLst>
                <a:ext uri="{FF2B5EF4-FFF2-40B4-BE49-F238E27FC236}">
                  <a16:creationId xmlns:a16="http://schemas.microsoft.com/office/drawing/2014/main" id="{80E2D206-E255-41F0-8DDB-DA0C38B8B399}"/>
                </a:ext>
              </a:extLst>
            </p:cNvPr>
            <p:cNvSpPr/>
            <p:nvPr/>
          </p:nvSpPr>
          <p:spPr>
            <a:xfrm>
              <a:off x="34603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4" name="CustomShape 42">
              <a:extLst>
                <a:ext uri="{FF2B5EF4-FFF2-40B4-BE49-F238E27FC236}">
                  <a16:creationId xmlns:a16="http://schemas.microsoft.com/office/drawing/2014/main" id="{B17B63B7-7561-4BF4-8E46-C7C78FE097F5}"/>
                </a:ext>
              </a:extLst>
            </p:cNvPr>
            <p:cNvSpPr/>
            <p:nvPr/>
          </p:nvSpPr>
          <p:spPr>
            <a:xfrm>
              <a:off x="37465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5" name="CustomShape 43">
              <a:extLst>
                <a:ext uri="{FF2B5EF4-FFF2-40B4-BE49-F238E27FC236}">
                  <a16:creationId xmlns:a16="http://schemas.microsoft.com/office/drawing/2014/main" id="{5BD691D2-432D-4794-A5E0-7A71E67E319A}"/>
                </a:ext>
              </a:extLst>
            </p:cNvPr>
            <p:cNvSpPr/>
            <p:nvPr/>
          </p:nvSpPr>
          <p:spPr>
            <a:xfrm>
              <a:off x="40330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6" name="CustomShape 44">
              <a:extLst>
                <a:ext uri="{FF2B5EF4-FFF2-40B4-BE49-F238E27FC236}">
                  <a16:creationId xmlns:a16="http://schemas.microsoft.com/office/drawing/2014/main" id="{FF1D570D-0946-4EFF-9E52-C63D13FA636F}"/>
                </a:ext>
              </a:extLst>
            </p:cNvPr>
            <p:cNvSpPr/>
            <p:nvPr/>
          </p:nvSpPr>
          <p:spPr>
            <a:xfrm>
              <a:off x="43196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7" name="CustomShape 45">
              <a:extLst>
                <a:ext uri="{FF2B5EF4-FFF2-40B4-BE49-F238E27FC236}">
                  <a16:creationId xmlns:a16="http://schemas.microsoft.com/office/drawing/2014/main" id="{280AA84C-5982-4B11-BD44-AA48FFB85860}"/>
                </a:ext>
              </a:extLst>
            </p:cNvPr>
            <p:cNvSpPr/>
            <p:nvPr/>
          </p:nvSpPr>
          <p:spPr>
            <a:xfrm>
              <a:off x="231480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8" name="CustomShape 46">
              <a:extLst>
                <a:ext uri="{FF2B5EF4-FFF2-40B4-BE49-F238E27FC236}">
                  <a16:creationId xmlns:a16="http://schemas.microsoft.com/office/drawing/2014/main" id="{8E2BF414-A6A3-4452-B3E1-F89B5FB88E07}"/>
                </a:ext>
              </a:extLst>
            </p:cNvPr>
            <p:cNvSpPr/>
            <p:nvPr/>
          </p:nvSpPr>
          <p:spPr>
            <a:xfrm>
              <a:off x="260100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9" name="CustomShape 47">
              <a:extLst>
                <a:ext uri="{FF2B5EF4-FFF2-40B4-BE49-F238E27FC236}">
                  <a16:creationId xmlns:a16="http://schemas.microsoft.com/office/drawing/2014/main" id="{875CDD71-0DE0-414F-8742-810D8A9E19FB}"/>
                </a:ext>
              </a:extLst>
            </p:cNvPr>
            <p:cNvSpPr/>
            <p:nvPr/>
          </p:nvSpPr>
          <p:spPr>
            <a:xfrm>
              <a:off x="288756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0" name="CustomShape 48">
              <a:extLst>
                <a:ext uri="{FF2B5EF4-FFF2-40B4-BE49-F238E27FC236}">
                  <a16:creationId xmlns:a16="http://schemas.microsoft.com/office/drawing/2014/main" id="{11EC4156-DDDD-4B26-A61B-C3744CD6A682}"/>
                </a:ext>
              </a:extLst>
            </p:cNvPr>
            <p:cNvSpPr/>
            <p:nvPr/>
          </p:nvSpPr>
          <p:spPr>
            <a:xfrm>
              <a:off x="317376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1" name="CustomShape 49">
              <a:extLst>
                <a:ext uri="{FF2B5EF4-FFF2-40B4-BE49-F238E27FC236}">
                  <a16:creationId xmlns:a16="http://schemas.microsoft.com/office/drawing/2014/main" id="{FB548665-E081-4BAB-AA46-B760C5B7913F}"/>
                </a:ext>
              </a:extLst>
            </p:cNvPr>
            <p:cNvSpPr/>
            <p:nvPr/>
          </p:nvSpPr>
          <p:spPr>
            <a:xfrm>
              <a:off x="34603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2" name="CustomShape 50">
              <a:extLst>
                <a:ext uri="{FF2B5EF4-FFF2-40B4-BE49-F238E27FC236}">
                  <a16:creationId xmlns:a16="http://schemas.microsoft.com/office/drawing/2014/main" id="{3669FE2C-3CF3-4C66-86FD-62EEF9BCEB4F}"/>
                </a:ext>
              </a:extLst>
            </p:cNvPr>
            <p:cNvSpPr/>
            <p:nvPr/>
          </p:nvSpPr>
          <p:spPr>
            <a:xfrm>
              <a:off x="37465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3" name="CustomShape 51">
              <a:extLst>
                <a:ext uri="{FF2B5EF4-FFF2-40B4-BE49-F238E27FC236}">
                  <a16:creationId xmlns:a16="http://schemas.microsoft.com/office/drawing/2014/main" id="{840EDDBA-B242-4FCC-8EA3-1E5ABCC33F77}"/>
                </a:ext>
              </a:extLst>
            </p:cNvPr>
            <p:cNvSpPr/>
            <p:nvPr/>
          </p:nvSpPr>
          <p:spPr>
            <a:xfrm>
              <a:off x="40330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4" name="CustomShape 52">
              <a:extLst>
                <a:ext uri="{FF2B5EF4-FFF2-40B4-BE49-F238E27FC236}">
                  <a16:creationId xmlns:a16="http://schemas.microsoft.com/office/drawing/2014/main" id="{835DE94F-0494-4CA4-8392-483F8DEFDAD1}"/>
                </a:ext>
              </a:extLst>
            </p:cNvPr>
            <p:cNvSpPr/>
            <p:nvPr/>
          </p:nvSpPr>
          <p:spPr>
            <a:xfrm>
              <a:off x="43196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5" name="CustomShape 53">
              <a:extLst>
                <a:ext uri="{FF2B5EF4-FFF2-40B4-BE49-F238E27FC236}">
                  <a16:creationId xmlns:a16="http://schemas.microsoft.com/office/drawing/2014/main" id="{F41593F9-1236-4AAF-BC43-024952947910}"/>
                </a:ext>
              </a:extLst>
            </p:cNvPr>
            <p:cNvSpPr/>
            <p:nvPr/>
          </p:nvSpPr>
          <p:spPr>
            <a:xfrm>
              <a:off x="231480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6" name="CustomShape 54">
              <a:extLst>
                <a:ext uri="{FF2B5EF4-FFF2-40B4-BE49-F238E27FC236}">
                  <a16:creationId xmlns:a16="http://schemas.microsoft.com/office/drawing/2014/main" id="{65D67CFB-8586-44CD-A5DD-A882DD5ACAA0}"/>
                </a:ext>
              </a:extLst>
            </p:cNvPr>
            <p:cNvSpPr/>
            <p:nvPr/>
          </p:nvSpPr>
          <p:spPr>
            <a:xfrm>
              <a:off x="260100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7" name="CustomShape 55">
              <a:extLst>
                <a:ext uri="{FF2B5EF4-FFF2-40B4-BE49-F238E27FC236}">
                  <a16:creationId xmlns:a16="http://schemas.microsoft.com/office/drawing/2014/main" id="{B1BF00EA-CEAF-4103-A0DE-C195DB50805C}"/>
                </a:ext>
              </a:extLst>
            </p:cNvPr>
            <p:cNvSpPr/>
            <p:nvPr/>
          </p:nvSpPr>
          <p:spPr>
            <a:xfrm>
              <a:off x="288756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8" name="CustomShape 56">
              <a:extLst>
                <a:ext uri="{FF2B5EF4-FFF2-40B4-BE49-F238E27FC236}">
                  <a16:creationId xmlns:a16="http://schemas.microsoft.com/office/drawing/2014/main" id="{FEB9FA58-6713-4F74-A3A9-4F8A004CBAE8}"/>
                </a:ext>
              </a:extLst>
            </p:cNvPr>
            <p:cNvSpPr/>
            <p:nvPr/>
          </p:nvSpPr>
          <p:spPr>
            <a:xfrm>
              <a:off x="317376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9" name="CustomShape 57">
              <a:extLst>
                <a:ext uri="{FF2B5EF4-FFF2-40B4-BE49-F238E27FC236}">
                  <a16:creationId xmlns:a16="http://schemas.microsoft.com/office/drawing/2014/main" id="{0215CD04-7568-4769-A01D-0FA8C7E4749C}"/>
                </a:ext>
              </a:extLst>
            </p:cNvPr>
            <p:cNvSpPr/>
            <p:nvPr/>
          </p:nvSpPr>
          <p:spPr>
            <a:xfrm>
              <a:off x="34603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0" name="CustomShape 58">
              <a:extLst>
                <a:ext uri="{FF2B5EF4-FFF2-40B4-BE49-F238E27FC236}">
                  <a16:creationId xmlns:a16="http://schemas.microsoft.com/office/drawing/2014/main" id="{CA08C368-147E-4132-B804-B226333EA076}"/>
                </a:ext>
              </a:extLst>
            </p:cNvPr>
            <p:cNvSpPr/>
            <p:nvPr/>
          </p:nvSpPr>
          <p:spPr>
            <a:xfrm>
              <a:off x="37465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1" name="CustomShape 59">
              <a:extLst>
                <a:ext uri="{FF2B5EF4-FFF2-40B4-BE49-F238E27FC236}">
                  <a16:creationId xmlns:a16="http://schemas.microsoft.com/office/drawing/2014/main" id="{A712C5A6-AA29-4384-A6F0-9813E2852266}"/>
                </a:ext>
              </a:extLst>
            </p:cNvPr>
            <p:cNvSpPr/>
            <p:nvPr/>
          </p:nvSpPr>
          <p:spPr>
            <a:xfrm>
              <a:off x="40330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2" name="CustomShape 60">
              <a:extLst>
                <a:ext uri="{FF2B5EF4-FFF2-40B4-BE49-F238E27FC236}">
                  <a16:creationId xmlns:a16="http://schemas.microsoft.com/office/drawing/2014/main" id="{2807A2EC-16D1-4D18-BE80-7A1263CDA5FB}"/>
                </a:ext>
              </a:extLst>
            </p:cNvPr>
            <p:cNvSpPr/>
            <p:nvPr/>
          </p:nvSpPr>
          <p:spPr>
            <a:xfrm>
              <a:off x="43196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3" name="CustomShape 61">
              <a:extLst>
                <a:ext uri="{FF2B5EF4-FFF2-40B4-BE49-F238E27FC236}">
                  <a16:creationId xmlns:a16="http://schemas.microsoft.com/office/drawing/2014/main" id="{ECF570A2-96E6-4715-9D1B-440654CA57A6}"/>
                </a:ext>
              </a:extLst>
            </p:cNvPr>
            <p:cNvSpPr/>
            <p:nvPr/>
          </p:nvSpPr>
          <p:spPr>
            <a:xfrm>
              <a:off x="231480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4" name="CustomShape 62">
              <a:extLst>
                <a:ext uri="{FF2B5EF4-FFF2-40B4-BE49-F238E27FC236}">
                  <a16:creationId xmlns:a16="http://schemas.microsoft.com/office/drawing/2014/main" id="{72FCEBFB-86C0-481F-A9B0-E67A151FA569}"/>
                </a:ext>
              </a:extLst>
            </p:cNvPr>
            <p:cNvSpPr/>
            <p:nvPr/>
          </p:nvSpPr>
          <p:spPr>
            <a:xfrm>
              <a:off x="260100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5" name="CustomShape 63">
              <a:extLst>
                <a:ext uri="{FF2B5EF4-FFF2-40B4-BE49-F238E27FC236}">
                  <a16:creationId xmlns:a16="http://schemas.microsoft.com/office/drawing/2014/main" id="{B23CBE18-19AF-40C4-A38F-2C03E44C5C98}"/>
                </a:ext>
              </a:extLst>
            </p:cNvPr>
            <p:cNvSpPr/>
            <p:nvPr/>
          </p:nvSpPr>
          <p:spPr>
            <a:xfrm>
              <a:off x="288756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6" name="CustomShape 64">
              <a:extLst>
                <a:ext uri="{FF2B5EF4-FFF2-40B4-BE49-F238E27FC236}">
                  <a16:creationId xmlns:a16="http://schemas.microsoft.com/office/drawing/2014/main" id="{45FAFCDE-8DA0-424E-BDE6-F6DB50AF79A5}"/>
                </a:ext>
              </a:extLst>
            </p:cNvPr>
            <p:cNvSpPr/>
            <p:nvPr/>
          </p:nvSpPr>
          <p:spPr>
            <a:xfrm>
              <a:off x="317376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7" name="CustomShape 65">
              <a:extLst>
                <a:ext uri="{FF2B5EF4-FFF2-40B4-BE49-F238E27FC236}">
                  <a16:creationId xmlns:a16="http://schemas.microsoft.com/office/drawing/2014/main" id="{4E4A0C35-3FE0-4239-9822-1E503D9F8283}"/>
                </a:ext>
              </a:extLst>
            </p:cNvPr>
            <p:cNvSpPr/>
            <p:nvPr/>
          </p:nvSpPr>
          <p:spPr>
            <a:xfrm>
              <a:off x="346032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8" name="CustomShape 66">
              <a:extLst>
                <a:ext uri="{FF2B5EF4-FFF2-40B4-BE49-F238E27FC236}">
                  <a16:creationId xmlns:a16="http://schemas.microsoft.com/office/drawing/2014/main" id="{6D4D5873-5CEA-4B64-9E72-67834BB8895C}"/>
                </a:ext>
              </a:extLst>
            </p:cNvPr>
            <p:cNvSpPr/>
            <p:nvPr/>
          </p:nvSpPr>
          <p:spPr>
            <a:xfrm>
              <a:off x="374652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9" name="CustomShape 67">
              <a:extLst>
                <a:ext uri="{FF2B5EF4-FFF2-40B4-BE49-F238E27FC236}">
                  <a16:creationId xmlns:a16="http://schemas.microsoft.com/office/drawing/2014/main" id="{DD1BB5AD-8D84-48B6-9993-079A2052925C}"/>
                </a:ext>
              </a:extLst>
            </p:cNvPr>
            <p:cNvSpPr/>
            <p:nvPr/>
          </p:nvSpPr>
          <p:spPr>
            <a:xfrm>
              <a:off x="403308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0" name="CustomShape 68">
              <a:extLst>
                <a:ext uri="{FF2B5EF4-FFF2-40B4-BE49-F238E27FC236}">
                  <a16:creationId xmlns:a16="http://schemas.microsoft.com/office/drawing/2014/main" id="{A276D449-8A94-4A15-B340-3516FB335DB7}"/>
                </a:ext>
              </a:extLst>
            </p:cNvPr>
            <p:cNvSpPr/>
            <p:nvPr/>
          </p:nvSpPr>
          <p:spPr>
            <a:xfrm>
              <a:off x="431964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1" name="CustomShape 69">
              <a:extLst>
                <a:ext uri="{FF2B5EF4-FFF2-40B4-BE49-F238E27FC236}">
                  <a16:creationId xmlns:a16="http://schemas.microsoft.com/office/drawing/2014/main" id="{DAFA6F46-5A77-46AC-912A-ACE5AE1F7660}"/>
                </a:ext>
              </a:extLst>
            </p:cNvPr>
            <p:cNvSpPr/>
            <p:nvPr/>
          </p:nvSpPr>
          <p:spPr>
            <a:xfrm>
              <a:off x="4602960" y="4464000"/>
              <a:ext cx="2370600" cy="210744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82" name="CustomShape 70">
              <a:extLst>
                <a:ext uri="{FF2B5EF4-FFF2-40B4-BE49-F238E27FC236}">
                  <a16:creationId xmlns:a16="http://schemas.microsoft.com/office/drawing/2014/main" id="{0674B6E3-92A9-4259-B336-56B32083AB1E}"/>
                </a:ext>
              </a:extLst>
            </p:cNvPr>
            <p:cNvSpPr/>
            <p:nvPr/>
          </p:nvSpPr>
          <p:spPr>
            <a:xfrm>
              <a:off x="46857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txBody>
            <a:bodyPr/>
            <a:lstStyle/>
            <a:p>
              <a:endParaRPr lang="en-SE" sz="200">
                <a:latin typeface="Ericsson Hilda" panose="00000500000000000000" pitchFamily="2" charset="0"/>
              </a:endParaRPr>
            </a:p>
          </p:txBody>
        </p:sp>
        <p:sp>
          <p:nvSpPr>
            <p:cNvPr id="83" name="CustomShape 71">
              <a:extLst>
                <a:ext uri="{FF2B5EF4-FFF2-40B4-BE49-F238E27FC236}">
                  <a16:creationId xmlns:a16="http://schemas.microsoft.com/office/drawing/2014/main" id="{892E83FF-0402-4F4F-A08C-DCEA4223A092}"/>
                </a:ext>
              </a:extLst>
            </p:cNvPr>
            <p:cNvSpPr/>
            <p:nvPr/>
          </p:nvSpPr>
          <p:spPr>
            <a:xfrm>
              <a:off x="49723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4" name="CustomShape 72">
              <a:extLst>
                <a:ext uri="{FF2B5EF4-FFF2-40B4-BE49-F238E27FC236}">
                  <a16:creationId xmlns:a16="http://schemas.microsoft.com/office/drawing/2014/main" id="{06260332-F3E3-44C4-BBD7-5FEC121CF383}"/>
                </a:ext>
              </a:extLst>
            </p:cNvPr>
            <p:cNvSpPr/>
            <p:nvPr/>
          </p:nvSpPr>
          <p:spPr>
            <a:xfrm>
              <a:off x="52585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5" name="CustomShape 73">
              <a:extLst>
                <a:ext uri="{FF2B5EF4-FFF2-40B4-BE49-F238E27FC236}">
                  <a16:creationId xmlns:a16="http://schemas.microsoft.com/office/drawing/2014/main" id="{DDEE7275-0029-4956-83B7-5A0EB15F1F87}"/>
                </a:ext>
              </a:extLst>
            </p:cNvPr>
            <p:cNvSpPr/>
            <p:nvPr/>
          </p:nvSpPr>
          <p:spPr>
            <a:xfrm>
              <a:off x="55450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6" name="CustomShape 74">
              <a:extLst>
                <a:ext uri="{FF2B5EF4-FFF2-40B4-BE49-F238E27FC236}">
                  <a16:creationId xmlns:a16="http://schemas.microsoft.com/office/drawing/2014/main" id="{21FCFF0D-38E7-4CBD-A207-F3961B7FD48C}"/>
                </a:ext>
              </a:extLst>
            </p:cNvPr>
            <p:cNvSpPr/>
            <p:nvPr/>
          </p:nvSpPr>
          <p:spPr>
            <a:xfrm>
              <a:off x="58312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7" name="CustomShape 75">
              <a:extLst>
                <a:ext uri="{FF2B5EF4-FFF2-40B4-BE49-F238E27FC236}">
                  <a16:creationId xmlns:a16="http://schemas.microsoft.com/office/drawing/2014/main" id="{B271777D-07D2-4E1F-92D5-899AC93E9CED}"/>
                </a:ext>
              </a:extLst>
            </p:cNvPr>
            <p:cNvSpPr/>
            <p:nvPr/>
          </p:nvSpPr>
          <p:spPr>
            <a:xfrm>
              <a:off x="61178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8" name="CustomShape 76">
              <a:extLst>
                <a:ext uri="{FF2B5EF4-FFF2-40B4-BE49-F238E27FC236}">
                  <a16:creationId xmlns:a16="http://schemas.microsoft.com/office/drawing/2014/main" id="{D339361B-7B6F-4917-9B3F-0774F61D12A9}"/>
                </a:ext>
              </a:extLst>
            </p:cNvPr>
            <p:cNvSpPr/>
            <p:nvPr/>
          </p:nvSpPr>
          <p:spPr>
            <a:xfrm>
              <a:off x="64040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9" name="CustomShape 77">
              <a:extLst>
                <a:ext uri="{FF2B5EF4-FFF2-40B4-BE49-F238E27FC236}">
                  <a16:creationId xmlns:a16="http://schemas.microsoft.com/office/drawing/2014/main" id="{396B9AB1-0447-4B5B-B633-A5A2F6D88DFA}"/>
                </a:ext>
              </a:extLst>
            </p:cNvPr>
            <p:cNvSpPr/>
            <p:nvPr/>
          </p:nvSpPr>
          <p:spPr>
            <a:xfrm>
              <a:off x="669060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0" name="CustomShape 78">
              <a:extLst>
                <a:ext uri="{FF2B5EF4-FFF2-40B4-BE49-F238E27FC236}">
                  <a16:creationId xmlns:a16="http://schemas.microsoft.com/office/drawing/2014/main" id="{B859AC60-BF8B-40E6-9BB4-0BD02308D15A}"/>
                </a:ext>
              </a:extLst>
            </p:cNvPr>
            <p:cNvSpPr/>
            <p:nvPr/>
          </p:nvSpPr>
          <p:spPr>
            <a:xfrm>
              <a:off x="46857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1" name="CustomShape 79">
              <a:extLst>
                <a:ext uri="{FF2B5EF4-FFF2-40B4-BE49-F238E27FC236}">
                  <a16:creationId xmlns:a16="http://schemas.microsoft.com/office/drawing/2014/main" id="{71E4F9EE-438F-4A6B-8350-50DA1D3471F8}"/>
                </a:ext>
              </a:extLst>
            </p:cNvPr>
            <p:cNvSpPr/>
            <p:nvPr/>
          </p:nvSpPr>
          <p:spPr>
            <a:xfrm>
              <a:off x="49723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2" name="CustomShape 80">
              <a:extLst>
                <a:ext uri="{FF2B5EF4-FFF2-40B4-BE49-F238E27FC236}">
                  <a16:creationId xmlns:a16="http://schemas.microsoft.com/office/drawing/2014/main" id="{A7E72A58-7936-4F07-B370-CDB0BA97E8DD}"/>
                </a:ext>
              </a:extLst>
            </p:cNvPr>
            <p:cNvSpPr/>
            <p:nvPr/>
          </p:nvSpPr>
          <p:spPr>
            <a:xfrm>
              <a:off x="52585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3" name="CustomShape 81">
              <a:extLst>
                <a:ext uri="{FF2B5EF4-FFF2-40B4-BE49-F238E27FC236}">
                  <a16:creationId xmlns:a16="http://schemas.microsoft.com/office/drawing/2014/main" id="{3BF6234A-55D2-4FA2-8480-6BB264ED4D4D}"/>
                </a:ext>
              </a:extLst>
            </p:cNvPr>
            <p:cNvSpPr/>
            <p:nvPr/>
          </p:nvSpPr>
          <p:spPr>
            <a:xfrm>
              <a:off x="55450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4" name="CustomShape 82">
              <a:extLst>
                <a:ext uri="{FF2B5EF4-FFF2-40B4-BE49-F238E27FC236}">
                  <a16:creationId xmlns:a16="http://schemas.microsoft.com/office/drawing/2014/main" id="{F835BCD7-DAC5-4A9D-A536-AB956F6B311C}"/>
                </a:ext>
              </a:extLst>
            </p:cNvPr>
            <p:cNvSpPr/>
            <p:nvPr/>
          </p:nvSpPr>
          <p:spPr>
            <a:xfrm>
              <a:off x="58312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5" name="CustomShape 83">
              <a:extLst>
                <a:ext uri="{FF2B5EF4-FFF2-40B4-BE49-F238E27FC236}">
                  <a16:creationId xmlns:a16="http://schemas.microsoft.com/office/drawing/2014/main" id="{732FBA32-8D30-494F-9357-439FF665B8C4}"/>
                </a:ext>
              </a:extLst>
            </p:cNvPr>
            <p:cNvSpPr/>
            <p:nvPr/>
          </p:nvSpPr>
          <p:spPr>
            <a:xfrm>
              <a:off x="61178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6" name="CustomShape 84">
              <a:extLst>
                <a:ext uri="{FF2B5EF4-FFF2-40B4-BE49-F238E27FC236}">
                  <a16:creationId xmlns:a16="http://schemas.microsoft.com/office/drawing/2014/main" id="{3F147647-0AB7-44C0-98A2-966DD9FFD38B}"/>
                </a:ext>
              </a:extLst>
            </p:cNvPr>
            <p:cNvSpPr/>
            <p:nvPr/>
          </p:nvSpPr>
          <p:spPr>
            <a:xfrm>
              <a:off x="64040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7" name="CustomShape 85">
              <a:extLst>
                <a:ext uri="{FF2B5EF4-FFF2-40B4-BE49-F238E27FC236}">
                  <a16:creationId xmlns:a16="http://schemas.microsoft.com/office/drawing/2014/main" id="{6D8FD087-D7EA-4DF3-8695-85A1ECB86B53}"/>
                </a:ext>
              </a:extLst>
            </p:cNvPr>
            <p:cNvSpPr/>
            <p:nvPr/>
          </p:nvSpPr>
          <p:spPr>
            <a:xfrm>
              <a:off x="66906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8" name="CustomShape 86">
              <a:extLst>
                <a:ext uri="{FF2B5EF4-FFF2-40B4-BE49-F238E27FC236}">
                  <a16:creationId xmlns:a16="http://schemas.microsoft.com/office/drawing/2014/main" id="{0F16189B-BD03-4B11-BE7F-D92D47EB7A6F}"/>
                </a:ext>
              </a:extLst>
            </p:cNvPr>
            <p:cNvSpPr/>
            <p:nvPr/>
          </p:nvSpPr>
          <p:spPr>
            <a:xfrm>
              <a:off x="4685760" y="5026680"/>
              <a:ext cx="192960" cy="19296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99" name="CustomShape 87">
              <a:extLst>
                <a:ext uri="{FF2B5EF4-FFF2-40B4-BE49-F238E27FC236}">
                  <a16:creationId xmlns:a16="http://schemas.microsoft.com/office/drawing/2014/main" id="{4E6952BF-6EC1-4A1E-911E-C7AB7E6A9235}"/>
                </a:ext>
              </a:extLst>
            </p:cNvPr>
            <p:cNvSpPr/>
            <p:nvPr/>
          </p:nvSpPr>
          <p:spPr>
            <a:xfrm>
              <a:off x="49723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0" name="CustomShape 88">
              <a:extLst>
                <a:ext uri="{FF2B5EF4-FFF2-40B4-BE49-F238E27FC236}">
                  <a16:creationId xmlns:a16="http://schemas.microsoft.com/office/drawing/2014/main" id="{56601D03-5128-4BD4-BF8A-486632F8EF4E}"/>
                </a:ext>
              </a:extLst>
            </p:cNvPr>
            <p:cNvSpPr/>
            <p:nvPr/>
          </p:nvSpPr>
          <p:spPr>
            <a:xfrm>
              <a:off x="52585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1" name="CustomShape 89">
              <a:extLst>
                <a:ext uri="{FF2B5EF4-FFF2-40B4-BE49-F238E27FC236}">
                  <a16:creationId xmlns:a16="http://schemas.microsoft.com/office/drawing/2014/main" id="{D25004B0-7AEE-47A3-81CA-2F051F427F9A}"/>
                </a:ext>
              </a:extLst>
            </p:cNvPr>
            <p:cNvSpPr/>
            <p:nvPr/>
          </p:nvSpPr>
          <p:spPr>
            <a:xfrm>
              <a:off x="55450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2" name="CustomShape 90">
              <a:extLst>
                <a:ext uri="{FF2B5EF4-FFF2-40B4-BE49-F238E27FC236}">
                  <a16:creationId xmlns:a16="http://schemas.microsoft.com/office/drawing/2014/main" id="{C1A8D1B5-C831-4C68-A176-FE61DB048DB0}"/>
                </a:ext>
              </a:extLst>
            </p:cNvPr>
            <p:cNvSpPr/>
            <p:nvPr/>
          </p:nvSpPr>
          <p:spPr>
            <a:xfrm>
              <a:off x="58312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3" name="CustomShape 91">
              <a:extLst>
                <a:ext uri="{FF2B5EF4-FFF2-40B4-BE49-F238E27FC236}">
                  <a16:creationId xmlns:a16="http://schemas.microsoft.com/office/drawing/2014/main" id="{9D0DFB4A-4465-4C1F-96F2-BB01044B4F71}"/>
                </a:ext>
              </a:extLst>
            </p:cNvPr>
            <p:cNvSpPr/>
            <p:nvPr/>
          </p:nvSpPr>
          <p:spPr>
            <a:xfrm>
              <a:off x="61178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4" name="CustomShape 92">
              <a:extLst>
                <a:ext uri="{FF2B5EF4-FFF2-40B4-BE49-F238E27FC236}">
                  <a16:creationId xmlns:a16="http://schemas.microsoft.com/office/drawing/2014/main" id="{8C93ABF7-7AAE-411D-A158-6920137A51A9}"/>
                </a:ext>
              </a:extLst>
            </p:cNvPr>
            <p:cNvSpPr/>
            <p:nvPr/>
          </p:nvSpPr>
          <p:spPr>
            <a:xfrm>
              <a:off x="64040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5" name="CustomShape 93">
              <a:extLst>
                <a:ext uri="{FF2B5EF4-FFF2-40B4-BE49-F238E27FC236}">
                  <a16:creationId xmlns:a16="http://schemas.microsoft.com/office/drawing/2014/main" id="{FB68F41E-9156-43DA-AE8C-432E5930D1C2}"/>
                </a:ext>
              </a:extLst>
            </p:cNvPr>
            <p:cNvSpPr/>
            <p:nvPr/>
          </p:nvSpPr>
          <p:spPr>
            <a:xfrm>
              <a:off x="66906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6" name="CustomShape 94">
              <a:extLst>
                <a:ext uri="{FF2B5EF4-FFF2-40B4-BE49-F238E27FC236}">
                  <a16:creationId xmlns:a16="http://schemas.microsoft.com/office/drawing/2014/main" id="{3606B9A1-FCCE-4F65-890F-06824EB7744C}"/>
                </a:ext>
              </a:extLst>
            </p:cNvPr>
            <p:cNvSpPr/>
            <p:nvPr/>
          </p:nvSpPr>
          <p:spPr>
            <a:xfrm>
              <a:off x="46857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7" name="CustomShape 95">
              <a:extLst>
                <a:ext uri="{FF2B5EF4-FFF2-40B4-BE49-F238E27FC236}">
                  <a16:creationId xmlns:a16="http://schemas.microsoft.com/office/drawing/2014/main" id="{7B3E1F70-91DA-4E49-ADFA-2B5C4671EFA3}"/>
                </a:ext>
              </a:extLst>
            </p:cNvPr>
            <p:cNvSpPr/>
            <p:nvPr/>
          </p:nvSpPr>
          <p:spPr>
            <a:xfrm>
              <a:off x="49723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8" name="CustomShape 96">
              <a:extLst>
                <a:ext uri="{FF2B5EF4-FFF2-40B4-BE49-F238E27FC236}">
                  <a16:creationId xmlns:a16="http://schemas.microsoft.com/office/drawing/2014/main" id="{65137F22-928C-4981-9DB2-AC553E8F70BA}"/>
                </a:ext>
              </a:extLst>
            </p:cNvPr>
            <p:cNvSpPr/>
            <p:nvPr/>
          </p:nvSpPr>
          <p:spPr>
            <a:xfrm>
              <a:off x="52585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9" name="CustomShape 97">
              <a:extLst>
                <a:ext uri="{FF2B5EF4-FFF2-40B4-BE49-F238E27FC236}">
                  <a16:creationId xmlns:a16="http://schemas.microsoft.com/office/drawing/2014/main" id="{4F7A57C5-2ADD-421C-9C45-EEDAAFBD1F4C}"/>
                </a:ext>
              </a:extLst>
            </p:cNvPr>
            <p:cNvSpPr/>
            <p:nvPr/>
          </p:nvSpPr>
          <p:spPr>
            <a:xfrm>
              <a:off x="55450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10" name="CustomShape 98">
              <a:extLst>
                <a:ext uri="{FF2B5EF4-FFF2-40B4-BE49-F238E27FC236}">
                  <a16:creationId xmlns:a16="http://schemas.microsoft.com/office/drawing/2014/main" id="{7D818C4E-402E-4CD3-93D1-701F751F414A}"/>
                </a:ext>
              </a:extLst>
            </p:cNvPr>
            <p:cNvSpPr/>
            <p:nvPr/>
          </p:nvSpPr>
          <p:spPr>
            <a:xfrm>
              <a:off x="58312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11" name="CustomShape 99">
              <a:extLst>
                <a:ext uri="{FF2B5EF4-FFF2-40B4-BE49-F238E27FC236}">
                  <a16:creationId xmlns:a16="http://schemas.microsoft.com/office/drawing/2014/main" id="{3F1B6EFF-124D-4A17-B0BE-D5B44371D83A}"/>
                </a:ext>
              </a:extLst>
            </p:cNvPr>
            <p:cNvSpPr/>
            <p:nvPr/>
          </p:nvSpPr>
          <p:spPr>
            <a:xfrm>
              <a:off x="61178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12" name="CustomShape 100">
              <a:extLst>
                <a:ext uri="{FF2B5EF4-FFF2-40B4-BE49-F238E27FC236}">
                  <a16:creationId xmlns:a16="http://schemas.microsoft.com/office/drawing/2014/main" id="{E83F4428-C0B3-46D1-B71F-9C3B25D3F55D}"/>
                </a:ext>
              </a:extLst>
            </p:cNvPr>
            <p:cNvSpPr/>
            <p:nvPr/>
          </p:nvSpPr>
          <p:spPr>
            <a:xfrm>
              <a:off x="64040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13" name="CustomShape 101">
              <a:extLst>
                <a:ext uri="{FF2B5EF4-FFF2-40B4-BE49-F238E27FC236}">
                  <a16:creationId xmlns:a16="http://schemas.microsoft.com/office/drawing/2014/main" id="{D94BA503-CBCB-454D-8758-14C22CB3A220}"/>
                </a:ext>
              </a:extLst>
            </p:cNvPr>
            <p:cNvSpPr/>
            <p:nvPr/>
          </p:nvSpPr>
          <p:spPr>
            <a:xfrm>
              <a:off x="66906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14" name="CustomShape 102">
              <a:extLst>
                <a:ext uri="{FF2B5EF4-FFF2-40B4-BE49-F238E27FC236}">
                  <a16:creationId xmlns:a16="http://schemas.microsoft.com/office/drawing/2014/main" id="{186470A2-12AD-441B-82D7-8F35447440A8}"/>
                </a:ext>
              </a:extLst>
            </p:cNvPr>
            <p:cNvSpPr/>
            <p:nvPr/>
          </p:nvSpPr>
          <p:spPr>
            <a:xfrm>
              <a:off x="46857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15" name="CustomShape 103">
              <a:extLst>
                <a:ext uri="{FF2B5EF4-FFF2-40B4-BE49-F238E27FC236}">
                  <a16:creationId xmlns:a16="http://schemas.microsoft.com/office/drawing/2014/main" id="{24E0FBC5-181B-42F2-BF2F-6C25B8CCCB90}"/>
                </a:ext>
              </a:extLst>
            </p:cNvPr>
            <p:cNvSpPr/>
            <p:nvPr/>
          </p:nvSpPr>
          <p:spPr>
            <a:xfrm>
              <a:off x="49723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16" name="CustomShape 104">
              <a:extLst>
                <a:ext uri="{FF2B5EF4-FFF2-40B4-BE49-F238E27FC236}">
                  <a16:creationId xmlns:a16="http://schemas.microsoft.com/office/drawing/2014/main" id="{17DD07FD-0D4D-4084-83C6-392015A86292}"/>
                </a:ext>
              </a:extLst>
            </p:cNvPr>
            <p:cNvSpPr/>
            <p:nvPr/>
          </p:nvSpPr>
          <p:spPr>
            <a:xfrm>
              <a:off x="52585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17" name="CustomShape 105">
              <a:extLst>
                <a:ext uri="{FF2B5EF4-FFF2-40B4-BE49-F238E27FC236}">
                  <a16:creationId xmlns:a16="http://schemas.microsoft.com/office/drawing/2014/main" id="{157B3A75-A382-4B40-88E9-F612A86A92F0}"/>
                </a:ext>
              </a:extLst>
            </p:cNvPr>
            <p:cNvSpPr/>
            <p:nvPr/>
          </p:nvSpPr>
          <p:spPr>
            <a:xfrm>
              <a:off x="55450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18" name="CustomShape 106">
              <a:extLst>
                <a:ext uri="{FF2B5EF4-FFF2-40B4-BE49-F238E27FC236}">
                  <a16:creationId xmlns:a16="http://schemas.microsoft.com/office/drawing/2014/main" id="{C4AD55F5-5C43-46CB-AD07-B6748B967FA9}"/>
                </a:ext>
              </a:extLst>
            </p:cNvPr>
            <p:cNvSpPr/>
            <p:nvPr/>
          </p:nvSpPr>
          <p:spPr>
            <a:xfrm>
              <a:off x="58312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19" name="CustomShape 107">
              <a:extLst>
                <a:ext uri="{FF2B5EF4-FFF2-40B4-BE49-F238E27FC236}">
                  <a16:creationId xmlns:a16="http://schemas.microsoft.com/office/drawing/2014/main" id="{9E832DA9-C039-4006-BCAD-4437EE6F7382}"/>
                </a:ext>
              </a:extLst>
            </p:cNvPr>
            <p:cNvSpPr/>
            <p:nvPr/>
          </p:nvSpPr>
          <p:spPr>
            <a:xfrm>
              <a:off x="61178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20" name="CustomShape 108">
              <a:extLst>
                <a:ext uri="{FF2B5EF4-FFF2-40B4-BE49-F238E27FC236}">
                  <a16:creationId xmlns:a16="http://schemas.microsoft.com/office/drawing/2014/main" id="{4737681A-B3C5-459C-A8AA-6D1F8390937C}"/>
                </a:ext>
              </a:extLst>
            </p:cNvPr>
            <p:cNvSpPr/>
            <p:nvPr/>
          </p:nvSpPr>
          <p:spPr>
            <a:xfrm>
              <a:off x="64040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21" name="CustomShape 109">
              <a:extLst>
                <a:ext uri="{FF2B5EF4-FFF2-40B4-BE49-F238E27FC236}">
                  <a16:creationId xmlns:a16="http://schemas.microsoft.com/office/drawing/2014/main" id="{8A149674-4817-4F7F-9BF5-974445D0ADA1}"/>
                </a:ext>
              </a:extLst>
            </p:cNvPr>
            <p:cNvSpPr/>
            <p:nvPr/>
          </p:nvSpPr>
          <p:spPr>
            <a:xfrm>
              <a:off x="66906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22" name="CustomShape 110">
              <a:extLst>
                <a:ext uri="{FF2B5EF4-FFF2-40B4-BE49-F238E27FC236}">
                  <a16:creationId xmlns:a16="http://schemas.microsoft.com/office/drawing/2014/main" id="{97A27EF9-ADB1-48D3-AAA8-1354174C79A2}"/>
                </a:ext>
              </a:extLst>
            </p:cNvPr>
            <p:cNvSpPr/>
            <p:nvPr/>
          </p:nvSpPr>
          <p:spPr>
            <a:xfrm>
              <a:off x="468576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23" name="CustomShape 111">
              <a:extLst>
                <a:ext uri="{FF2B5EF4-FFF2-40B4-BE49-F238E27FC236}">
                  <a16:creationId xmlns:a16="http://schemas.microsoft.com/office/drawing/2014/main" id="{4D1884D7-95E5-4F1E-85CD-22222FE23E4F}"/>
                </a:ext>
              </a:extLst>
            </p:cNvPr>
            <p:cNvSpPr/>
            <p:nvPr/>
          </p:nvSpPr>
          <p:spPr>
            <a:xfrm>
              <a:off x="49723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24" name="CustomShape 112">
              <a:extLst>
                <a:ext uri="{FF2B5EF4-FFF2-40B4-BE49-F238E27FC236}">
                  <a16:creationId xmlns:a16="http://schemas.microsoft.com/office/drawing/2014/main" id="{058AC960-7703-4198-9DA9-DF1611AC1E93}"/>
                </a:ext>
              </a:extLst>
            </p:cNvPr>
            <p:cNvSpPr/>
            <p:nvPr/>
          </p:nvSpPr>
          <p:spPr>
            <a:xfrm>
              <a:off x="52585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25" name="CustomShape 113">
              <a:extLst>
                <a:ext uri="{FF2B5EF4-FFF2-40B4-BE49-F238E27FC236}">
                  <a16:creationId xmlns:a16="http://schemas.microsoft.com/office/drawing/2014/main" id="{EB2FF6FC-2633-4233-ABE5-74D5213AD045}"/>
                </a:ext>
              </a:extLst>
            </p:cNvPr>
            <p:cNvSpPr/>
            <p:nvPr/>
          </p:nvSpPr>
          <p:spPr>
            <a:xfrm>
              <a:off x="55450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26" name="CustomShape 114">
              <a:extLst>
                <a:ext uri="{FF2B5EF4-FFF2-40B4-BE49-F238E27FC236}">
                  <a16:creationId xmlns:a16="http://schemas.microsoft.com/office/drawing/2014/main" id="{DE85F13C-9954-41D7-A8D6-6F77BA1433DB}"/>
                </a:ext>
              </a:extLst>
            </p:cNvPr>
            <p:cNvSpPr/>
            <p:nvPr/>
          </p:nvSpPr>
          <p:spPr>
            <a:xfrm>
              <a:off x="58312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27" name="CustomShape 115">
              <a:extLst>
                <a:ext uri="{FF2B5EF4-FFF2-40B4-BE49-F238E27FC236}">
                  <a16:creationId xmlns:a16="http://schemas.microsoft.com/office/drawing/2014/main" id="{ABCB7117-D2A2-41B6-86EF-286F579A8FB9}"/>
                </a:ext>
              </a:extLst>
            </p:cNvPr>
            <p:cNvSpPr/>
            <p:nvPr/>
          </p:nvSpPr>
          <p:spPr>
            <a:xfrm>
              <a:off x="61178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28" name="CustomShape 116">
              <a:extLst>
                <a:ext uri="{FF2B5EF4-FFF2-40B4-BE49-F238E27FC236}">
                  <a16:creationId xmlns:a16="http://schemas.microsoft.com/office/drawing/2014/main" id="{78F2EFD6-37C9-4355-8A53-9DFCA515550E}"/>
                </a:ext>
              </a:extLst>
            </p:cNvPr>
            <p:cNvSpPr/>
            <p:nvPr/>
          </p:nvSpPr>
          <p:spPr>
            <a:xfrm>
              <a:off x="64040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29" name="CustomShape 117">
              <a:extLst>
                <a:ext uri="{FF2B5EF4-FFF2-40B4-BE49-F238E27FC236}">
                  <a16:creationId xmlns:a16="http://schemas.microsoft.com/office/drawing/2014/main" id="{FC1171F3-73C2-43A1-BB76-DA8D78447002}"/>
                </a:ext>
              </a:extLst>
            </p:cNvPr>
            <p:cNvSpPr/>
            <p:nvPr/>
          </p:nvSpPr>
          <p:spPr>
            <a:xfrm>
              <a:off x="669060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30" name="CustomShape 118">
              <a:extLst>
                <a:ext uri="{FF2B5EF4-FFF2-40B4-BE49-F238E27FC236}">
                  <a16:creationId xmlns:a16="http://schemas.microsoft.com/office/drawing/2014/main" id="{F1366CEB-AC2F-49AB-A093-C680CE85AA3C}"/>
                </a:ext>
              </a:extLst>
            </p:cNvPr>
            <p:cNvSpPr/>
            <p:nvPr/>
          </p:nvSpPr>
          <p:spPr>
            <a:xfrm>
              <a:off x="468576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31" name="CustomShape 119">
              <a:extLst>
                <a:ext uri="{FF2B5EF4-FFF2-40B4-BE49-F238E27FC236}">
                  <a16:creationId xmlns:a16="http://schemas.microsoft.com/office/drawing/2014/main" id="{C8D86342-979D-483C-AF6A-0BE8EB545107}"/>
                </a:ext>
              </a:extLst>
            </p:cNvPr>
            <p:cNvSpPr/>
            <p:nvPr/>
          </p:nvSpPr>
          <p:spPr>
            <a:xfrm>
              <a:off x="49723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32" name="CustomShape 120">
              <a:extLst>
                <a:ext uri="{FF2B5EF4-FFF2-40B4-BE49-F238E27FC236}">
                  <a16:creationId xmlns:a16="http://schemas.microsoft.com/office/drawing/2014/main" id="{E2A72AAF-DC1A-4019-915A-665185A62C4E}"/>
                </a:ext>
              </a:extLst>
            </p:cNvPr>
            <p:cNvSpPr/>
            <p:nvPr/>
          </p:nvSpPr>
          <p:spPr>
            <a:xfrm>
              <a:off x="52585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33" name="CustomShape 121">
              <a:extLst>
                <a:ext uri="{FF2B5EF4-FFF2-40B4-BE49-F238E27FC236}">
                  <a16:creationId xmlns:a16="http://schemas.microsoft.com/office/drawing/2014/main" id="{2C86471B-42CC-49FA-8084-E72FC2B83DF3}"/>
                </a:ext>
              </a:extLst>
            </p:cNvPr>
            <p:cNvSpPr/>
            <p:nvPr/>
          </p:nvSpPr>
          <p:spPr>
            <a:xfrm>
              <a:off x="55450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34" name="CustomShape 122">
              <a:extLst>
                <a:ext uri="{FF2B5EF4-FFF2-40B4-BE49-F238E27FC236}">
                  <a16:creationId xmlns:a16="http://schemas.microsoft.com/office/drawing/2014/main" id="{B6A30DC8-AE73-4214-8644-9B44288E5AC9}"/>
                </a:ext>
              </a:extLst>
            </p:cNvPr>
            <p:cNvSpPr/>
            <p:nvPr/>
          </p:nvSpPr>
          <p:spPr>
            <a:xfrm>
              <a:off x="58312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35" name="CustomShape 123">
              <a:extLst>
                <a:ext uri="{FF2B5EF4-FFF2-40B4-BE49-F238E27FC236}">
                  <a16:creationId xmlns:a16="http://schemas.microsoft.com/office/drawing/2014/main" id="{2663BAAE-BFEB-4CC3-A0A8-F09ACDF18CA4}"/>
                </a:ext>
              </a:extLst>
            </p:cNvPr>
            <p:cNvSpPr/>
            <p:nvPr/>
          </p:nvSpPr>
          <p:spPr>
            <a:xfrm>
              <a:off x="61178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36" name="CustomShape 124">
              <a:extLst>
                <a:ext uri="{FF2B5EF4-FFF2-40B4-BE49-F238E27FC236}">
                  <a16:creationId xmlns:a16="http://schemas.microsoft.com/office/drawing/2014/main" id="{C1D8CAA1-62B2-4BA6-88AA-26F0A4C1950F}"/>
                </a:ext>
              </a:extLst>
            </p:cNvPr>
            <p:cNvSpPr/>
            <p:nvPr/>
          </p:nvSpPr>
          <p:spPr>
            <a:xfrm>
              <a:off x="64040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37" name="CustomShape 125">
              <a:extLst>
                <a:ext uri="{FF2B5EF4-FFF2-40B4-BE49-F238E27FC236}">
                  <a16:creationId xmlns:a16="http://schemas.microsoft.com/office/drawing/2014/main" id="{AE6F72B4-BBDD-4549-ABDC-65F17DB63331}"/>
                </a:ext>
              </a:extLst>
            </p:cNvPr>
            <p:cNvSpPr/>
            <p:nvPr/>
          </p:nvSpPr>
          <p:spPr>
            <a:xfrm>
              <a:off x="669060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38" name="CustomShape 126">
              <a:extLst>
                <a:ext uri="{FF2B5EF4-FFF2-40B4-BE49-F238E27FC236}">
                  <a16:creationId xmlns:a16="http://schemas.microsoft.com/office/drawing/2014/main" id="{EBCECEFF-FF03-4D94-B938-13A41A5FA2B6}"/>
                </a:ext>
              </a:extLst>
            </p:cNvPr>
            <p:cNvSpPr/>
            <p:nvPr/>
          </p:nvSpPr>
          <p:spPr>
            <a:xfrm>
              <a:off x="468576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39" name="CustomShape 127">
              <a:extLst>
                <a:ext uri="{FF2B5EF4-FFF2-40B4-BE49-F238E27FC236}">
                  <a16:creationId xmlns:a16="http://schemas.microsoft.com/office/drawing/2014/main" id="{FFC47EDF-9613-4037-9C8F-9CFC372A1A19}"/>
                </a:ext>
              </a:extLst>
            </p:cNvPr>
            <p:cNvSpPr/>
            <p:nvPr/>
          </p:nvSpPr>
          <p:spPr>
            <a:xfrm>
              <a:off x="497232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40" name="CustomShape 128">
              <a:extLst>
                <a:ext uri="{FF2B5EF4-FFF2-40B4-BE49-F238E27FC236}">
                  <a16:creationId xmlns:a16="http://schemas.microsoft.com/office/drawing/2014/main" id="{339E35D0-A8FB-4182-BC5C-EF5012D9C08C}"/>
                </a:ext>
              </a:extLst>
            </p:cNvPr>
            <p:cNvSpPr/>
            <p:nvPr/>
          </p:nvSpPr>
          <p:spPr>
            <a:xfrm>
              <a:off x="525852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41" name="CustomShape 129">
              <a:extLst>
                <a:ext uri="{FF2B5EF4-FFF2-40B4-BE49-F238E27FC236}">
                  <a16:creationId xmlns:a16="http://schemas.microsoft.com/office/drawing/2014/main" id="{2CF799DF-8DE5-42C9-82F9-D24C3B9E5CE4}"/>
                </a:ext>
              </a:extLst>
            </p:cNvPr>
            <p:cNvSpPr/>
            <p:nvPr/>
          </p:nvSpPr>
          <p:spPr>
            <a:xfrm>
              <a:off x="554508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42" name="CustomShape 130">
              <a:extLst>
                <a:ext uri="{FF2B5EF4-FFF2-40B4-BE49-F238E27FC236}">
                  <a16:creationId xmlns:a16="http://schemas.microsoft.com/office/drawing/2014/main" id="{9BA4DBD8-8B88-4F83-AE73-C42C1D4132C8}"/>
                </a:ext>
              </a:extLst>
            </p:cNvPr>
            <p:cNvSpPr/>
            <p:nvPr/>
          </p:nvSpPr>
          <p:spPr>
            <a:xfrm>
              <a:off x="583128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43" name="CustomShape 131">
              <a:extLst>
                <a:ext uri="{FF2B5EF4-FFF2-40B4-BE49-F238E27FC236}">
                  <a16:creationId xmlns:a16="http://schemas.microsoft.com/office/drawing/2014/main" id="{57D6B239-F218-4449-8FC2-AFDDAB9250BB}"/>
                </a:ext>
              </a:extLst>
            </p:cNvPr>
            <p:cNvSpPr/>
            <p:nvPr/>
          </p:nvSpPr>
          <p:spPr>
            <a:xfrm>
              <a:off x="611784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44" name="CustomShape 132">
              <a:extLst>
                <a:ext uri="{FF2B5EF4-FFF2-40B4-BE49-F238E27FC236}">
                  <a16:creationId xmlns:a16="http://schemas.microsoft.com/office/drawing/2014/main" id="{55465009-1522-4AB4-A7EF-3DCEE67197E6}"/>
                </a:ext>
              </a:extLst>
            </p:cNvPr>
            <p:cNvSpPr/>
            <p:nvPr/>
          </p:nvSpPr>
          <p:spPr>
            <a:xfrm>
              <a:off x="640404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45" name="CustomShape 133">
              <a:extLst>
                <a:ext uri="{FF2B5EF4-FFF2-40B4-BE49-F238E27FC236}">
                  <a16:creationId xmlns:a16="http://schemas.microsoft.com/office/drawing/2014/main" id="{148D3078-68B3-4BE6-A8C7-1C685533CFF0}"/>
                </a:ext>
              </a:extLst>
            </p:cNvPr>
            <p:cNvSpPr/>
            <p:nvPr/>
          </p:nvSpPr>
          <p:spPr>
            <a:xfrm>
              <a:off x="669060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46" name="CustomShape 134">
              <a:extLst>
                <a:ext uri="{FF2B5EF4-FFF2-40B4-BE49-F238E27FC236}">
                  <a16:creationId xmlns:a16="http://schemas.microsoft.com/office/drawing/2014/main" id="{642C5713-BFE0-483C-8FE4-E939B8240599}"/>
                </a:ext>
              </a:extLst>
            </p:cNvPr>
            <p:cNvSpPr/>
            <p:nvPr/>
          </p:nvSpPr>
          <p:spPr>
            <a:xfrm>
              <a:off x="6973560" y="4464000"/>
              <a:ext cx="2370600" cy="210744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147" name="CustomShape 135">
              <a:extLst>
                <a:ext uri="{FF2B5EF4-FFF2-40B4-BE49-F238E27FC236}">
                  <a16:creationId xmlns:a16="http://schemas.microsoft.com/office/drawing/2014/main" id="{158A4565-41E1-4B15-9D2A-808557FF5855}"/>
                </a:ext>
              </a:extLst>
            </p:cNvPr>
            <p:cNvSpPr/>
            <p:nvPr/>
          </p:nvSpPr>
          <p:spPr>
            <a:xfrm>
              <a:off x="70567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48" name="CustomShape 136">
              <a:extLst>
                <a:ext uri="{FF2B5EF4-FFF2-40B4-BE49-F238E27FC236}">
                  <a16:creationId xmlns:a16="http://schemas.microsoft.com/office/drawing/2014/main" id="{EB6D860E-A596-4742-B4D3-582A7465B5A6}"/>
                </a:ext>
              </a:extLst>
            </p:cNvPr>
            <p:cNvSpPr/>
            <p:nvPr/>
          </p:nvSpPr>
          <p:spPr>
            <a:xfrm>
              <a:off x="73432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49" name="CustomShape 137">
              <a:extLst>
                <a:ext uri="{FF2B5EF4-FFF2-40B4-BE49-F238E27FC236}">
                  <a16:creationId xmlns:a16="http://schemas.microsoft.com/office/drawing/2014/main" id="{D07259E1-5853-41A1-BDB6-4C22085B9699}"/>
                </a:ext>
              </a:extLst>
            </p:cNvPr>
            <p:cNvSpPr/>
            <p:nvPr/>
          </p:nvSpPr>
          <p:spPr>
            <a:xfrm>
              <a:off x="76294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50" name="CustomShape 138">
              <a:extLst>
                <a:ext uri="{FF2B5EF4-FFF2-40B4-BE49-F238E27FC236}">
                  <a16:creationId xmlns:a16="http://schemas.microsoft.com/office/drawing/2014/main" id="{BC7D4B28-271F-4314-ABD3-CE57D3778BD8}"/>
                </a:ext>
              </a:extLst>
            </p:cNvPr>
            <p:cNvSpPr/>
            <p:nvPr/>
          </p:nvSpPr>
          <p:spPr>
            <a:xfrm>
              <a:off x="79160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51" name="CustomShape 139">
              <a:extLst>
                <a:ext uri="{FF2B5EF4-FFF2-40B4-BE49-F238E27FC236}">
                  <a16:creationId xmlns:a16="http://schemas.microsoft.com/office/drawing/2014/main" id="{3FFB89AE-C27A-45FB-9739-7BA83A6371F7}"/>
                </a:ext>
              </a:extLst>
            </p:cNvPr>
            <p:cNvSpPr/>
            <p:nvPr/>
          </p:nvSpPr>
          <p:spPr>
            <a:xfrm>
              <a:off x="82022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52" name="CustomShape 140">
              <a:extLst>
                <a:ext uri="{FF2B5EF4-FFF2-40B4-BE49-F238E27FC236}">
                  <a16:creationId xmlns:a16="http://schemas.microsoft.com/office/drawing/2014/main" id="{7A97B819-BCF7-487E-8E3C-4A6D43DD4990}"/>
                </a:ext>
              </a:extLst>
            </p:cNvPr>
            <p:cNvSpPr/>
            <p:nvPr/>
          </p:nvSpPr>
          <p:spPr>
            <a:xfrm>
              <a:off x="848880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53" name="CustomShape 141">
              <a:extLst>
                <a:ext uri="{FF2B5EF4-FFF2-40B4-BE49-F238E27FC236}">
                  <a16:creationId xmlns:a16="http://schemas.microsoft.com/office/drawing/2014/main" id="{B0CD4D81-F043-49D3-B290-560C3AD3653D}"/>
                </a:ext>
              </a:extLst>
            </p:cNvPr>
            <p:cNvSpPr/>
            <p:nvPr/>
          </p:nvSpPr>
          <p:spPr>
            <a:xfrm>
              <a:off x="87753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54" name="CustomShape 142">
              <a:extLst>
                <a:ext uri="{FF2B5EF4-FFF2-40B4-BE49-F238E27FC236}">
                  <a16:creationId xmlns:a16="http://schemas.microsoft.com/office/drawing/2014/main" id="{BF0199C3-5C79-419B-B19E-31CCDBC27CF1}"/>
                </a:ext>
              </a:extLst>
            </p:cNvPr>
            <p:cNvSpPr/>
            <p:nvPr/>
          </p:nvSpPr>
          <p:spPr>
            <a:xfrm>
              <a:off x="90615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55" name="CustomShape 143">
              <a:extLst>
                <a:ext uri="{FF2B5EF4-FFF2-40B4-BE49-F238E27FC236}">
                  <a16:creationId xmlns:a16="http://schemas.microsoft.com/office/drawing/2014/main" id="{CFE328E6-476C-400F-8114-8866FE714388}"/>
                </a:ext>
              </a:extLst>
            </p:cNvPr>
            <p:cNvSpPr/>
            <p:nvPr/>
          </p:nvSpPr>
          <p:spPr>
            <a:xfrm>
              <a:off x="70567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56" name="CustomShape 144">
              <a:extLst>
                <a:ext uri="{FF2B5EF4-FFF2-40B4-BE49-F238E27FC236}">
                  <a16:creationId xmlns:a16="http://schemas.microsoft.com/office/drawing/2014/main" id="{E8E02028-6B62-46C0-A8B9-B05210690342}"/>
                </a:ext>
              </a:extLst>
            </p:cNvPr>
            <p:cNvSpPr/>
            <p:nvPr/>
          </p:nvSpPr>
          <p:spPr>
            <a:xfrm>
              <a:off x="73432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57" name="CustomShape 145">
              <a:extLst>
                <a:ext uri="{FF2B5EF4-FFF2-40B4-BE49-F238E27FC236}">
                  <a16:creationId xmlns:a16="http://schemas.microsoft.com/office/drawing/2014/main" id="{06215816-0E7B-447B-812C-752647AB6A3A}"/>
                </a:ext>
              </a:extLst>
            </p:cNvPr>
            <p:cNvSpPr/>
            <p:nvPr/>
          </p:nvSpPr>
          <p:spPr>
            <a:xfrm>
              <a:off x="76294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58" name="CustomShape 146">
              <a:extLst>
                <a:ext uri="{FF2B5EF4-FFF2-40B4-BE49-F238E27FC236}">
                  <a16:creationId xmlns:a16="http://schemas.microsoft.com/office/drawing/2014/main" id="{89DC4CB0-292F-4313-81B7-049A125CCFB7}"/>
                </a:ext>
              </a:extLst>
            </p:cNvPr>
            <p:cNvSpPr/>
            <p:nvPr/>
          </p:nvSpPr>
          <p:spPr>
            <a:xfrm>
              <a:off x="79160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59" name="CustomShape 147">
              <a:extLst>
                <a:ext uri="{FF2B5EF4-FFF2-40B4-BE49-F238E27FC236}">
                  <a16:creationId xmlns:a16="http://schemas.microsoft.com/office/drawing/2014/main" id="{231AEAE5-6D87-42E1-BACB-D51BE6AFE809}"/>
                </a:ext>
              </a:extLst>
            </p:cNvPr>
            <p:cNvSpPr/>
            <p:nvPr/>
          </p:nvSpPr>
          <p:spPr>
            <a:xfrm>
              <a:off x="82022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60" name="CustomShape 148">
              <a:extLst>
                <a:ext uri="{FF2B5EF4-FFF2-40B4-BE49-F238E27FC236}">
                  <a16:creationId xmlns:a16="http://schemas.microsoft.com/office/drawing/2014/main" id="{C59BE633-3C3D-4B3D-9884-EF8A7D60A229}"/>
                </a:ext>
              </a:extLst>
            </p:cNvPr>
            <p:cNvSpPr/>
            <p:nvPr/>
          </p:nvSpPr>
          <p:spPr>
            <a:xfrm>
              <a:off x="84888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61" name="CustomShape 149">
              <a:extLst>
                <a:ext uri="{FF2B5EF4-FFF2-40B4-BE49-F238E27FC236}">
                  <a16:creationId xmlns:a16="http://schemas.microsoft.com/office/drawing/2014/main" id="{E8E8FCDE-76A6-41D6-887B-106F2015E968}"/>
                </a:ext>
              </a:extLst>
            </p:cNvPr>
            <p:cNvSpPr/>
            <p:nvPr/>
          </p:nvSpPr>
          <p:spPr>
            <a:xfrm>
              <a:off x="87753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62" name="CustomShape 150">
              <a:extLst>
                <a:ext uri="{FF2B5EF4-FFF2-40B4-BE49-F238E27FC236}">
                  <a16:creationId xmlns:a16="http://schemas.microsoft.com/office/drawing/2014/main" id="{159547A8-4066-4CD6-85F6-2BB3DC5E53D8}"/>
                </a:ext>
              </a:extLst>
            </p:cNvPr>
            <p:cNvSpPr/>
            <p:nvPr/>
          </p:nvSpPr>
          <p:spPr>
            <a:xfrm>
              <a:off x="90615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63" name="CustomShape 151">
              <a:extLst>
                <a:ext uri="{FF2B5EF4-FFF2-40B4-BE49-F238E27FC236}">
                  <a16:creationId xmlns:a16="http://schemas.microsoft.com/office/drawing/2014/main" id="{81981844-ED58-4DAA-AC4C-F775C557B9D7}"/>
                </a:ext>
              </a:extLst>
            </p:cNvPr>
            <p:cNvSpPr/>
            <p:nvPr/>
          </p:nvSpPr>
          <p:spPr>
            <a:xfrm>
              <a:off x="70567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64" name="CustomShape 152">
              <a:extLst>
                <a:ext uri="{FF2B5EF4-FFF2-40B4-BE49-F238E27FC236}">
                  <a16:creationId xmlns:a16="http://schemas.microsoft.com/office/drawing/2014/main" id="{BFDE7C3C-DE4E-404A-90CD-4ABD73A2C59C}"/>
                </a:ext>
              </a:extLst>
            </p:cNvPr>
            <p:cNvSpPr/>
            <p:nvPr/>
          </p:nvSpPr>
          <p:spPr>
            <a:xfrm>
              <a:off x="73432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65" name="CustomShape 153">
              <a:extLst>
                <a:ext uri="{FF2B5EF4-FFF2-40B4-BE49-F238E27FC236}">
                  <a16:creationId xmlns:a16="http://schemas.microsoft.com/office/drawing/2014/main" id="{AEC22485-7075-42D3-B719-59FBD71D3FDB}"/>
                </a:ext>
              </a:extLst>
            </p:cNvPr>
            <p:cNvSpPr/>
            <p:nvPr/>
          </p:nvSpPr>
          <p:spPr>
            <a:xfrm>
              <a:off x="76294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66" name="CustomShape 154">
              <a:extLst>
                <a:ext uri="{FF2B5EF4-FFF2-40B4-BE49-F238E27FC236}">
                  <a16:creationId xmlns:a16="http://schemas.microsoft.com/office/drawing/2014/main" id="{59BC490B-1527-4105-8E2B-BC7E8DC71C07}"/>
                </a:ext>
              </a:extLst>
            </p:cNvPr>
            <p:cNvSpPr/>
            <p:nvPr/>
          </p:nvSpPr>
          <p:spPr>
            <a:xfrm>
              <a:off x="79160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67" name="CustomShape 155">
              <a:extLst>
                <a:ext uri="{FF2B5EF4-FFF2-40B4-BE49-F238E27FC236}">
                  <a16:creationId xmlns:a16="http://schemas.microsoft.com/office/drawing/2014/main" id="{8E14F297-C4ED-4BD3-8EAE-77C52F524A89}"/>
                </a:ext>
              </a:extLst>
            </p:cNvPr>
            <p:cNvSpPr/>
            <p:nvPr/>
          </p:nvSpPr>
          <p:spPr>
            <a:xfrm>
              <a:off x="82022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68" name="CustomShape 156">
              <a:extLst>
                <a:ext uri="{FF2B5EF4-FFF2-40B4-BE49-F238E27FC236}">
                  <a16:creationId xmlns:a16="http://schemas.microsoft.com/office/drawing/2014/main" id="{D7FA99A8-C402-4BDF-97E1-DC55ECB739DA}"/>
                </a:ext>
              </a:extLst>
            </p:cNvPr>
            <p:cNvSpPr/>
            <p:nvPr/>
          </p:nvSpPr>
          <p:spPr>
            <a:xfrm>
              <a:off x="84888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69" name="CustomShape 157">
              <a:extLst>
                <a:ext uri="{FF2B5EF4-FFF2-40B4-BE49-F238E27FC236}">
                  <a16:creationId xmlns:a16="http://schemas.microsoft.com/office/drawing/2014/main" id="{34AB4447-9CEB-43A0-A41E-DCE0CD5A4451}"/>
                </a:ext>
              </a:extLst>
            </p:cNvPr>
            <p:cNvSpPr/>
            <p:nvPr/>
          </p:nvSpPr>
          <p:spPr>
            <a:xfrm>
              <a:off x="87753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0" name="CustomShape 158">
              <a:extLst>
                <a:ext uri="{FF2B5EF4-FFF2-40B4-BE49-F238E27FC236}">
                  <a16:creationId xmlns:a16="http://schemas.microsoft.com/office/drawing/2014/main" id="{210C6F8D-F738-40C7-AFFA-E90F3FDD8CD6}"/>
                </a:ext>
              </a:extLst>
            </p:cNvPr>
            <p:cNvSpPr/>
            <p:nvPr/>
          </p:nvSpPr>
          <p:spPr>
            <a:xfrm>
              <a:off x="90615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1" name="CustomShape 159">
              <a:extLst>
                <a:ext uri="{FF2B5EF4-FFF2-40B4-BE49-F238E27FC236}">
                  <a16:creationId xmlns:a16="http://schemas.microsoft.com/office/drawing/2014/main" id="{DCD0235B-1E2C-4B67-BAF6-6D4B0B91B53C}"/>
                </a:ext>
              </a:extLst>
            </p:cNvPr>
            <p:cNvSpPr/>
            <p:nvPr/>
          </p:nvSpPr>
          <p:spPr>
            <a:xfrm>
              <a:off x="70567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 name="CustomShape 160">
              <a:extLst>
                <a:ext uri="{FF2B5EF4-FFF2-40B4-BE49-F238E27FC236}">
                  <a16:creationId xmlns:a16="http://schemas.microsoft.com/office/drawing/2014/main" id="{AD1B4E23-7555-4CDB-BF13-75CF1FFE3C48}"/>
                </a:ext>
              </a:extLst>
            </p:cNvPr>
            <p:cNvSpPr/>
            <p:nvPr/>
          </p:nvSpPr>
          <p:spPr>
            <a:xfrm>
              <a:off x="73432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 name="CustomShape 161">
              <a:extLst>
                <a:ext uri="{FF2B5EF4-FFF2-40B4-BE49-F238E27FC236}">
                  <a16:creationId xmlns:a16="http://schemas.microsoft.com/office/drawing/2014/main" id="{08D1E210-C681-4CF7-9339-96468FD005D3}"/>
                </a:ext>
              </a:extLst>
            </p:cNvPr>
            <p:cNvSpPr/>
            <p:nvPr/>
          </p:nvSpPr>
          <p:spPr>
            <a:xfrm>
              <a:off x="76294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 name="CustomShape 162">
              <a:extLst>
                <a:ext uri="{FF2B5EF4-FFF2-40B4-BE49-F238E27FC236}">
                  <a16:creationId xmlns:a16="http://schemas.microsoft.com/office/drawing/2014/main" id="{DC7FE6D6-3CAD-44A0-8D16-3533F2F9C776}"/>
                </a:ext>
              </a:extLst>
            </p:cNvPr>
            <p:cNvSpPr/>
            <p:nvPr/>
          </p:nvSpPr>
          <p:spPr>
            <a:xfrm>
              <a:off x="79160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 name="CustomShape 163">
              <a:extLst>
                <a:ext uri="{FF2B5EF4-FFF2-40B4-BE49-F238E27FC236}">
                  <a16:creationId xmlns:a16="http://schemas.microsoft.com/office/drawing/2014/main" id="{04F53625-FBC4-43C9-9A46-A396B426E9C1}"/>
                </a:ext>
              </a:extLst>
            </p:cNvPr>
            <p:cNvSpPr/>
            <p:nvPr/>
          </p:nvSpPr>
          <p:spPr>
            <a:xfrm>
              <a:off x="82022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 name="CustomShape 164">
              <a:extLst>
                <a:ext uri="{FF2B5EF4-FFF2-40B4-BE49-F238E27FC236}">
                  <a16:creationId xmlns:a16="http://schemas.microsoft.com/office/drawing/2014/main" id="{5AFDF8DF-1E54-414B-AFDF-FBC1E5D27EE4}"/>
                </a:ext>
              </a:extLst>
            </p:cNvPr>
            <p:cNvSpPr/>
            <p:nvPr/>
          </p:nvSpPr>
          <p:spPr>
            <a:xfrm>
              <a:off x="84888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 name="CustomShape 165">
              <a:extLst>
                <a:ext uri="{FF2B5EF4-FFF2-40B4-BE49-F238E27FC236}">
                  <a16:creationId xmlns:a16="http://schemas.microsoft.com/office/drawing/2014/main" id="{5BB5A423-828D-478D-8D83-33FD7BDD401C}"/>
                </a:ext>
              </a:extLst>
            </p:cNvPr>
            <p:cNvSpPr/>
            <p:nvPr/>
          </p:nvSpPr>
          <p:spPr>
            <a:xfrm>
              <a:off x="87753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8" name="CustomShape 166">
              <a:extLst>
                <a:ext uri="{FF2B5EF4-FFF2-40B4-BE49-F238E27FC236}">
                  <a16:creationId xmlns:a16="http://schemas.microsoft.com/office/drawing/2014/main" id="{ACC2C4A4-A749-44B6-A635-C01B6BE752A2}"/>
                </a:ext>
              </a:extLst>
            </p:cNvPr>
            <p:cNvSpPr/>
            <p:nvPr/>
          </p:nvSpPr>
          <p:spPr>
            <a:xfrm>
              <a:off x="90615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 name="CustomShape 167">
              <a:extLst>
                <a:ext uri="{FF2B5EF4-FFF2-40B4-BE49-F238E27FC236}">
                  <a16:creationId xmlns:a16="http://schemas.microsoft.com/office/drawing/2014/main" id="{397A3498-6C66-46D8-9E5B-D20F91DD34F9}"/>
                </a:ext>
              </a:extLst>
            </p:cNvPr>
            <p:cNvSpPr/>
            <p:nvPr/>
          </p:nvSpPr>
          <p:spPr>
            <a:xfrm>
              <a:off x="70567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 name="CustomShape 168">
              <a:extLst>
                <a:ext uri="{FF2B5EF4-FFF2-40B4-BE49-F238E27FC236}">
                  <a16:creationId xmlns:a16="http://schemas.microsoft.com/office/drawing/2014/main" id="{1E498690-8F93-43F5-A6AC-81AA54C5CAA6}"/>
                </a:ext>
              </a:extLst>
            </p:cNvPr>
            <p:cNvSpPr/>
            <p:nvPr/>
          </p:nvSpPr>
          <p:spPr>
            <a:xfrm>
              <a:off x="73432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 name="CustomShape 169">
              <a:extLst>
                <a:ext uri="{FF2B5EF4-FFF2-40B4-BE49-F238E27FC236}">
                  <a16:creationId xmlns:a16="http://schemas.microsoft.com/office/drawing/2014/main" id="{4673B585-FBB1-4DA8-8792-E54D4EDCBE10}"/>
                </a:ext>
              </a:extLst>
            </p:cNvPr>
            <p:cNvSpPr/>
            <p:nvPr/>
          </p:nvSpPr>
          <p:spPr>
            <a:xfrm>
              <a:off x="76294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 name="CustomShape 170">
              <a:extLst>
                <a:ext uri="{FF2B5EF4-FFF2-40B4-BE49-F238E27FC236}">
                  <a16:creationId xmlns:a16="http://schemas.microsoft.com/office/drawing/2014/main" id="{48774FA0-BBFC-42E0-8312-697A9E27CD91}"/>
                </a:ext>
              </a:extLst>
            </p:cNvPr>
            <p:cNvSpPr/>
            <p:nvPr/>
          </p:nvSpPr>
          <p:spPr>
            <a:xfrm>
              <a:off x="79160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 name="CustomShape 171">
              <a:extLst>
                <a:ext uri="{FF2B5EF4-FFF2-40B4-BE49-F238E27FC236}">
                  <a16:creationId xmlns:a16="http://schemas.microsoft.com/office/drawing/2014/main" id="{04AAB7EF-ADC0-4C8D-809C-D9B95188883B}"/>
                </a:ext>
              </a:extLst>
            </p:cNvPr>
            <p:cNvSpPr/>
            <p:nvPr/>
          </p:nvSpPr>
          <p:spPr>
            <a:xfrm>
              <a:off x="82022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4" name="CustomShape 172">
              <a:extLst>
                <a:ext uri="{FF2B5EF4-FFF2-40B4-BE49-F238E27FC236}">
                  <a16:creationId xmlns:a16="http://schemas.microsoft.com/office/drawing/2014/main" id="{B8F48B83-5B75-49F4-A979-132330FE5DEE}"/>
                </a:ext>
              </a:extLst>
            </p:cNvPr>
            <p:cNvSpPr/>
            <p:nvPr/>
          </p:nvSpPr>
          <p:spPr>
            <a:xfrm>
              <a:off x="84888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 name="CustomShape 173">
              <a:extLst>
                <a:ext uri="{FF2B5EF4-FFF2-40B4-BE49-F238E27FC236}">
                  <a16:creationId xmlns:a16="http://schemas.microsoft.com/office/drawing/2014/main" id="{DEEAD5B4-1CD3-4C91-AA95-25ACBC9866A3}"/>
                </a:ext>
              </a:extLst>
            </p:cNvPr>
            <p:cNvSpPr/>
            <p:nvPr/>
          </p:nvSpPr>
          <p:spPr>
            <a:xfrm>
              <a:off x="87753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 name="CustomShape 174">
              <a:extLst>
                <a:ext uri="{FF2B5EF4-FFF2-40B4-BE49-F238E27FC236}">
                  <a16:creationId xmlns:a16="http://schemas.microsoft.com/office/drawing/2014/main" id="{0F2E964F-BD6A-4A79-9AF7-57E84ED65EEF}"/>
                </a:ext>
              </a:extLst>
            </p:cNvPr>
            <p:cNvSpPr/>
            <p:nvPr/>
          </p:nvSpPr>
          <p:spPr>
            <a:xfrm>
              <a:off x="90615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 name="CustomShape 175">
              <a:extLst>
                <a:ext uri="{FF2B5EF4-FFF2-40B4-BE49-F238E27FC236}">
                  <a16:creationId xmlns:a16="http://schemas.microsoft.com/office/drawing/2014/main" id="{4EB6E06A-C945-4507-B82A-40E5BB5D832C}"/>
                </a:ext>
              </a:extLst>
            </p:cNvPr>
            <p:cNvSpPr/>
            <p:nvPr/>
          </p:nvSpPr>
          <p:spPr>
            <a:xfrm>
              <a:off x="70567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 name="CustomShape 176">
              <a:extLst>
                <a:ext uri="{FF2B5EF4-FFF2-40B4-BE49-F238E27FC236}">
                  <a16:creationId xmlns:a16="http://schemas.microsoft.com/office/drawing/2014/main" id="{AF5CD12B-3D2A-4C5F-95E9-D398CCBB4C04}"/>
                </a:ext>
              </a:extLst>
            </p:cNvPr>
            <p:cNvSpPr/>
            <p:nvPr/>
          </p:nvSpPr>
          <p:spPr>
            <a:xfrm>
              <a:off x="73432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 name="CustomShape 177">
              <a:extLst>
                <a:ext uri="{FF2B5EF4-FFF2-40B4-BE49-F238E27FC236}">
                  <a16:creationId xmlns:a16="http://schemas.microsoft.com/office/drawing/2014/main" id="{394EE80A-93A9-42AA-A817-DEED8A0B016D}"/>
                </a:ext>
              </a:extLst>
            </p:cNvPr>
            <p:cNvSpPr/>
            <p:nvPr/>
          </p:nvSpPr>
          <p:spPr>
            <a:xfrm>
              <a:off x="76294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 name="CustomShape 178">
              <a:extLst>
                <a:ext uri="{FF2B5EF4-FFF2-40B4-BE49-F238E27FC236}">
                  <a16:creationId xmlns:a16="http://schemas.microsoft.com/office/drawing/2014/main" id="{3F908F67-6660-4EB5-9B9C-0A104EB6D42A}"/>
                </a:ext>
              </a:extLst>
            </p:cNvPr>
            <p:cNvSpPr/>
            <p:nvPr/>
          </p:nvSpPr>
          <p:spPr>
            <a:xfrm>
              <a:off x="79160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1" name="CustomShape 179">
              <a:extLst>
                <a:ext uri="{FF2B5EF4-FFF2-40B4-BE49-F238E27FC236}">
                  <a16:creationId xmlns:a16="http://schemas.microsoft.com/office/drawing/2014/main" id="{EBD7DF63-3648-4651-9ACC-2BFD9DADD6CD}"/>
                </a:ext>
              </a:extLst>
            </p:cNvPr>
            <p:cNvSpPr/>
            <p:nvPr/>
          </p:nvSpPr>
          <p:spPr>
            <a:xfrm>
              <a:off x="82022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2" name="CustomShape 180">
              <a:extLst>
                <a:ext uri="{FF2B5EF4-FFF2-40B4-BE49-F238E27FC236}">
                  <a16:creationId xmlns:a16="http://schemas.microsoft.com/office/drawing/2014/main" id="{C57F8ABE-EBFC-4ED4-AB63-597A082AAECF}"/>
                </a:ext>
              </a:extLst>
            </p:cNvPr>
            <p:cNvSpPr/>
            <p:nvPr/>
          </p:nvSpPr>
          <p:spPr>
            <a:xfrm>
              <a:off x="848880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3" name="CustomShape 181">
              <a:extLst>
                <a:ext uri="{FF2B5EF4-FFF2-40B4-BE49-F238E27FC236}">
                  <a16:creationId xmlns:a16="http://schemas.microsoft.com/office/drawing/2014/main" id="{130527C5-59A6-4BCF-B80F-CC4438613413}"/>
                </a:ext>
              </a:extLst>
            </p:cNvPr>
            <p:cNvSpPr/>
            <p:nvPr/>
          </p:nvSpPr>
          <p:spPr>
            <a:xfrm>
              <a:off x="877536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4" name="CustomShape 182">
              <a:extLst>
                <a:ext uri="{FF2B5EF4-FFF2-40B4-BE49-F238E27FC236}">
                  <a16:creationId xmlns:a16="http://schemas.microsoft.com/office/drawing/2014/main" id="{C3E62427-941D-4577-A092-26907B64D9AB}"/>
                </a:ext>
              </a:extLst>
            </p:cNvPr>
            <p:cNvSpPr/>
            <p:nvPr/>
          </p:nvSpPr>
          <p:spPr>
            <a:xfrm>
              <a:off x="906156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5" name="CustomShape 183">
              <a:extLst>
                <a:ext uri="{FF2B5EF4-FFF2-40B4-BE49-F238E27FC236}">
                  <a16:creationId xmlns:a16="http://schemas.microsoft.com/office/drawing/2014/main" id="{13B09602-7264-4D7B-9D4F-ED6062557CDF}"/>
                </a:ext>
              </a:extLst>
            </p:cNvPr>
            <p:cNvSpPr/>
            <p:nvPr/>
          </p:nvSpPr>
          <p:spPr>
            <a:xfrm>
              <a:off x="70567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6" name="CustomShape 184">
              <a:extLst>
                <a:ext uri="{FF2B5EF4-FFF2-40B4-BE49-F238E27FC236}">
                  <a16:creationId xmlns:a16="http://schemas.microsoft.com/office/drawing/2014/main" id="{598E793E-C00E-4108-8B5C-BCC007620E1A}"/>
                </a:ext>
              </a:extLst>
            </p:cNvPr>
            <p:cNvSpPr/>
            <p:nvPr/>
          </p:nvSpPr>
          <p:spPr>
            <a:xfrm>
              <a:off x="73432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7" name="CustomShape 185">
              <a:extLst>
                <a:ext uri="{FF2B5EF4-FFF2-40B4-BE49-F238E27FC236}">
                  <a16:creationId xmlns:a16="http://schemas.microsoft.com/office/drawing/2014/main" id="{6299B393-2E6D-4D8E-909B-1428D9E55108}"/>
                </a:ext>
              </a:extLst>
            </p:cNvPr>
            <p:cNvSpPr/>
            <p:nvPr/>
          </p:nvSpPr>
          <p:spPr>
            <a:xfrm>
              <a:off x="76294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8" name="CustomShape 186">
              <a:extLst>
                <a:ext uri="{FF2B5EF4-FFF2-40B4-BE49-F238E27FC236}">
                  <a16:creationId xmlns:a16="http://schemas.microsoft.com/office/drawing/2014/main" id="{B76CDF18-6BFA-49CD-8A8D-31A67E2579ED}"/>
                </a:ext>
              </a:extLst>
            </p:cNvPr>
            <p:cNvSpPr/>
            <p:nvPr/>
          </p:nvSpPr>
          <p:spPr>
            <a:xfrm>
              <a:off x="79160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9" name="CustomShape 187">
              <a:extLst>
                <a:ext uri="{FF2B5EF4-FFF2-40B4-BE49-F238E27FC236}">
                  <a16:creationId xmlns:a16="http://schemas.microsoft.com/office/drawing/2014/main" id="{24EDE8DE-1461-4304-AD31-C05D10121083}"/>
                </a:ext>
              </a:extLst>
            </p:cNvPr>
            <p:cNvSpPr/>
            <p:nvPr/>
          </p:nvSpPr>
          <p:spPr>
            <a:xfrm>
              <a:off x="82022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200" name="CustomShape 188">
              <a:extLst>
                <a:ext uri="{FF2B5EF4-FFF2-40B4-BE49-F238E27FC236}">
                  <a16:creationId xmlns:a16="http://schemas.microsoft.com/office/drawing/2014/main" id="{56581032-9BFA-4637-851C-A9257F1ADAA3}"/>
                </a:ext>
              </a:extLst>
            </p:cNvPr>
            <p:cNvSpPr/>
            <p:nvPr/>
          </p:nvSpPr>
          <p:spPr>
            <a:xfrm>
              <a:off x="848880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202" name="CustomShape 189">
              <a:extLst>
                <a:ext uri="{FF2B5EF4-FFF2-40B4-BE49-F238E27FC236}">
                  <a16:creationId xmlns:a16="http://schemas.microsoft.com/office/drawing/2014/main" id="{BDC61818-77F3-42B0-B077-82EFFF6B2C08}"/>
                </a:ext>
              </a:extLst>
            </p:cNvPr>
            <p:cNvSpPr/>
            <p:nvPr/>
          </p:nvSpPr>
          <p:spPr>
            <a:xfrm>
              <a:off x="877536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206" name="CustomShape 190">
              <a:extLst>
                <a:ext uri="{FF2B5EF4-FFF2-40B4-BE49-F238E27FC236}">
                  <a16:creationId xmlns:a16="http://schemas.microsoft.com/office/drawing/2014/main" id="{BAA6AB9A-F161-4BD9-A446-00872196BEB2}"/>
                </a:ext>
              </a:extLst>
            </p:cNvPr>
            <p:cNvSpPr/>
            <p:nvPr/>
          </p:nvSpPr>
          <p:spPr>
            <a:xfrm>
              <a:off x="906156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207" name="CustomShape 191">
              <a:extLst>
                <a:ext uri="{FF2B5EF4-FFF2-40B4-BE49-F238E27FC236}">
                  <a16:creationId xmlns:a16="http://schemas.microsoft.com/office/drawing/2014/main" id="{50D1A000-E19A-49D8-A54D-F95FBB98F53F}"/>
                </a:ext>
              </a:extLst>
            </p:cNvPr>
            <p:cNvSpPr/>
            <p:nvPr/>
          </p:nvSpPr>
          <p:spPr>
            <a:xfrm>
              <a:off x="705672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208" name="CustomShape 192">
              <a:extLst>
                <a:ext uri="{FF2B5EF4-FFF2-40B4-BE49-F238E27FC236}">
                  <a16:creationId xmlns:a16="http://schemas.microsoft.com/office/drawing/2014/main" id="{C4934C21-7078-4F09-9325-AC6E55394605}"/>
                </a:ext>
              </a:extLst>
            </p:cNvPr>
            <p:cNvSpPr/>
            <p:nvPr/>
          </p:nvSpPr>
          <p:spPr>
            <a:xfrm>
              <a:off x="734328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209" name="CustomShape 193">
              <a:extLst>
                <a:ext uri="{FF2B5EF4-FFF2-40B4-BE49-F238E27FC236}">
                  <a16:creationId xmlns:a16="http://schemas.microsoft.com/office/drawing/2014/main" id="{2204AE0D-3925-4AEB-9895-E8CD633A69AB}"/>
                </a:ext>
              </a:extLst>
            </p:cNvPr>
            <p:cNvSpPr/>
            <p:nvPr/>
          </p:nvSpPr>
          <p:spPr>
            <a:xfrm>
              <a:off x="762948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210" name="CustomShape 194">
              <a:extLst>
                <a:ext uri="{FF2B5EF4-FFF2-40B4-BE49-F238E27FC236}">
                  <a16:creationId xmlns:a16="http://schemas.microsoft.com/office/drawing/2014/main" id="{4588ECDD-AE38-4471-903F-8325E4D84A64}"/>
                </a:ext>
              </a:extLst>
            </p:cNvPr>
            <p:cNvSpPr/>
            <p:nvPr/>
          </p:nvSpPr>
          <p:spPr>
            <a:xfrm>
              <a:off x="791604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211" name="CustomShape 195">
              <a:extLst>
                <a:ext uri="{FF2B5EF4-FFF2-40B4-BE49-F238E27FC236}">
                  <a16:creationId xmlns:a16="http://schemas.microsoft.com/office/drawing/2014/main" id="{49E4CBC1-E953-4822-863E-926D7E2F1C2C}"/>
                </a:ext>
              </a:extLst>
            </p:cNvPr>
            <p:cNvSpPr/>
            <p:nvPr/>
          </p:nvSpPr>
          <p:spPr>
            <a:xfrm>
              <a:off x="820224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212" name="CustomShape 196">
              <a:extLst>
                <a:ext uri="{FF2B5EF4-FFF2-40B4-BE49-F238E27FC236}">
                  <a16:creationId xmlns:a16="http://schemas.microsoft.com/office/drawing/2014/main" id="{DD951DD0-2DE5-48B0-970C-58CE327CAE25}"/>
                </a:ext>
              </a:extLst>
            </p:cNvPr>
            <p:cNvSpPr/>
            <p:nvPr/>
          </p:nvSpPr>
          <p:spPr>
            <a:xfrm>
              <a:off x="848880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213" name="CustomShape 197">
              <a:extLst>
                <a:ext uri="{FF2B5EF4-FFF2-40B4-BE49-F238E27FC236}">
                  <a16:creationId xmlns:a16="http://schemas.microsoft.com/office/drawing/2014/main" id="{62B01363-4BD0-44A4-B79E-742D9B1D4DFC}"/>
                </a:ext>
              </a:extLst>
            </p:cNvPr>
            <p:cNvSpPr/>
            <p:nvPr/>
          </p:nvSpPr>
          <p:spPr>
            <a:xfrm>
              <a:off x="877536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214" name="CustomShape 198">
              <a:extLst>
                <a:ext uri="{FF2B5EF4-FFF2-40B4-BE49-F238E27FC236}">
                  <a16:creationId xmlns:a16="http://schemas.microsoft.com/office/drawing/2014/main" id="{658D47F2-50B8-40C4-9837-8463AAFCE709}"/>
                </a:ext>
              </a:extLst>
            </p:cNvPr>
            <p:cNvSpPr/>
            <p:nvPr/>
          </p:nvSpPr>
          <p:spPr>
            <a:xfrm>
              <a:off x="9061560" y="62920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grpSp>
      <p:cxnSp>
        <p:nvCxnSpPr>
          <p:cNvPr id="11" name="Straight Arrow Connector 10">
            <a:extLst>
              <a:ext uri="{FF2B5EF4-FFF2-40B4-BE49-F238E27FC236}">
                <a16:creationId xmlns:a16="http://schemas.microsoft.com/office/drawing/2014/main" id="{2526D20B-3937-40F2-AA05-CB8E07E2B854}"/>
              </a:ext>
            </a:extLst>
          </p:cNvPr>
          <p:cNvCxnSpPr>
            <a:cxnSpLocks/>
            <a:stCxn id="13" idx="2"/>
            <a:endCxn id="81" idx="0"/>
          </p:cNvCxnSpPr>
          <p:nvPr/>
        </p:nvCxnSpPr>
        <p:spPr>
          <a:xfrm>
            <a:off x="8886519" y="3965480"/>
            <a:ext cx="119" cy="61870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EDEEAD59-0A4B-48CF-9843-F98DEFBE93C1}"/>
              </a:ext>
            </a:extLst>
          </p:cNvPr>
          <p:cNvGrpSpPr/>
          <p:nvPr/>
        </p:nvGrpSpPr>
        <p:grpSpPr>
          <a:xfrm>
            <a:off x="6498806" y="1318953"/>
            <a:ext cx="4775426" cy="2646527"/>
            <a:chOff x="6498806" y="1318953"/>
            <a:chExt cx="4775426" cy="2646527"/>
          </a:xfrm>
        </p:grpSpPr>
        <p:pic>
          <p:nvPicPr>
            <p:cNvPr id="13" name="Picture 12" descr="Diagram&#10;&#10;Description automatically generated">
              <a:extLst>
                <a:ext uri="{FF2B5EF4-FFF2-40B4-BE49-F238E27FC236}">
                  <a16:creationId xmlns:a16="http://schemas.microsoft.com/office/drawing/2014/main" id="{49994EA2-AA67-44F8-8193-A7A9F25F4C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98806" y="1357887"/>
              <a:ext cx="4775426" cy="2607593"/>
            </a:xfrm>
            <a:prstGeom prst="rect">
              <a:avLst/>
            </a:prstGeom>
          </p:spPr>
        </p:pic>
        <p:sp>
          <p:nvSpPr>
            <p:cNvPr id="2" name="Rectangle 1">
              <a:extLst>
                <a:ext uri="{FF2B5EF4-FFF2-40B4-BE49-F238E27FC236}">
                  <a16:creationId xmlns:a16="http://schemas.microsoft.com/office/drawing/2014/main" id="{230A22F8-01FF-417A-855D-BD2589B11790}"/>
                </a:ext>
              </a:extLst>
            </p:cNvPr>
            <p:cNvSpPr/>
            <p:nvPr/>
          </p:nvSpPr>
          <p:spPr>
            <a:xfrm>
              <a:off x="6973568" y="1318953"/>
              <a:ext cx="1239407" cy="3554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grpSp>
    </p:spTree>
    <p:extLst>
      <p:ext uri="{BB962C8B-B14F-4D97-AF65-F5344CB8AC3E}">
        <p14:creationId xmlns:p14="http://schemas.microsoft.com/office/powerpoint/2010/main" val="355669928"/>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 name="TextShape 2"/>
          <p:cNvSpPr txBox="1"/>
          <p:nvPr/>
        </p:nvSpPr>
        <p:spPr>
          <a:xfrm>
            <a:off x="479520" y="476280"/>
            <a:ext cx="5471640" cy="716400"/>
          </a:xfrm>
          <a:prstGeom prst="rect">
            <a:avLst/>
          </a:prstGeom>
          <a:noFill/>
          <a:ln w="9360">
            <a:noFill/>
          </a:ln>
        </p:spPr>
        <p:txBody>
          <a:bodyPr lIns="72000" tIns="36000" rIns="73080" bIns="36720">
            <a:normAutofit/>
          </a:bodyPr>
          <a:lstStyle/>
          <a:p>
            <a:pPr>
              <a:lnSpc>
                <a:spcPct val="100000"/>
              </a:lnSpc>
              <a:spcBef>
                <a:spcPts val="300"/>
              </a:spcBef>
            </a:pPr>
            <a:r>
              <a:rPr lang="en-US" sz="4000" b="0" strike="noStrike" spc="-157" err="1">
                <a:solidFill>
                  <a:srgbClr val="181818"/>
                </a:solidFill>
                <a:uFill>
                  <a:solidFill>
                    <a:srgbClr val="FFFFFF"/>
                  </a:solidFill>
                </a:uFill>
                <a:latin typeface="Ericsson Hilda Light"/>
              </a:rPr>
              <a:t>Högtalare</a:t>
            </a:r>
            <a:endParaRPr lang="en-US" sz="4000" b="0" strike="noStrike" spc="-1">
              <a:solidFill>
                <a:srgbClr val="181818"/>
              </a:solidFill>
              <a:uFill>
                <a:solidFill>
                  <a:srgbClr val="FFFFFF"/>
                </a:solidFill>
              </a:uFill>
              <a:latin typeface="Ericsson Hilda"/>
            </a:endParaRPr>
          </a:p>
        </p:txBody>
      </p:sp>
      <p:sp>
        <p:nvSpPr>
          <p:cNvPr id="201" name="Rectangle 200">
            <a:extLst>
              <a:ext uri="{FF2B5EF4-FFF2-40B4-BE49-F238E27FC236}">
                <a16:creationId xmlns:a16="http://schemas.microsoft.com/office/drawing/2014/main" id="{3E4AEA8D-533C-45FE-BFFB-3E8133B8641B}"/>
              </a:ext>
            </a:extLst>
          </p:cNvPr>
          <p:cNvSpPr/>
          <p:nvPr/>
        </p:nvSpPr>
        <p:spPr>
          <a:xfrm>
            <a:off x="11277600" y="309217"/>
            <a:ext cx="649357" cy="592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398" name="TextBox 397">
            <a:extLst>
              <a:ext uri="{FF2B5EF4-FFF2-40B4-BE49-F238E27FC236}">
                <a16:creationId xmlns:a16="http://schemas.microsoft.com/office/drawing/2014/main" id="{0B2DA253-2B6E-4C8A-9F57-C5AFC7D3A056}"/>
              </a:ext>
            </a:extLst>
          </p:cNvPr>
          <p:cNvSpPr txBox="1"/>
          <p:nvPr/>
        </p:nvSpPr>
        <p:spPr>
          <a:xfrm>
            <a:off x="495720" y="1674360"/>
            <a:ext cx="4557600" cy="2831544"/>
          </a:xfrm>
          <a:prstGeom prst="rect">
            <a:avLst/>
          </a:prstGeom>
          <a:noFill/>
        </p:spPr>
        <p:txBody>
          <a:bodyPr wrap="square" lIns="91440" tIns="45720" rIns="91440" bIns="45720" rtlCol="0" anchor="t">
            <a:spAutoFit/>
          </a:bodyPr>
          <a:lstStyle/>
          <a:p>
            <a:pPr marL="344170" indent="-343535">
              <a:lnSpc>
                <a:spcPct val="100000"/>
              </a:lnSpc>
              <a:buClr>
                <a:srgbClr val="181818"/>
              </a:buClr>
              <a:buFont typeface="Ericsson Hilda Light"/>
              <a:buChar char="—"/>
            </a:pPr>
            <a:r>
              <a:rPr lang="sv-SE" sz="2000" spc="-1">
                <a:solidFill>
                  <a:srgbClr val="181818"/>
                </a:solidFill>
                <a:uFill>
                  <a:solidFill>
                    <a:srgbClr val="FFFFFF"/>
                  </a:solidFill>
                </a:uFill>
                <a:latin typeface="Ericsson Hilda"/>
              </a:rPr>
              <a:t>Piezoelektrisk högtalare</a:t>
            </a:r>
          </a:p>
          <a:p>
            <a:pPr marL="344170" indent="-343535">
              <a:buClr>
                <a:srgbClr val="181818"/>
              </a:buClr>
              <a:buFont typeface="Ericsson Hilda Light"/>
              <a:buChar char="—"/>
            </a:pPr>
            <a:r>
              <a:rPr lang="sv-SE" sz="2000" spc="-1">
                <a:solidFill>
                  <a:srgbClr val="181818"/>
                </a:solidFill>
                <a:uFill>
                  <a:solidFill>
                    <a:srgbClr val="FFFFFF"/>
                  </a:solidFill>
                </a:uFill>
                <a:ea typeface="+mn-lt"/>
                <a:cs typeface="+mn-lt"/>
              </a:rPr>
              <a:t>Passiv, därav ingen matningsspänning behövs</a:t>
            </a:r>
          </a:p>
          <a:p>
            <a:pPr marL="344170" indent="-343535">
              <a:buClr>
                <a:srgbClr val="181818"/>
              </a:buClr>
              <a:buFont typeface="Ericsson Hilda Light"/>
              <a:buChar char="—"/>
            </a:pPr>
            <a:r>
              <a:rPr lang="sv-SE" sz="2000" spc="-1">
                <a:solidFill>
                  <a:srgbClr val="181818"/>
                </a:solidFill>
                <a:uFill>
                  <a:solidFill>
                    <a:srgbClr val="FFFFFF"/>
                  </a:solidFill>
                </a:uFill>
                <a:ea typeface="+mn-lt"/>
                <a:cs typeface="+mn-lt"/>
              </a:rPr>
              <a:t>högtalaren behöver en låg och en hög puls för att låta</a:t>
            </a:r>
            <a:endParaRPr lang="sv-SE" sz="2000" spc="-1">
              <a:solidFill>
                <a:srgbClr val="181818"/>
              </a:solidFill>
              <a:uFill>
                <a:solidFill>
                  <a:srgbClr val="FFFFFF"/>
                </a:solidFill>
              </a:uFill>
              <a:latin typeface="Arial"/>
              <a:cs typeface="Arial"/>
            </a:endParaRPr>
          </a:p>
          <a:p>
            <a:pPr marL="344170" indent="-343535">
              <a:buClr>
                <a:srgbClr val="181818"/>
              </a:buClr>
              <a:buFont typeface="Ericsson Hilda Light"/>
              <a:buChar char="—"/>
            </a:pPr>
            <a:r>
              <a:rPr lang="sv-SE" sz="2000" spc="-1">
                <a:solidFill>
                  <a:srgbClr val="181818"/>
                </a:solidFill>
                <a:uFill>
                  <a:solidFill>
                    <a:srgbClr val="FFFFFF"/>
                  </a:solidFill>
                </a:uFill>
                <a:latin typeface="Ericsson Hilda"/>
              </a:rPr>
              <a:t>Högst effektivitet uppnås vid frekvenser runt 3000–4000 Hz</a:t>
            </a:r>
            <a:endParaRPr lang="sv-SE" sz="2000" spc="-1">
              <a:uFill>
                <a:solidFill>
                  <a:srgbClr val="FFFFFF"/>
                </a:solidFill>
              </a:uFill>
              <a:latin typeface="Ericsson Hilda"/>
            </a:endParaRPr>
          </a:p>
          <a:p>
            <a:pPr marL="344170" indent="-343535">
              <a:buClr>
                <a:srgbClr val="181818"/>
              </a:buClr>
              <a:buFont typeface="Ericsson Hilda Light"/>
              <a:buChar char="—"/>
            </a:pPr>
            <a:r>
              <a:rPr lang="sv-SE" sz="2000" spc="-1">
                <a:solidFill>
                  <a:srgbClr val="181818"/>
                </a:solidFill>
                <a:uFill>
                  <a:solidFill>
                    <a:srgbClr val="FFFFFF"/>
                  </a:solidFill>
                </a:uFill>
                <a:latin typeface="Ericsson Hilda"/>
              </a:rPr>
              <a:t>Frekvens räknas genom f = 1/T</a:t>
            </a:r>
          </a:p>
          <a:p>
            <a:pPr marL="635">
              <a:lnSpc>
                <a:spcPct val="100000"/>
              </a:lnSpc>
              <a:buClr>
                <a:srgbClr val="181818"/>
              </a:buClr>
            </a:pPr>
            <a:endParaRPr lang="en-SE" b="0" strike="noStrike">
              <a:solidFill>
                <a:srgbClr val="181818"/>
              </a:solidFill>
              <a:latin typeface="Arial"/>
            </a:endParaRPr>
          </a:p>
        </p:txBody>
      </p:sp>
    </p:spTree>
    <p:extLst>
      <p:ext uri="{BB962C8B-B14F-4D97-AF65-F5344CB8AC3E}">
        <p14:creationId xmlns:p14="http://schemas.microsoft.com/office/powerpoint/2010/main" val="1867343795"/>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 name="TextShape 2"/>
          <p:cNvSpPr txBox="1"/>
          <p:nvPr/>
        </p:nvSpPr>
        <p:spPr>
          <a:xfrm>
            <a:off x="479520" y="476280"/>
            <a:ext cx="5471640" cy="716400"/>
          </a:xfrm>
          <a:prstGeom prst="rect">
            <a:avLst/>
          </a:prstGeom>
          <a:noFill/>
          <a:ln w="9360">
            <a:noFill/>
          </a:ln>
        </p:spPr>
        <p:txBody>
          <a:bodyPr lIns="72000" tIns="36000" rIns="73080" bIns="36720">
            <a:normAutofit/>
          </a:bodyPr>
          <a:lstStyle/>
          <a:p>
            <a:pPr>
              <a:lnSpc>
                <a:spcPct val="100000"/>
              </a:lnSpc>
              <a:spcBef>
                <a:spcPts val="300"/>
              </a:spcBef>
            </a:pPr>
            <a:r>
              <a:rPr lang="en-US" sz="4000" b="0" strike="noStrike" spc="-157">
                <a:solidFill>
                  <a:srgbClr val="181818"/>
                </a:solidFill>
                <a:uFill>
                  <a:solidFill>
                    <a:srgbClr val="FFFFFF"/>
                  </a:solidFill>
                </a:uFill>
                <a:latin typeface="Ericsson Hilda Light"/>
              </a:rPr>
              <a:t>LCD Display</a:t>
            </a:r>
            <a:endParaRPr lang="en-US" sz="4000" b="0" strike="noStrike" spc="-1">
              <a:solidFill>
                <a:srgbClr val="181818"/>
              </a:solidFill>
              <a:uFill>
                <a:solidFill>
                  <a:srgbClr val="FFFFFF"/>
                </a:solidFill>
              </a:uFill>
              <a:latin typeface="Ericsson Hilda"/>
            </a:endParaRPr>
          </a:p>
        </p:txBody>
      </p:sp>
      <p:sp>
        <p:nvSpPr>
          <p:cNvPr id="201" name="Rectangle 200">
            <a:extLst>
              <a:ext uri="{FF2B5EF4-FFF2-40B4-BE49-F238E27FC236}">
                <a16:creationId xmlns:a16="http://schemas.microsoft.com/office/drawing/2014/main" id="{3E4AEA8D-533C-45FE-BFFB-3E8133B8641B}"/>
              </a:ext>
            </a:extLst>
          </p:cNvPr>
          <p:cNvSpPr/>
          <p:nvPr/>
        </p:nvSpPr>
        <p:spPr>
          <a:xfrm>
            <a:off x="11277600" y="309217"/>
            <a:ext cx="649357" cy="592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398" name="TextBox 397">
            <a:extLst>
              <a:ext uri="{FF2B5EF4-FFF2-40B4-BE49-F238E27FC236}">
                <a16:creationId xmlns:a16="http://schemas.microsoft.com/office/drawing/2014/main" id="{0B2DA253-2B6E-4C8A-9F57-C5AFC7D3A056}"/>
              </a:ext>
            </a:extLst>
          </p:cNvPr>
          <p:cNvSpPr txBox="1"/>
          <p:nvPr/>
        </p:nvSpPr>
        <p:spPr>
          <a:xfrm>
            <a:off x="495720" y="1674360"/>
            <a:ext cx="4557600" cy="1908215"/>
          </a:xfrm>
          <a:prstGeom prst="rect">
            <a:avLst/>
          </a:prstGeom>
          <a:noFill/>
        </p:spPr>
        <p:txBody>
          <a:bodyPr wrap="square" lIns="91440" tIns="45720" rIns="91440" bIns="45720" rtlCol="0" anchor="t">
            <a:spAutoFit/>
          </a:bodyPr>
          <a:lstStyle/>
          <a:p>
            <a:pPr marL="344170" indent="-343535">
              <a:buClr>
                <a:srgbClr val="181818"/>
              </a:buClr>
              <a:buFont typeface="Ericsson Hilda Light"/>
              <a:buChar char="—"/>
            </a:pPr>
            <a:r>
              <a:rPr lang="sv-SE" sz="2000" spc="-1" dirty="0">
                <a:solidFill>
                  <a:srgbClr val="181818"/>
                </a:solidFill>
                <a:uFill>
                  <a:solidFill>
                    <a:srgbClr val="FFFFFF"/>
                  </a:solidFill>
                </a:uFill>
                <a:latin typeface="Ericsson Hilda"/>
              </a:rPr>
              <a:t>Användning</a:t>
            </a:r>
            <a:endParaRPr lang="sv-SE" sz="2000" b="0" strike="noStrike" spc="-1" dirty="0">
              <a:solidFill>
                <a:srgbClr val="181818"/>
              </a:solidFill>
              <a:uFill>
                <a:solidFill>
                  <a:srgbClr val="FFFFFF"/>
                </a:solidFill>
              </a:uFill>
              <a:latin typeface="Ericsson Hilda"/>
            </a:endParaRPr>
          </a:p>
          <a:p>
            <a:pPr marL="344170" indent="-343535">
              <a:buClr>
                <a:srgbClr val="181818"/>
              </a:buClr>
              <a:buFont typeface="Ericsson Hilda Light"/>
              <a:buChar char="—"/>
            </a:pPr>
            <a:r>
              <a:rPr lang="sv-SE" sz="2000" spc="-1" dirty="0">
                <a:solidFill>
                  <a:srgbClr val="181818"/>
                </a:solidFill>
                <a:uFill>
                  <a:solidFill>
                    <a:srgbClr val="FFFFFF"/>
                  </a:solidFill>
                </a:uFill>
                <a:latin typeface="Ericsson Hilda"/>
              </a:rPr>
              <a:t>16x2 display </a:t>
            </a:r>
          </a:p>
          <a:p>
            <a:pPr marL="344170" indent="-343535">
              <a:buClr>
                <a:srgbClr val="181818"/>
              </a:buClr>
              <a:buFont typeface="Ericsson Hilda Light"/>
              <a:buChar char="—"/>
            </a:pPr>
            <a:r>
              <a:rPr lang="sv-SE" sz="2000" spc="-1" dirty="0">
                <a:solidFill>
                  <a:srgbClr val="181818"/>
                </a:solidFill>
                <a:uFill>
                  <a:solidFill>
                    <a:srgbClr val="FFFFFF"/>
                  </a:solidFill>
                </a:uFill>
                <a:latin typeface="Ericsson Hilda"/>
              </a:rPr>
              <a:t>ASCII </a:t>
            </a:r>
            <a:endParaRPr lang="sv-SE" sz="2000" b="0" strike="noStrike" spc="-1" dirty="0">
              <a:solidFill>
                <a:srgbClr val="181818"/>
              </a:solidFill>
              <a:uFill>
                <a:solidFill>
                  <a:srgbClr val="FFFFFF"/>
                </a:solidFill>
              </a:uFill>
              <a:latin typeface="Ericsson Hilda"/>
            </a:endParaRPr>
          </a:p>
          <a:p>
            <a:pPr marL="344170" indent="-343535">
              <a:buClr>
                <a:srgbClr val="181818"/>
              </a:buClr>
              <a:buFont typeface="Ericsson Hilda Light"/>
              <a:buChar char="—"/>
            </a:pPr>
            <a:endParaRPr lang="sv-SE" sz="2000" spc="-1" dirty="0">
              <a:uFill>
                <a:solidFill>
                  <a:srgbClr val="FFFFFF"/>
                </a:solidFill>
              </a:uFill>
              <a:latin typeface="Ericsson Hilda"/>
            </a:endParaRPr>
          </a:p>
          <a:p>
            <a:pPr marL="344170" indent="-343535">
              <a:buClr>
                <a:srgbClr val="181818"/>
              </a:buClr>
              <a:buFont typeface="Ericsson Hilda Light"/>
              <a:buChar char="—"/>
            </a:pPr>
            <a:endParaRPr lang="sv-SE" sz="2000" spc="-1" dirty="0">
              <a:uFill>
                <a:solidFill>
                  <a:srgbClr val="FFFFFF"/>
                </a:solidFill>
              </a:uFill>
              <a:latin typeface="Ericsson Hilda"/>
            </a:endParaRPr>
          </a:p>
          <a:p>
            <a:endParaRPr lang="en-SE" dirty="0"/>
          </a:p>
        </p:txBody>
      </p:sp>
      <p:sp>
        <p:nvSpPr>
          <p:cNvPr id="2" name="Rectangle 1">
            <a:extLst>
              <a:ext uri="{FF2B5EF4-FFF2-40B4-BE49-F238E27FC236}">
                <a16:creationId xmlns:a16="http://schemas.microsoft.com/office/drawing/2014/main" id="{CFABF3F3-83BB-4976-827E-FD05668CF7F7}"/>
              </a:ext>
            </a:extLst>
          </p:cNvPr>
          <p:cNvSpPr/>
          <p:nvPr/>
        </p:nvSpPr>
        <p:spPr>
          <a:xfrm>
            <a:off x="6481763" y="1557337"/>
            <a:ext cx="4795837" cy="26241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pic>
        <p:nvPicPr>
          <p:cNvPr id="3" name="Picture 3" descr="A picture containing timeline&#10;&#10;Description automatically generated">
            <a:extLst>
              <a:ext uri="{FF2B5EF4-FFF2-40B4-BE49-F238E27FC236}">
                <a16:creationId xmlns:a16="http://schemas.microsoft.com/office/drawing/2014/main" id="{452E017A-6864-EE3A-6481-B1EFADBAFF5D}"/>
              </a:ext>
            </a:extLst>
          </p:cNvPr>
          <p:cNvPicPr>
            <a:picLocks noChangeAspect="1"/>
          </p:cNvPicPr>
          <p:nvPr/>
        </p:nvPicPr>
        <p:blipFill>
          <a:blip r:embed="rId3"/>
          <a:stretch>
            <a:fillRect/>
          </a:stretch>
        </p:blipFill>
        <p:spPr>
          <a:xfrm rot="5400000">
            <a:off x="7386890" y="484772"/>
            <a:ext cx="3263565" cy="5056271"/>
          </a:xfrm>
          <a:prstGeom prst="rect">
            <a:avLst/>
          </a:prstGeom>
          <a:ln>
            <a:solidFill>
              <a:schemeClr val="tx1"/>
            </a:solidFill>
          </a:ln>
        </p:spPr>
      </p:pic>
    </p:spTree>
    <p:extLst>
      <p:ext uri="{BB962C8B-B14F-4D97-AF65-F5344CB8AC3E}">
        <p14:creationId xmlns:p14="http://schemas.microsoft.com/office/powerpoint/2010/main" val="531401409"/>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Shape 2">
            <a:extLst>
              <a:ext uri="{FF2B5EF4-FFF2-40B4-BE49-F238E27FC236}">
                <a16:creationId xmlns:a16="http://schemas.microsoft.com/office/drawing/2014/main" id="{78814215-0367-481C-9C55-4D1E578BA9A6}"/>
              </a:ext>
            </a:extLst>
          </p:cNvPr>
          <p:cNvSpPr txBox="1"/>
          <p:nvPr/>
        </p:nvSpPr>
        <p:spPr>
          <a:xfrm>
            <a:off x="479520" y="476280"/>
            <a:ext cx="4096897" cy="749520"/>
          </a:xfrm>
          <a:prstGeom prst="rect">
            <a:avLst/>
          </a:prstGeom>
          <a:noFill/>
          <a:ln w="9360">
            <a:noFill/>
          </a:ln>
        </p:spPr>
        <p:txBody>
          <a:bodyPr lIns="72000" tIns="36000" rIns="73080" bIns="36720">
            <a:normAutofit/>
          </a:bodyPr>
          <a:lstStyle/>
          <a:p>
            <a:pPr>
              <a:lnSpc>
                <a:spcPct val="100000"/>
              </a:lnSpc>
              <a:spcBef>
                <a:spcPts val="300"/>
              </a:spcBef>
            </a:pPr>
            <a:r>
              <a:rPr lang="en-US" sz="4000" b="0" strike="noStrike" spc="-157">
                <a:solidFill>
                  <a:srgbClr val="181818"/>
                </a:solidFill>
                <a:uFill>
                  <a:solidFill>
                    <a:srgbClr val="FFFFFF"/>
                  </a:solidFill>
                </a:uFill>
                <a:latin typeface="Ericsson Hilda Light"/>
              </a:rPr>
              <a:t>Strukturdiagram</a:t>
            </a:r>
            <a:endParaRPr lang="en-US" sz="4000" b="0" strike="noStrike" spc="-1">
              <a:solidFill>
                <a:srgbClr val="181818"/>
              </a:solidFill>
              <a:uFill>
                <a:solidFill>
                  <a:srgbClr val="FFFFFF"/>
                </a:solidFill>
              </a:uFill>
              <a:latin typeface="Ericsson Hilda"/>
            </a:endParaRPr>
          </a:p>
        </p:txBody>
      </p:sp>
      <p:sp>
        <p:nvSpPr>
          <p:cNvPr id="20" name="Rectangle 19">
            <a:extLst>
              <a:ext uri="{FF2B5EF4-FFF2-40B4-BE49-F238E27FC236}">
                <a16:creationId xmlns:a16="http://schemas.microsoft.com/office/drawing/2014/main" id="{2F7A877E-2FC2-4416-A6E9-AB0B278A0115}"/>
              </a:ext>
            </a:extLst>
          </p:cNvPr>
          <p:cNvSpPr/>
          <p:nvPr/>
        </p:nvSpPr>
        <p:spPr>
          <a:xfrm>
            <a:off x="11277600" y="309217"/>
            <a:ext cx="649357" cy="592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grpSp>
        <p:nvGrpSpPr>
          <p:cNvPr id="5" name="Group 4">
            <a:extLst>
              <a:ext uri="{FF2B5EF4-FFF2-40B4-BE49-F238E27FC236}">
                <a16:creationId xmlns:a16="http://schemas.microsoft.com/office/drawing/2014/main" id="{4D71530D-0C54-4528-8B60-CA2DB9F73E9B}"/>
              </a:ext>
            </a:extLst>
          </p:cNvPr>
          <p:cNvGrpSpPr/>
          <p:nvPr/>
        </p:nvGrpSpPr>
        <p:grpSpPr>
          <a:xfrm>
            <a:off x="909906" y="1225800"/>
            <a:ext cx="3236123" cy="4964053"/>
            <a:chOff x="909906" y="1225800"/>
            <a:chExt cx="3236123" cy="4964053"/>
          </a:xfrm>
        </p:grpSpPr>
        <p:pic>
          <p:nvPicPr>
            <p:cNvPr id="3" name="Picture 2">
              <a:extLst>
                <a:ext uri="{FF2B5EF4-FFF2-40B4-BE49-F238E27FC236}">
                  <a16:creationId xmlns:a16="http://schemas.microsoft.com/office/drawing/2014/main" id="{4BDFF86A-3ECB-492F-A1C6-3DC21A864F0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09906" y="1225800"/>
              <a:ext cx="3236123" cy="4964053"/>
            </a:xfrm>
            <a:prstGeom prst="rect">
              <a:avLst/>
            </a:prstGeom>
          </p:spPr>
        </p:pic>
        <p:sp>
          <p:nvSpPr>
            <p:cNvPr id="2" name="Rectangle 1">
              <a:extLst>
                <a:ext uri="{FF2B5EF4-FFF2-40B4-BE49-F238E27FC236}">
                  <a16:creationId xmlns:a16="http://schemas.microsoft.com/office/drawing/2014/main" id="{58A0A1B2-8E86-4738-8987-4CE8CAB98574}"/>
                </a:ext>
              </a:extLst>
            </p:cNvPr>
            <p:cNvSpPr/>
            <p:nvPr/>
          </p:nvSpPr>
          <p:spPr>
            <a:xfrm>
              <a:off x="2544417" y="2544417"/>
              <a:ext cx="47708" cy="2941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 name="TextBox 3">
              <a:extLst>
                <a:ext uri="{FF2B5EF4-FFF2-40B4-BE49-F238E27FC236}">
                  <a16:creationId xmlns:a16="http://schemas.microsoft.com/office/drawing/2014/main" id="{9B26D3DB-23F3-433D-9AEE-8587786AB9DF}"/>
                </a:ext>
              </a:extLst>
            </p:cNvPr>
            <p:cNvSpPr txBox="1"/>
            <p:nvPr/>
          </p:nvSpPr>
          <p:spPr>
            <a:xfrm>
              <a:off x="2291962" y="4556096"/>
              <a:ext cx="600325" cy="230832"/>
            </a:xfrm>
            <a:prstGeom prst="rect">
              <a:avLst/>
            </a:prstGeom>
            <a:solidFill>
              <a:schemeClr val="bg1"/>
            </a:solidFill>
          </p:spPr>
          <p:txBody>
            <a:bodyPr wrap="square" rtlCol="0">
              <a:spAutoFit/>
            </a:bodyPr>
            <a:lstStyle/>
            <a:p>
              <a:r>
                <a:rPr lang="en-US" sz="900" dirty="0"/>
                <a:t>(Duck)</a:t>
              </a:r>
              <a:endParaRPr lang="en-SE" sz="900" dirty="0"/>
            </a:p>
          </p:txBody>
        </p:sp>
      </p:grpSp>
    </p:spTree>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3" name="TextShape 1"/>
          <p:cNvSpPr txBox="1"/>
          <p:nvPr/>
        </p:nvSpPr>
        <p:spPr>
          <a:xfrm>
            <a:off x="479520" y="476280"/>
            <a:ext cx="8353080" cy="3457080"/>
          </a:xfrm>
          <a:prstGeom prst="rect">
            <a:avLst/>
          </a:prstGeom>
          <a:noFill/>
          <a:ln w="9360">
            <a:noFill/>
          </a:ln>
        </p:spPr>
        <p:txBody>
          <a:bodyPr lIns="72000" tIns="36000" rIns="73080" bIns="36720"/>
          <a:lstStyle/>
          <a:p>
            <a:pPr>
              <a:lnSpc>
                <a:spcPct val="100000"/>
              </a:lnSpc>
              <a:spcBef>
                <a:spcPts val="300"/>
              </a:spcBef>
            </a:pPr>
            <a:r>
              <a:rPr lang="en-US" sz="6000" b="0" strike="noStrike" spc="-157" dirty="0" err="1">
                <a:solidFill>
                  <a:srgbClr val="FFFFFF"/>
                </a:solidFill>
                <a:uFill>
                  <a:solidFill>
                    <a:srgbClr val="FFFFFF"/>
                  </a:solidFill>
                </a:uFill>
                <a:latin typeface="Ericsson Hilda Light"/>
              </a:rPr>
              <a:t>Resultat</a:t>
            </a:r>
            <a:endParaRPr lang="en-US" sz="6000" b="0" strike="noStrike" spc="-1" dirty="0">
              <a:solidFill>
                <a:srgbClr val="181818"/>
              </a:solidFill>
              <a:uFill>
                <a:solidFill>
                  <a:srgbClr val="FFFFFF"/>
                </a:solidFill>
              </a:uFill>
              <a:latin typeface="Ericsson Hilda"/>
            </a:endParaRPr>
          </a:p>
        </p:txBody>
      </p:sp>
      <p:sp>
        <p:nvSpPr>
          <p:cNvPr id="1934" name="TextShape 2"/>
          <p:cNvSpPr txBox="1"/>
          <p:nvPr/>
        </p:nvSpPr>
        <p:spPr>
          <a:xfrm>
            <a:off x="479520" y="4149720"/>
            <a:ext cx="5471640" cy="2087280"/>
          </a:xfrm>
          <a:prstGeom prst="rect">
            <a:avLst/>
          </a:prstGeom>
          <a:noFill/>
          <a:ln w="9360">
            <a:noFill/>
          </a:ln>
        </p:spPr>
        <p:txBody>
          <a:bodyPr lIns="72000" tIns="36000" rIns="0" bIns="36000" anchor="ctr"/>
          <a:lstStyle/>
          <a:p>
            <a:pPr algn="ctr"/>
            <a:endParaRPr lang="sv-SE" sz="3200" b="0" strike="noStrike" spc="-1">
              <a:solidFill>
                <a:srgbClr val="000000"/>
              </a:solidFill>
              <a:uFill>
                <a:solidFill>
                  <a:srgbClr val="FFFFFF"/>
                </a:solidFill>
              </a:uFill>
              <a:latin typeface="Arial"/>
            </a:endParaRPr>
          </a:p>
        </p:txBody>
      </p:sp>
      <p:sp>
        <p:nvSpPr>
          <p:cNvPr id="4" name="Rectangle 3">
            <a:extLst>
              <a:ext uri="{FF2B5EF4-FFF2-40B4-BE49-F238E27FC236}">
                <a16:creationId xmlns:a16="http://schemas.microsoft.com/office/drawing/2014/main" id="{A46323EE-06FA-4E43-8E71-3EB7AB6C244D}"/>
              </a:ext>
            </a:extLst>
          </p:cNvPr>
          <p:cNvSpPr/>
          <p:nvPr/>
        </p:nvSpPr>
        <p:spPr>
          <a:xfrm>
            <a:off x="11277600" y="309217"/>
            <a:ext cx="649357" cy="6493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3" name="TextShape 1"/>
          <p:cNvSpPr txBox="1"/>
          <p:nvPr/>
        </p:nvSpPr>
        <p:spPr>
          <a:xfrm>
            <a:off x="479520" y="476280"/>
            <a:ext cx="8353080" cy="3457080"/>
          </a:xfrm>
          <a:prstGeom prst="rect">
            <a:avLst/>
          </a:prstGeom>
          <a:noFill/>
          <a:ln w="9360">
            <a:noFill/>
          </a:ln>
        </p:spPr>
        <p:txBody>
          <a:bodyPr lIns="72000" tIns="36000" rIns="73080" bIns="36720"/>
          <a:lstStyle/>
          <a:p>
            <a:pPr>
              <a:lnSpc>
                <a:spcPct val="100000"/>
              </a:lnSpc>
              <a:spcBef>
                <a:spcPts val="300"/>
              </a:spcBef>
            </a:pPr>
            <a:r>
              <a:rPr lang="en-US" sz="6000" b="0" strike="noStrike" spc="-157">
                <a:solidFill>
                  <a:srgbClr val="FFFFFF"/>
                </a:solidFill>
                <a:uFill>
                  <a:solidFill>
                    <a:srgbClr val="FFFFFF"/>
                  </a:solidFill>
                </a:uFill>
                <a:latin typeface="Ericsson Hilda Light"/>
              </a:rPr>
              <a:t>Slutdisskusion</a:t>
            </a:r>
            <a:endParaRPr lang="en-US" sz="6000" b="0" strike="noStrike" spc="-1">
              <a:solidFill>
                <a:srgbClr val="181818"/>
              </a:solidFill>
              <a:uFill>
                <a:solidFill>
                  <a:srgbClr val="FFFFFF"/>
                </a:solidFill>
              </a:uFill>
              <a:latin typeface="Ericsson Hilda"/>
            </a:endParaRPr>
          </a:p>
        </p:txBody>
      </p:sp>
      <p:sp>
        <p:nvSpPr>
          <p:cNvPr id="1934" name="TextShape 2"/>
          <p:cNvSpPr txBox="1"/>
          <p:nvPr/>
        </p:nvSpPr>
        <p:spPr>
          <a:xfrm>
            <a:off x="479520" y="4149720"/>
            <a:ext cx="5471640" cy="2087280"/>
          </a:xfrm>
          <a:prstGeom prst="rect">
            <a:avLst/>
          </a:prstGeom>
          <a:noFill/>
          <a:ln w="9360">
            <a:noFill/>
          </a:ln>
        </p:spPr>
        <p:txBody>
          <a:bodyPr lIns="72000" tIns="36000" rIns="0" bIns="36000" anchor="ctr"/>
          <a:lstStyle/>
          <a:p>
            <a:pPr algn="ctr"/>
            <a:endParaRPr lang="sv-SE" sz="3200" b="0" strike="noStrike" spc="-1">
              <a:solidFill>
                <a:srgbClr val="000000"/>
              </a:solidFill>
              <a:uFill>
                <a:solidFill>
                  <a:srgbClr val="FFFFFF"/>
                </a:solidFill>
              </a:uFill>
              <a:latin typeface="Arial"/>
            </a:endParaRPr>
          </a:p>
        </p:txBody>
      </p:sp>
      <p:sp>
        <p:nvSpPr>
          <p:cNvPr id="4" name="Rectangle 3">
            <a:extLst>
              <a:ext uri="{FF2B5EF4-FFF2-40B4-BE49-F238E27FC236}">
                <a16:creationId xmlns:a16="http://schemas.microsoft.com/office/drawing/2014/main" id="{A46323EE-06FA-4E43-8E71-3EB7AB6C244D}"/>
              </a:ext>
            </a:extLst>
          </p:cNvPr>
          <p:cNvSpPr/>
          <p:nvPr/>
        </p:nvSpPr>
        <p:spPr>
          <a:xfrm>
            <a:off x="11277600" y="309217"/>
            <a:ext cx="649357" cy="6493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2496363771"/>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2F7A877E-2FC2-4416-A6E9-AB0B278A0115}"/>
              </a:ext>
            </a:extLst>
          </p:cNvPr>
          <p:cNvSpPr/>
          <p:nvPr/>
        </p:nvSpPr>
        <p:spPr>
          <a:xfrm>
            <a:off x="11277600" y="309217"/>
            <a:ext cx="649357" cy="592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8" name="Title 10">
            <a:extLst>
              <a:ext uri="{FF2B5EF4-FFF2-40B4-BE49-F238E27FC236}">
                <a16:creationId xmlns:a16="http://schemas.microsoft.com/office/drawing/2014/main" id="{D404991A-1372-4640-9ED2-E8D7C5B945B0}"/>
              </a:ext>
            </a:extLst>
          </p:cNvPr>
          <p:cNvSpPr>
            <a:spLocks noGrp="1"/>
          </p:cNvSpPr>
          <p:nvPr>
            <p:ph type="title"/>
          </p:nvPr>
        </p:nvSpPr>
        <p:spPr>
          <a:xfrm>
            <a:off x="479424" y="292150"/>
            <a:ext cx="8353425" cy="1081088"/>
          </a:xfrm>
        </p:spPr>
        <p:txBody>
          <a:bodyPr/>
          <a:lstStyle/>
          <a:p>
            <a:r>
              <a:rPr lang="sv-SE">
                <a:latin typeface="Ericsson Hilda" panose="00000500000000000000" pitchFamily="2" charset="0"/>
              </a:rPr>
              <a:t>Slutdiskussion</a:t>
            </a:r>
            <a:endParaRPr lang="en-US">
              <a:latin typeface="Ericsson Hilda" panose="00000500000000000000" pitchFamily="2" charset="0"/>
            </a:endParaRPr>
          </a:p>
        </p:txBody>
      </p:sp>
      <p:sp>
        <p:nvSpPr>
          <p:cNvPr id="9" name="Content Placeholder 2">
            <a:extLst>
              <a:ext uri="{FF2B5EF4-FFF2-40B4-BE49-F238E27FC236}">
                <a16:creationId xmlns:a16="http://schemas.microsoft.com/office/drawing/2014/main" id="{499140DB-6BC3-4EDD-92D3-1911C8E3BD65}"/>
              </a:ext>
            </a:extLst>
          </p:cNvPr>
          <p:cNvSpPr txBox="1">
            <a:spLocks/>
          </p:cNvSpPr>
          <p:nvPr/>
        </p:nvSpPr>
        <p:spPr>
          <a:xfrm>
            <a:off x="479425" y="1501774"/>
            <a:ext cx="5511724" cy="4838065"/>
          </a:xfrm>
          <a:prstGeom prst="rect">
            <a:avLst/>
          </a:prstGeom>
        </p:spPr>
        <p:txBody>
          <a:bodyPr lIns="91440" tIns="45720" rIns="91440" bIns="45720" anchor="t"/>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a:buNone/>
            </a:pPr>
            <a:r>
              <a:rPr lang="en-US" sz="3200" b="1" dirty="0" err="1">
                <a:latin typeface="Ericsson Hilda"/>
              </a:rPr>
              <a:t>Vad</a:t>
            </a:r>
            <a:r>
              <a:rPr lang="en-US" sz="3200" b="1" dirty="0">
                <a:latin typeface="Ericsson Hilda"/>
              </a:rPr>
              <a:t> </a:t>
            </a:r>
            <a:r>
              <a:rPr lang="en-US" sz="3200" b="1" dirty="0" err="1">
                <a:latin typeface="Ericsson Hilda"/>
              </a:rPr>
              <a:t>har</a:t>
            </a:r>
            <a:r>
              <a:rPr lang="en-US" sz="3200" b="1" dirty="0">
                <a:latin typeface="Ericsson Hilda"/>
              </a:rPr>
              <a:t> </a:t>
            </a:r>
            <a:r>
              <a:rPr lang="en-US" sz="3200" b="1" dirty="0" err="1">
                <a:latin typeface="Ericsson Hilda"/>
              </a:rPr>
              <a:t>gått</a:t>
            </a:r>
            <a:r>
              <a:rPr lang="en-US" sz="3200" b="1" dirty="0">
                <a:latin typeface="Ericsson Hilda"/>
              </a:rPr>
              <a:t> bra?</a:t>
            </a:r>
            <a:r>
              <a:rPr lang="en-US" sz="3200" dirty="0">
                <a:latin typeface="Ericsson Hilda"/>
              </a:rPr>
              <a:t> </a:t>
            </a:r>
            <a:endParaRPr lang="en-US" sz="3200" dirty="0">
              <a:latin typeface="Ericsson Hilda" panose="00000500000000000000" pitchFamily="2" charset="0"/>
            </a:endParaRPr>
          </a:p>
        </p:txBody>
      </p:sp>
    </p:spTree>
    <p:extLst>
      <p:ext uri="{BB962C8B-B14F-4D97-AF65-F5344CB8AC3E}">
        <p14:creationId xmlns:p14="http://schemas.microsoft.com/office/powerpoint/2010/main" val="1706841322"/>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2F7A877E-2FC2-4416-A6E9-AB0B278A0115}"/>
              </a:ext>
            </a:extLst>
          </p:cNvPr>
          <p:cNvSpPr/>
          <p:nvPr/>
        </p:nvSpPr>
        <p:spPr>
          <a:xfrm>
            <a:off x="11277600" y="309217"/>
            <a:ext cx="649357" cy="592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8" name="Title 10">
            <a:extLst>
              <a:ext uri="{FF2B5EF4-FFF2-40B4-BE49-F238E27FC236}">
                <a16:creationId xmlns:a16="http://schemas.microsoft.com/office/drawing/2014/main" id="{D404991A-1372-4640-9ED2-E8D7C5B945B0}"/>
              </a:ext>
            </a:extLst>
          </p:cNvPr>
          <p:cNvSpPr>
            <a:spLocks noGrp="1"/>
          </p:cNvSpPr>
          <p:nvPr>
            <p:ph type="title"/>
          </p:nvPr>
        </p:nvSpPr>
        <p:spPr>
          <a:xfrm>
            <a:off x="479424" y="292150"/>
            <a:ext cx="8353425" cy="1081088"/>
          </a:xfrm>
        </p:spPr>
        <p:txBody>
          <a:bodyPr/>
          <a:lstStyle/>
          <a:p>
            <a:r>
              <a:rPr lang="sv-SE">
                <a:latin typeface="Ericsson Hilda" panose="00000500000000000000" pitchFamily="2" charset="0"/>
              </a:rPr>
              <a:t>Slutdiskussion</a:t>
            </a:r>
            <a:endParaRPr lang="en-US">
              <a:latin typeface="Ericsson Hilda" panose="00000500000000000000" pitchFamily="2" charset="0"/>
            </a:endParaRPr>
          </a:p>
        </p:txBody>
      </p:sp>
      <p:sp>
        <p:nvSpPr>
          <p:cNvPr id="9" name="Content Placeholder 2">
            <a:extLst>
              <a:ext uri="{FF2B5EF4-FFF2-40B4-BE49-F238E27FC236}">
                <a16:creationId xmlns:a16="http://schemas.microsoft.com/office/drawing/2014/main" id="{499140DB-6BC3-4EDD-92D3-1911C8E3BD65}"/>
              </a:ext>
            </a:extLst>
          </p:cNvPr>
          <p:cNvSpPr txBox="1">
            <a:spLocks/>
          </p:cNvSpPr>
          <p:nvPr/>
        </p:nvSpPr>
        <p:spPr>
          <a:xfrm>
            <a:off x="479425" y="1501774"/>
            <a:ext cx="5511724" cy="4838065"/>
          </a:xfrm>
          <a:prstGeom prst="rect">
            <a:avLst/>
          </a:prstGeom>
        </p:spPr>
        <p:txBody>
          <a:bodyPr lIns="91440" tIns="45720" rIns="91440" bIns="45720" anchor="t"/>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a:buNone/>
            </a:pPr>
            <a:r>
              <a:rPr lang="en-US" sz="3200" b="1" dirty="0" err="1">
                <a:latin typeface="Ericsson Hilda"/>
              </a:rPr>
              <a:t>Vad</a:t>
            </a:r>
            <a:r>
              <a:rPr lang="en-US" sz="3200" b="1" dirty="0">
                <a:latin typeface="Ericsson Hilda"/>
              </a:rPr>
              <a:t> </a:t>
            </a:r>
            <a:r>
              <a:rPr lang="en-US" sz="3200" b="1" dirty="0" err="1">
                <a:latin typeface="Ericsson Hilda"/>
              </a:rPr>
              <a:t>har</a:t>
            </a:r>
            <a:r>
              <a:rPr lang="en-US" sz="3200" b="1" dirty="0">
                <a:latin typeface="Ericsson Hilda"/>
              </a:rPr>
              <a:t> </a:t>
            </a:r>
            <a:r>
              <a:rPr lang="en-US" sz="3200" b="1" dirty="0" err="1">
                <a:latin typeface="Ericsson Hilda"/>
              </a:rPr>
              <a:t>gått</a:t>
            </a:r>
            <a:r>
              <a:rPr lang="en-US" sz="3200" b="1" dirty="0">
                <a:latin typeface="Ericsson Hilda"/>
              </a:rPr>
              <a:t> </a:t>
            </a:r>
            <a:r>
              <a:rPr lang="en-US" sz="3200" b="1" dirty="0" err="1">
                <a:latin typeface="Ericsson Hilda"/>
              </a:rPr>
              <a:t>mindre</a:t>
            </a:r>
            <a:r>
              <a:rPr lang="en-US" sz="3200" b="1" dirty="0">
                <a:latin typeface="Ericsson Hilda"/>
              </a:rPr>
              <a:t> bra?</a:t>
            </a:r>
            <a:r>
              <a:rPr lang="en-US" sz="3200" dirty="0">
                <a:latin typeface="Ericsson Hilda"/>
              </a:rPr>
              <a:t> </a:t>
            </a:r>
          </a:p>
        </p:txBody>
      </p:sp>
    </p:spTree>
    <p:extLst>
      <p:ext uri="{BB962C8B-B14F-4D97-AF65-F5344CB8AC3E}">
        <p14:creationId xmlns:p14="http://schemas.microsoft.com/office/powerpoint/2010/main" val="677562391"/>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2F7A877E-2FC2-4416-A6E9-AB0B278A0115}"/>
              </a:ext>
            </a:extLst>
          </p:cNvPr>
          <p:cNvSpPr/>
          <p:nvPr/>
        </p:nvSpPr>
        <p:spPr>
          <a:xfrm>
            <a:off x="11277600" y="309217"/>
            <a:ext cx="649357" cy="592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8" name="Title 10">
            <a:extLst>
              <a:ext uri="{FF2B5EF4-FFF2-40B4-BE49-F238E27FC236}">
                <a16:creationId xmlns:a16="http://schemas.microsoft.com/office/drawing/2014/main" id="{D404991A-1372-4640-9ED2-E8D7C5B945B0}"/>
              </a:ext>
            </a:extLst>
          </p:cNvPr>
          <p:cNvSpPr>
            <a:spLocks noGrp="1"/>
          </p:cNvSpPr>
          <p:nvPr>
            <p:ph type="title"/>
          </p:nvPr>
        </p:nvSpPr>
        <p:spPr>
          <a:xfrm>
            <a:off x="479424" y="292150"/>
            <a:ext cx="8353425" cy="1081088"/>
          </a:xfrm>
        </p:spPr>
        <p:txBody>
          <a:bodyPr/>
          <a:lstStyle/>
          <a:p>
            <a:r>
              <a:rPr lang="sv-SE">
                <a:latin typeface="Ericsson Hilda" panose="00000500000000000000" pitchFamily="2" charset="0"/>
              </a:rPr>
              <a:t>Slutdiskussion</a:t>
            </a:r>
            <a:endParaRPr lang="en-US">
              <a:latin typeface="Ericsson Hilda" panose="00000500000000000000" pitchFamily="2" charset="0"/>
            </a:endParaRPr>
          </a:p>
        </p:txBody>
      </p:sp>
      <p:sp>
        <p:nvSpPr>
          <p:cNvPr id="9" name="Content Placeholder 2">
            <a:extLst>
              <a:ext uri="{FF2B5EF4-FFF2-40B4-BE49-F238E27FC236}">
                <a16:creationId xmlns:a16="http://schemas.microsoft.com/office/drawing/2014/main" id="{499140DB-6BC3-4EDD-92D3-1911C8E3BD65}"/>
              </a:ext>
            </a:extLst>
          </p:cNvPr>
          <p:cNvSpPr txBox="1">
            <a:spLocks/>
          </p:cNvSpPr>
          <p:nvPr/>
        </p:nvSpPr>
        <p:spPr>
          <a:xfrm>
            <a:off x="479425" y="1501774"/>
            <a:ext cx="5511724" cy="4838065"/>
          </a:xfrm>
          <a:prstGeom prst="rect">
            <a:avLst/>
          </a:prstGeom>
        </p:spPr>
        <p:txBody>
          <a:bodyPr lIns="91440" tIns="45720" rIns="91440" bIns="45720" anchor="t"/>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a:buNone/>
            </a:pPr>
            <a:r>
              <a:rPr lang="en-US" sz="3200" b="1">
                <a:latin typeface="Ericsson Hilda"/>
              </a:rPr>
              <a:t>Förbättringsmöjligheter</a:t>
            </a:r>
            <a:endParaRPr lang="en-US" sz="3200" b="1" dirty="0">
              <a:latin typeface="Ericsson Hilda"/>
            </a:endParaRPr>
          </a:p>
        </p:txBody>
      </p:sp>
    </p:spTree>
    <p:extLst>
      <p:ext uri="{BB962C8B-B14F-4D97-AF65-F5344CB8AC3E}">
        <p14:creationId xmlns:p14="http://schemas.microsoft.com/office/powerpoint/2010/main" val="2706517719"/>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3" name="TextShape 1"/>
          <p:cNvSpPr txBox="1"/>
          <p:nvPr/>
        </p:nvSpPr>
        <p:spPr>
          <a:xfrm>
            <a:off x="479520" y="463028"/>
            <a:ext cx="8353080" cy="3457080"/>
          </a:xfrm>
          <a:prstGeom prst="rect">
            <a:avLst/>
          </a:prstGeom>
          <a:noFill/>
          <a:ln w="9360">
            <a:noFill/>
          </a:ln>
        </p:spPr>
        <p:txBody>
          <a:bodyPr lIns="72000" tIns="36000" rIns="73080" bIns="36720"/>
          <a:lstStyle/>
          <a:p>
            <a:pPr>
              <a:lnSpc>
                <a:spcPct val="100000"/>
              </a:lnSpc>
              <a:spcBef>
                <a:spcPts val="300"/>
              </a:spcBef>
            </a:pPr>
            <a:r>
              <a:rPr lang="en-US" sz="6000" b="0" strike="noStrike" spc="-157" dirty="0" err="1">
                <a:solidFill>
                  <a:srgbClr val="FFFFFF"/>
                </a:solidFill>
                <a:uFill>
                  <a:solidFill>
                    <a:srgbClr val="FFFFFF"/>
                  </a:solidFill>
                </a:uFill>
                <a:latin typeface="Ericsson Hilda Light"/>
              </a:rPr>
              <a:t>Frågor</a:t>
            </a:r>
            <a:r>
              <a:rPr lang="en-US" sz="6000" b="0" strike="noStrike" spc="-157" dirty="0">
                <a:solidFill>
                  <a:srgbClr val="FFFFFF"/>
                </a:solidFill>
                <a:uFill>
                  <a:solidFill>
                    <a:srgbClr val="FFFFFF"/>
                  </a:solidFill>
                </a:uFill>
                <a:latin typeface="Ericsson Hilda Light"/>
              </a:rPr>
              <a:t>?</a:t>
            </a:r>
            <a:endParaRPr lang="en-US" sz="6000" b="0" strike="noStrike" spc="-1" dirty="0">
              <a:solidFill>
                <a:srgbClr val="181818"/>
              </a:solidFill>
              <a:uFill>
                <a:solidFill>
                  <a:srgbClr val="FFFFFF"/>
                </a:solidFill>
              </a:uFill>
              <a:latin typeface="Ericsson Hilda"/>
            </a:endParaRPr>
          </a:p>
        </p:txBody>
      </p:sp>
      <p:sp>
        <p:nvSpPr>
          <p:cNvPr id="1934" name="TextShape 2"/>
          <p:cNvSpPr txBox="1"/>
          <p:nvPr/>
        </p:nvSpPr>
        <p:spPr>
          <a:xfrm>
            <a:off x="479520" y="4149720"/>
            <a:ext cx="5471640" cy="2087280"/>
          </a:xfrm>
          <a:prstGeom prst="rect">
            <a:avLst/>
          </a:prstGeom>
          <a:noFill/>
          <a:ln w="9360">
            <a:noFill/>
          </a:ln>
        </p:spPr>
        <p:txBody>
          <a:bodyPr lIns="72000" tIns="36000" rIns="0" bIns="36000" anchor="ctr"/>
          <a:lstStyle/>
          <a:p>
            <a:pPr algn="ctr"/>
            <a:endParaRPr lang="sv-SE" sz="3200" b="0" strike="noStrike" spc="-1">
              <a:solidFill>
                <a:srgbClr val="000000"/>
              </a:solidFill>
              <a:uFill>
                <a:solidFill>
                  <a:srgbClr val="FFFFFF"/>
                </a:solidFill>
              </a:uFill>
              <a:latin typeface="Arial"/>
            </a:endParaRPr>
          </a:p>
        </p:txBody>
      </p:sp>
      <p:sp>
        <p:nvSpPr>
          <p:cNvPr id="4" name="Rectangle 3">
            <a:extLst>
              <a:ext uri="{FF2B5EF4-FFF2-40B4-BE49-F238E27FC236}">
                <a16:creationId xmlns:a16="http://schemas.microsoft.com/office/drawing/2014/main" id="{7F680085-8CF8-4BC9-BED2-F838F6B9F41F}"/>
              </a:ext>
            </a:extLst>
          </p:cNvPr>
          <p:cNvSpPr/>
          <p:nvPr/>
        </p:nvSpPr>
        <p:spPr>
          <a:xfrm>
            <a:off x="11277600" y="309217"/>
            <a:ext cx="649357" cy="6493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971097228"/>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718" name="Picture 7"/>
          <p:cNvPicPr/>
          <p:nvPr/>
        </p:nvPicPr>
        <p:blipFill>
          <a:blip r:embed="rId2"/>
          <a:stretch/>
        </p:blipFill>
        <p:spPr>
          <a:xfrm>
            <a:off x="6129360" y="1566720"/>
            <a:ext cx="5304960" cy="1802880"/>
          </a:xfrm>
          <a:prstGeom prst="rect">
            <a:avLst/>
          </a:prstGeom>
          <a:ln>
            <a:solidFill>
              <a:schemeClr val="tx1"/>
            </a:solidFill>
          </a:ln>
        </p:spPr>
      </p:pic>
      <p:sp>
        <p:nvSpPr>
          <p:cNvPr id="1720" name="TextShape 2"/>
          <p:cNvSpPr txBox="1"/>
          <p:nvPr/>
        </p:nvSpPr>
        <p:spPr>
          <a:xfrm>
            <a:off x="479520" y="476280"/>
            <a:ext cx="5471640" cy="716400"/>
          </a:xfrm>
          <a:prstGeom prst="rect">
            <a:avLst/>
          </a:prstGeom>
          <a:noFill/>
          <a:ln w="9360">
            <a:noFill/>
          </a:ln>
        </p:spPr>
        <p:txBody>
          <a:bodyPr lIns="72000" tIns="36000" rIns="73080" bIns="36720">
            <a:normAutofit/>
          </a:bodyPr>
          <a:lstStyle/>
          <a:p>
            <a:pPr>
              <a:lnSpc>
                <a:spcPct val="100000"/>
              </a:lnSpc>
              <a:spcBef>
                <a:spcPts val="300"/>
              </a:spcBef>
            </a:pPr>
            <a:r>
              <a:rPr lang="en-US" sz="4000" b="0" strike="noStrike" spc="-157" dirty="0" err="1">
                <a:solidFill>
                  <a:srgbClr val="181818"/>
                </a:solidFill>
                <a:uFill>
                  <a:solidFill>
                    <a:srgbClr val="FFFFFF"/>
                  </a:solidFill>
                </a:uFill>
                <a:latin typeface="Ericsson Hilda Light"/>
              </a:rPr>
              <a:t>Addressering</a:t>
            </a:r>
            <a:r>
              <a:rPr lang="en-US" sz="4000" b="0" strike="noStrike" spc="-157" dirty="0">
                <a:solidFill>
                  <a:srgbClr val="181818"/>
                </a:solidFill>
                <a:uFill>
                  <a:solidFill>
                    <a:srgbClr val="FFFFFF"/>
                  </a:solidFill>
                </a:uFill>
                <a:latin typeface="Ericsson Hilda Light"/>
              </a:rPr>
              <a:t> av </a:t>
            </a:r>
            <a:r>
              <a:rPr lang="en-US" sz="4000" b="0" strike="noStrike" spc="-157" dirty="0" err="1">
                <a:solidFill>
                  <a:srgbClr val="181818"/>
                </a:solidFill>
                <a:uFill>
                  <a:solidFill>
                    <a:srgbClr val="FFFFFF"/>
                  </a:solidFill>
                </a:uFill>
                <a:latin typeface="Ericsson Hilda Light"/>
              </a:rPr>
              <a:t>pixlar</a:t>
            </a:r>
            <a:endParaRPr lang="en-US" sz="4000" b="0" strike="noStrike" spc="-1" dirty="0" err="1">
              <a:solidFill>
                <a:srgbClr val="181818"/>
              </a:solidFill>
              <a:uFill>
                <a:solidFill>
                  <a:srgbClr val="FFFFFF"/>
                </a:solidFill>
              </a:uFill>
              <a:latin typeface="Ericsson Hilda"/>
            </a:endParaRPr>
          </a:p>
        </p:txBody>
      </p:sp>
      <p:sp>
        <p:nvSpPr>
          <p:cNvPr id="1721" name="CustomShape 3"/>
          <p:cNvSpPr/>
          <p:nvPr/>
        </p:nvSpPr>
        <p:spPr>
          <a:xfrm>
            <a:off x="8286840" y="1109520"/>
            <a:ext cx="914040" cy="914040"/>
          </a:xfrm>
          <a:prstGeom prst="rect">
            <a:avLst/>
          </a:prstGeom>
          <a:noFill/>
          <a:ln w="12600">
            <a:noFill/>
          </a:ln>
        </p:spPr>
        <p:style>
          <a:lnRef idx="0">
            <a:scrgbClr r="0" g="0" b="0"/>
          </a:lnRef>
          <a:fillRef idx="0">
            <a:scrgbClr r="0" g="0" b="0"/>
          </a:fillRef>
          <a:effectRef idx="0">
            <a:scrgbClr r="0" g="0" b="0"/>
          </a:effectRef>
          <a:fontRef idx="minor"/>
        </p:style>
        <p:txBody>
          <a:bodyPr wrap="none" lIns="72000" tIns="36000" rIns="73080" bIns="36720"/>
          <a:lstStyle/>
          <a:p>
            <a:pPr>
              <a:lnSpc>
                <a:spcPct val="100000"/>
              </a:lnSpc>
            </a:pPr>
            <a:r>
              <a:rPr lang="sv-SE" sz="2000" b="0" strike="noStrike" spc="-1" dirty="0">
                <a:solidFill>
                  <a:srgbClr val="181818"/>
                </a:solidFill>
                <a:uFill>
                  <a:solidFill>
                    <a:srgbClr val="FFFFFF"/>
                  </a:solidFill>
                </a:uFill>
                <a:latin typeface="Ericsson Hilda"/>
              </a:rPr>
              <a:t>VRAM</a:t>
            </a:r>
            <a:endParaRPr lang="sv-SE" sz="2000" b="0" strike="noStrike" spc="-1" dirty="0">
              <a:solidFill>
                <a:srgbClr val="000000"/>
              </a:solidFill>
              <a:uFill>
                <a:solidFill>
                  <a:srgbClr val="FFFFFF"/>
                </a:solidFill>
              </a:uFill>
              <a:latin typeface="Arial"/>
            </a:endParaRPr>
          </a:p>
        </p:txBody>
      </p:sp>
      <p:sp>
        <p:nvSpPr>
          <p:cNvPr id="201" name="Rectangle 200">
            <a:extLst>
              <a:ext uri="{FF2B5EF4-FFF2-40B4-BE49-F238E27FC236}">
                <a16:creationId xmlns:a16="http://schemas.microsoft.com/office/drawing/2014/main" id="{3E4AEA8D-533C-45FE-BFFB-3E8133B8641B}"/>
              </a:ext>
            </a:extLst>
          </p:cNvPr>
          <p:cNvSpPr/>
          <p:nvPr/>
        </p:nvSpPr>
        <p:spPr>
          <a:xfrm>
            <a:off x="11277600" y="309217"/>
            <a:ext cx="649357" cy="592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 name="Rectangle 1">
            <a:extLst>
              <a:ext uri="{FF2B5EF4-FFF2-40B4-BE49-F238E27FC236}">
                <a16:creationId xmlns:a16="http://schemas.microsoft.com/office/drawing/2014/main" id="{B7CC54E8-03D1-419E-BF76-C9EFE23FB88D}"/>
              </a:ext>
            </a:extLst>
          </p:cNvPr>
          <p:cNvSpPr/>
          <p:nvPr/>
        </p:nvSpPr>
        <p:spPr>
          <a:xfrm>
            <a:off x="6096000" y="3781994"/>
            <a:ext cx="1920240" cy="4495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Ericsson Hilda" panose="00000500000000000000" pitchFamily="2" charset="0"/>
              </a:rPr>
              <a:t>Kommunikation med </a:t>
            </a:r>
            <a:r>
              <a:rPr lang="en-US" sz="1200" dirty="0" err="1">
                <a:solidFill>
                  <a:schemeClr val="tx1"/>
                </a:solidFill>
                <a:latin typeface="Ericsson Hilda" panose="00000500000000000000" pitchFamily="2" charset="0"/>
              </a:rPr>
              <a:t>övriga</a:t>
            </a:r>
            <a:r>
              <a:rPr lang="en-US" sz="1200" dirty="0">
                <a:solidFill>
                  <a:schemeClr val="tx1"/>
                </a:solidFill>
                <a:latin typeface="Ericsson Hilda" panose="00000500000000000000" pitchFamily="2" charset="0"/>
              </a:rPr>
              <a:t> </a:t>
            </a:r>
            <a:r>
              <a:rPr lang="en-US" sz="1200" dirty="0" err="1">
                <a:solidFill>
                  <a:schemeClr val="tx1"/>
                </a:solidFill>
                <a:latin typeface="Ericsson Hilda" panose="00000500000000000000" pitchFamily="2" charset="0"/>
              </a:rPr>
              <a:t>komponneter</a:t>
            </a:r>
            <a:r>
              <a:rPr lang="en-US" sz="1200" dirty="0">
                <a:solidFill>
                  <a:schemeClr val="tx1"/>
                </a:solidFill>
                <a:latin typeface="Ericsson Hilda" panose="00000500000000000000" pitchFamily="2" charset="0"/>
              </a:rPr>
              <a:t> (SPI)</a:t>
            </a:r>
            <a:endParaRPr lang="en-SE" sz="1200" dirty="0">
              <a:solidFill>
                <a:schemeClr val="tx1"/>
              </a:solidFill>
              <a:latin typeface="Ericsson Hilda" panose="00000500000000000000" pitchFamily="2" charset="0"/>
            </a:endParaRPr>
          </a:p>
        </p:txBody>
      </p:sp>
      <p:sp>
        <p:nvSpPr>
          <p:cNvPr id="203" name="Rectangle 202">
            <a:extLst>
              <a:ext uri="{FF2B5EF4-FFF2-40B4-BE49-F238E27FC236}">
                <a16:creationId xmlns:a16="http://schemas.microsoft.com/office/drawing/2014/main" id="{3403F74A-AA04-4A00-9FE3-275E36116698}"/>
              </a:ext>
            </a:extLst>
          </p:cNvPr>
          <p:cNvSpPr/>
          <p:nvPr/>
        </p:nvSpPr>
        <p:spPr>
          <a:xfrm>
            <a:off x="6096000" y="4979654"/>
            <a:ext cx="1920240" cy="4495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Ericsson Hilda" panose="00000500000000000000" pitchFamily="2" charset="0"/>
              </a:rPr>
              <a:t>Placeholder</a:t>
            </a:r>
            <a:endParaRPr lang="en-SE" sz="1200" dirty="0">
              <a:solidFill>
                <a:schemeClr val="tx1"/>
              </a:solidFill>
              <a:latin typeface="Ericsson Hilda" panose="00000500000000000000" pitchFamily="2" charset="0"/>
            </a:endParaRPr>
          </a:p>
        </p:txBody>
      </p:sp>
      <p:sp>
        <p:nvSpPr>
          <p:cNvPr id="204" name="Rectangle 203">
            <a:extLst>
              <a:ext uri="{FF2B5EF4-FFF2-40B4-BE49-F238E27FC236}">
                <a16:creationId xmlns:a16="http://schemas.microsoft.com/office/drawing/2014/main" id="{930CA7BC-FD2C-4FDF-B61D-38FED8FC2B63}"/>
              </a:ext>
            </a:extLst>
          </p:cNvPr>
          <p:cNvSpPr/>
          <p:nvPr/>
        </p:nvSpPr>
        <p:spPr>
          <a:xfrm>
            <a:off x="6096000" y="4380824"/>
            <a:ext cx="1920240" cy="4495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Ericsson Hilda" panose="00000500000000000000" pitchFamily="2" charset="0"/>
              </a:rPr>
              <a:t>Relevant </a:t>
            </a:r>
            <a:r>
              <a:rPr lang="en-US" sz="1200" dirty="0" err="1">
                <a:solidFill>
                  <a:schemeClr val="tx1"/>
                </a:solidFill>
                <a:latin typeface="Ericsson Hilda" panose="00000500000000000000" pitchFamily="2" charset="0"/>
              </a:rPr>
              <a:t>diodinformation</a:t>
            </a:r>
            <a:r>
              <a:rPr lang="en-US" sz="1200" dirty="0">
                <a:solidFill>
                  <a:schemeClr val="tx1"/>
                </a:solidFill>
                <a:latin typeface="Ericsson Hilda" panose="00000500000000000000" pitchFamily="2" charset="0"/>
              </a:rPr>
              <a:t> (</a:t>
            </a:r>
            <a:r>
              <a:rPr lang="en-US" sz="1200" dirty="0" err="1">
                <a:solidFill>
                  <a:schemeClr val="tx1"/>
                </a:solidFill>
                <a:latin typeface="Ericsson Hilda" panose="00000500000000000000" pitchFamily="2" charset="0"/>
              </a:rPr>
              <a:t>färg</a:t>
            </a:r>
            <a:r>
              <a:rPr lang="en-US" sz="1200" dirty="0">
                <a:solidFill>
                  <a:schemeClr val="tx1"/>
                </a:solidFill>
                <a:latin typeface="Ericsson Hilda" panose="00000500000000000000" pitchFamily="2" charset="0"/>
              </a:rPr>
              <a:t>, position) (VRAM)</a:t>
            </a:r>
            <a:endParaRPr lang="en-SE" sz="1200" dirty="0">
              <a:solidFill>
                <a:schemeClr val="tx1"/>
              </a:solidFill>
              <a:latin typeface="Ericsson Hilda" panose="00000500000000000000" pitchFamily="2" charset="0"/>
            </a:endParaRPr>
          </a:p>
        </p:txBody>
      </p:sp>
      <p:sp>
        <p:nvSpPr>
          <p:cNvPr id="205" name="TextBox 204">
            <a:extLst>
              <a:ext uri="{FF2B5EF4-FFF2-40B4-BE49-F238E27FC236}">
                <a16:creationId xmlns:a16="http://schemas.microsoft.com/office/drawing/2014/main" id="{94241CA3-2DBF-4167-8697-4666BB0545F0}"/>
              </a:ext>
            </a:extLst>
          </p:cNvPr>
          <p:cNvSpPr txBox="1"/>
          <p:nvPr/>
        </p:nvSpPr>
        <p:spPr>
          <a:xfrm>
            <a:off x="495720" y="1674360"/>
            <a:ext cx="4557600" cy="3754874"/>
          </a:xfrm>
          <a:prstGeom prst="rect">
            <a:avLst/>
          </a:prstGeom>
          <a:noFill/>
        </p:spPr>
        <p:txBody>
          <a:bodyPr wrap="square" rtlCol="0">
            <a:spAutoFit/>
          </a:bodyPr>
          <a:lstStyle/>
          <a:p>
            <a:pPr marL="344170" indent="-343535">
              <a:lnSpc>
                <a:spcPct val="100000"/>
              </a:lnSpc>
              <a:buClr>
                <a:srgbClr val="181818"/>
              </a:buClr>
              <a:buFont typeface="Ericsson Hilda Light"/>
              <a:buChar char="—"/>
            </a:pPr>
            <a:r>
              <a:rPr lang="sv-SE" sz="2000" b="0" strike="noStrike" spc="-1" dirty="0">
                <a:solidFill>
                  <a:srgbClr val="181818"/>
                </a:solidFill>
                <a:uFill>
                  <a:solidFill>
                    <a:srgbClr val="FFFFFF"/>
                  </a:solidFill>
                </a:uFill>
                <a:latin typeface="Ericsson Hilda" panose="00000500000000000000" pitchFamily="2" charset="0"/>
              </a:rPr>
              <a:t>Spelplan</a:t>
            </a:r>
          </a:p>
          <a:p>
            <a:pPr marL="344170" indent="-343535">
              <a:lnSpc>
                <a:spcPct val="100000"/>
              </a:lnSpc>
              <a:buClr>
                <a:srgbClr val="181818"/>
              </a:buClr>
              <a:buFont typeface="Ericsson Hilda Light"/>
              <a:buChar char="—"/>
            </a:pPr>
            <a:r>
              <a:rPr lang="sv-SE" sz="2000" b="0" strike="noStrike" spc="-1" dirty="0">
                <a:solidFill>
                  <a:srgbClr val="181818"/>
                </a:solidFill>
                <a:uFill>
                  <a:solidFill>
                    <a:srgbClr val="FFFFFF"/>
                  </a:solidFill>
                </a:uFill>
                <a:latin typeface="Ericsson Hilda" panose="00000500000000000000" pitchFamily="2" charset="0"/>
              </a:rPr>
              <a:t>LED Matris</a:t>
            </a:r>
          </a:p>
          <a:p>
            <a:pPr marL="801370" lvl="1" indent="-343535">
              <a:buClr>
                <a:srgbClr val="181818"/>
              </a:buClr>
              <a:buFont typeface="Ericsson Hilda Light"/>
              <a:buChar char="—"/>
            </a:pPr>
            <a:r>
              <a:rPr lang="sv-SE" sz="2000" spc="-1" dirty="0">
                <a:solidFill>
                  <a:srgbClr val="181818"/>
                </a:solidFill>
                <a:uFill>
                  <a:solidFill>
                    <a:srgbClr val="FFFFFF"/>
                  </a:solidFill>
                </a:uFill>
                <a:latin typeface="Ericsson Hilda" panose="00000500000000000000" pitchFamily="2" charset="0"/>
              </a:rPr>
              <a:t>64 dioder (8x8)</a:t>
            </a:r>
            <a:endParaRPr lang="sv-SE" sz="2000" b="0" strike="noStrike" spc="-1" dirty="0">
              <a:solidFill>
                <a:srgbClr val="181818"/>
              </a:solidFill>
              <a:uFill>
                <a:solidFill>
                  <a:srgbClr val="FFFFFF"/>
                </a:solidFill>
              </a:uFill>
              <a:latin typeface="Ericsson Hilda" panose="00000500000000000000" pitchFamily="2" charset="0"/>
            </a:endParaRPr>
          </a:p>
          <a:p>
            <a:pPr marL="344170" indent="-343535">
              <a:lnSpc>
                <a:spcPct val="100000"/>
              </a:lnSpc>
              <a:buClr>
                <a:srgbClr val="181818"/>
              </a:buClr>
              <a:buFont typeface="Ericsson Hilda Light"/>
              <a:buChar char="—"/>
            </a:pPr>
            <a:r>
              <a:rPr lang="sv-SE" sz="2000" spc="-1" dirty="0">
                <a:solidFill>
                  <a:srgbClr val="000000"/>
                </a:solidFill>
                <a:uFill>
                  <a:solidFill>
                    <a:srgbClr val="FFFFFF"/>
                  </a:solidFill>
                </a:uFill>
                <a:latin typeface="Ericsson Hilda" panose="00000500000000000000" pitchFamily="2" charset="0"/>
              </a:rPr>
              <a:t>3st </a:t>
            </a:r>
            <a:r>
              <a:rPr lang="sv-SE" sz="2000" spc="-1" dirty="0" err="1">
                <a:solidFill>
                  <a:srgbClr val="000000"/>
                </a:solidFill>
                <a:uFill>
                  <a:solidFill>
                    <a:srgbClr val="FFFFFF"/>
                  </a:solidFill>
                </a:uFill>
                <a:latin typeface="Ericsson Hilda" panose="00000500000000000000" pitchFamily="2" charset="0"/>
              </a:rPr>
              <a:t>DAmatrix</a:t>
            </a:r>
            <a:r>
              <a:rPr lang="sv-SE" sz="2000" spc="-1" dirty="0">
                <a:solidFill>
                  <a:srgbClr val="000000"/>
                </a:solidFill>
                <a:uFill>
                  <a:solidFill>
                    <a:srgbClr val="FFFFFF"/>
                  </a:solidFill>
                </a:uFill>
                <a:latin typeface="Ericsson Hilda" panose="00000500000000000000" pitchFamily="2" charset="0"/>
              </a:rPr>
              <a:t> används för att skapa en större spelplan (8x24)</a:t>
            </a:r>
          </a:p>
          <a:p>
            <a:pPr marL="344170" indent="-343535">
              <a:lnSpc>
                <a:spcPct val="100000"/>
              </a:lnSpc>
              <a:buClr>
                <a:srgbClr val="181818"/>
              </a:buClr>
              <a:buFont typeface="Ericsson Hilda Light"/>
              <a:buChar char="—"/>
            </a:pPr>
            <a:r>
              <a:rPr lang="sv-SE" sz="2000" spc="-1" dirty="0">
                <a:solidFill>
                  <a:srgbClr val="000000"/>
                </a:solidFill>
                <a:uFill>
                  <a:solidFill>
                    <a:srgbClr val="FFFFFF"/>
                  </a:solidFill>
                </a:uFill>
                <a:latin typeface="Ericsson Hilda" panose="00000500000000000000" pitchFamily="2" charset="0"/>
              </a:rPr>
              <a:t>Drivs med SPI</a:t>
            </a:r>
          </a:p>
          <a:p>
            <a:pPr marL="344170" indent="-343535">
              <a:lnSpc>
                <a:spcPct val="100000"/>
              </a:lnSpc>
              <a:buClr>
                <a:srgbClr val="181818"/>
              </a:buClr>
              <a:buFont typeface="Ericsson Hilda Light"/>
              <a:buChar char="—"/>
            </a:pPr>
            <a:endParaRPr lang="sv-SE" sz="2000" spc="-1">
              <a:solidFill>
                <a:srgbClr val="000000"/>
              </a:solidFill>
              <a:uFill>
                <a:solidFill>
                  <a:srgbClr val="FFFFFF"/>
                </a:solidFill>
              </a:uFill>
              <a:latin typeface="Ericsson Hilda" panose="00000500000000000000" pitchFamily="2" charset="0"/>
            </a:endParaRPr>
          </a:p>
          <a:p>
            <a:pPr marL="344170" indent="-343535">
              <a:lnSpc>
                <a:spcPct val="100000"/>
              </a:lnSpc>
              <a:buClr>
                <a:srgbClr val="181818"/>
              </a:buClr>
              <a:buFont typeface="Ericsson Hilda Light"/>
              <a:buChar char="—"/>
            </a:pPr>
            <a:r>
              <a:rPr lang="sv-SE" sz="2000" spc="-1" dirty="0">
                <a:solidFill>
                  <a:srgbClr val="000000"/>
                </a:solidFill>
                <a:uFill>
                  <a:solidFill>
                    <a:srgbClr val="FFFFFF"/>
                  </a:solidFill>
                </a:uFill>
                <a:latin typeface="Ericsson Hilda" panose="00000500000000000000" pitchFamily="2" charset="0"/>
              </a:rPr>
              <a:t>För att tända en diod behöver raden </a:t>
            </a:r>
            <a:r>
              <a:rPr lang="sv-SE" sz="2000" spc="-1" dirty="0" err="1">
                <a:solidFill>
                  <a:srgbClr val="000000"/>
                </a:solidFill>
                <a:uFill>
                  <a:solidFill>
                    <a:srgbClr val="FFFFFF"/>
                  </a:solidFill>
                </a:uFill>
                <a:latin typeface="Ericsson Hilda" panose="00000500000000000000" pitchFamily="2" charset="0"/>
              </a:rPr>
              <a:t>tilförses</a:t>
            </a:r>
            <a:r>
              <a:rPr lang="sv-SE" sz="2000" spc="-1" dirty="0">
                <a:solidFill>
                  <a:srgbClr val="000000"/>
                </a:solidFill>
                <a:uFill>
                  <a:solidFill>
                    <a:srgbClr val="FFFFFF"/>
                  </a:solidFill>
                </a:uFill>
                <a:latin typeface="Ericsson Hilda" panose="00000500000000000000" pitchFamily="2" charset="0"/>
              </a:rPr>
              <a:t> med positiv spänning samtidigt som diodens kolumn jordas</a:t>
            </a:r>
          </a:p>
          <a:p>
            <a:endParaRPr lang="en-SE"/>
          </a:p>
        </p:txBody>
      </p:sp>
      <p:cxnSp>
        <p:nvCxnSpPr>
          <p:cNvPr id="4" name="Straight Arrow Connector 3">
            <a:extLst>
              <a:ext uri="{FF2B5EF4-FFF2-40B4-BE49-F238E27FC236}">
                <a16:creationId xmlns:a16="http://schemas.microsoft.com/office/drawing/2014/main" id="{E1D26B6B-69FB-4B4C-ADB7-59E3AEC4F1BA}"/>
              </a:ext>
            </a:extLst>
          </p:cNvPr>
          <p:cNvCxnSpPr>
            <a:stCxn id="2" idx="2"/>
            <a:endCxn id="204" idx="0"/>
          </p:cNvCxnSpPr>
          <p:nvPr/>
        </p:nvCxnSpPr>
        <p:spPr>
          <a:xfrm>
            <a:off x="7056120" y="4231574"/>
            <a:ext cx="0" cy="14925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5B600736-93AD-4B67-99BC-072EA1E131D0}"/>
              </a:ext>
            </a:extLst>
          </p:cNvPr>
          <p:cNvCxnSpPr>
            <a:stCxn id="204" idx="2"/>
            <a:endCxn id="203" idx="0"/>
          </p:cNvCxnSpPr>
          <p:nvPr/>
        </p:nvCxnSpPr>
        <p:spPr>
          <a:xfrm>
            <a:off x="7056120" y="4830404"/>
            <a:ext cx="0" cy="14925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641B81EF-0E42-46BC-92C9-79B175E269E4}"/>
              </a:ext>
            </a:extLst>
          </p:cNvPr>
          <p:cNvCxnSpPr>
            <a:cxnSpLocks/>
            <a:stCxn id="204" idx="3"/>
            <a:endCxn id="1718" idx="2"/>
          </p:cNvCxnSpPr>
          <p:nvPr/>
        </p:nvCxnSpPr>
        <p:spPr>
          <a:xfrm flipV="1">
            <a:off x="8016240" y="3369600"/>
            <a:ext cx="765600" cy="123601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4848144"/>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03" name="CustomShape 2"/>
          <p:cNvSpPr/>
          <p:nvPr/>
        </p:nvSpPr>
        <p:spPr>
          <a:xfrm>
            <a:off x="4950720" y="784440"/>
            <a:ext cx="1827720" cy="892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DAvid </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Hårdvarumiljö för spelutveckling I TSIU51.</a:t>
            </a:r>
            <a:endParaRPr lang="sv-SE" sz="1100" b="0" strike="noStrike" spc="-1">
              <a:solidFill>
                <a:srgbClr val="000000"/>
              </a:solidFill>
              <a:uFill>
                <a:solidFill>
                  <a:srgbClr val="FFFFFF"/>
                </a:solidFill>
              </a:uFill>
              <a:latin typeface="Arial"/>
            </a:endParaRPr>
          </a:p>
        </p:txBody>
      </p:sp>
      <p:sp>
        <p:nvSpPr>
          <p:cNvPr id="1704" name="CustomShape 3"/>
          <p:cNvSpPr/>
          <p:nvPr/>
        </p:nvSpPr>
        <p:spPr>
          <a:xfrm>
            <a:off x="419400" y="2211840"/>
            <a:ext cx="1827720" cy="878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DAmatrix</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Spelskärm.</a:t>
            </a:r>
            <a:endParaRPr lang="sv-SE" sz="1100" b="0" strike="noStrike" spc="-1">
              <a:solidFill>
                <a:srgbClr val="000000"/>
              </a:solidFill>
              <a:uFill>
                <a:solidFill>
                  <a:srgbClr val="FFFFFF"/>
                </a:solidFill>
              </a:uFill>
              <a:latin typeface="Arial"/>
            </a:endParaRPr>
          </a:p>
        </p:txBody>
      </p:sp>
      <p:sp>
        <p:nvSpPr>
          <p:cNvPr id="1705" name="CustomShape 4"/>
          <p:cNvSpPr/>
          <p:nvPr/>
        </p:nvSpPr>
        <p:spPr>
          <a:xfrm>
            <a:off x="7216200" y="2198520"/>
            <a:ext cx="1827720" cy="892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Knappar</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Möjligöra diverse rörelser för spelaren.</a:t>
            </a:r>
            <a:endParaRPr lang="sv-SE" sz="1100" b="0" strike="noStrike" spc="-1">
              <a:solidFill>
                <a:srgbClr val="000000"/>
              </a:solidFill>
              <a:uFill>
                <a:solidFill>
                  <a:srgbClr val="FFFFFF"/>
                </a:solidFill>
              </a:uFill>
              <a:latin typeface="Arial"/>
            </a:endParaRPr>
          </a:p>
        </p:txBody>
      </p:sp>
      <p:sp>
        <p:nvSpPr>
          <p:cNvPr id="1706" name="CustomShape 5"/>
          <p:cNvSpPr/>
          <p:nvPr/>
        </p:nvSpPr>
        <p:spPr>
          <a:xfrm>
            <a:off x="2685240" y="2211840"/>
            <a:ext cx="1827720" cy="878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Högtalare</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 </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Spela upp ljud vid start och slut.</a:t>
            </a:r>
            <a:endParaRPr lang="sv-SE" sz="1100" b="0" strike="noStrike" spc="-1">
              <a:solidFill>
                <a:srgbClr val="000000"/>
              </a:solidFill>
              <a:uFill>
                <a:solidFill>
                  <a:srgbClr val="FFFFFF"/>
                </a:solidFill>
              </a:uFill>
              <a:latin typeface="Arial"/>
            </a:endParaRPr>
          </a:p>
        </p:txBody>
      </p:sp>
      <p:sp>
        <p:nvSpPr>
          <p:cNvPr id="1707" name="CustomShape 6"/>
          <p:cNvSpPr/>
          <p:nvPr/>
        </p:nvSpPr>
        <p:spPr>
          <a:xfrm>
            <a:off x="4950720" y="2198520"/>
            <a:ext cx="1827720" cy="892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Sjusegment</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Visa poäng spelaren har.</a:t>
            </a:r>
            <a:endParaRPr lang="sv-SE" sz="1100" b="0" strike="noStrike" spc="-1">
              <a:solidFill>
                <a:srgbClr val="000000"/>
              </a:solidFill>
              <a:uFill>
                <a:solidFill>
                  <a:srgbClr val="FFFFFF"/>
                </a:solidFill>
              </a:uFill>
              <a:latin typeface="Arial"/>
            </a:endParaRPr>
          </a:p>
        </p:txBody>
      </p:sp>
      <p:sp>
        <p:nvSpPr>
          <p:cNvPr id="1708" name="CustomShape 7"/>
          <p:cNvSpPr/>
          <p:nvPr/>
        </p:nvSpPr>
        <p:spPr>
          <a:xfrm>
            <a:off x="9482040" y="2211840"/>
            <a:ext cx="1790640" cy="892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LCD Display</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 </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Välja när spelet startar/slutar</a:t>
            </a:r>
            <a:endParaRPr lang="sv-SE" sz="1100" b="0" strike="noStrike" spc="-1">
              <a:solidFill>
                <a:srgbClr val="000000"/>
              </a:solidFill>
              <a:uFill>
                <a:solidFill>
                  <a:srgbClr val="FFFFFF"/>
                </a:solidFill>
              </a:uFill>
              <a:latin typeface="Arial"/>
            </a:endParaRPr>
          </a:p>
        </p:txBody>
      </p:sp>
      <p:sp>
        <p:nvSpPr>
          <p:cNvPr id="1709" name="CustomShape 8"/>
          <p:cNvSpPr/>
          <p:nvPr/>
        </p:nvSpPr>
        <p:spPr>
          <a:xfrm>
            <a:off x="9482040" y="5618160"/>
            <a:ext cx="1873440" cy="8920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SPI</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Kommunikationsprotokoll.</a:t>
            </a:r>
            <a:endParaRPr lang="sv-SE" sz="1100" b="0" strike="noStrike" spc="-1">
              <a:solidFill>
                <a:srgbClr val="000000"/>
              </a:solidFill>
              <a:uFill>
                <a:solidFill>
                  <a:srgbClr val="FFFFFF"/>
                </a:solidFill>
              </a:uFill>
              <a:latin typeface="Arial"/>
            </a:endParaRPr>
          </a:p>
        </p:txBody>
      </p:sp>
      <p:sp>
        <p:nvSpPr>
          <p:cNvPr id="1710" name="CustomShape 9"/>
          <p:cNvSpPr/>
          <p:nvPr/>
        </p:nvSpPr>
        <p:spPr>
          <a:xfrm>
            <a:off x="9440280" y="4513320"/>
            <a:ext cx="1873440" cy="8920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TWI</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Kommunikationsprotokoll.</a:t>
            </a:r>
            <a:endParaRPr lang="sv-SE" sz="1100" b="0" strike="noStrike" spc="-1">
              <a:solidFill>
                <a:srgbClr val="000000"/>
              </a:solidFill>
              <a:uFill>
                <a:solidFill>
                  <a:srgbClr val="FFFFFF"/>
                </a:solidFill>
              </a:uFill>
              <a:latin typeface="Arial"/>
            </a:endParaRPr>
          </a:p>
        </p:txBody>
      </p:sp>
      <p:sp>
        <p:nvSpPr>
          <p:cNvPr id="1711" name="CustomShape 10"/>
          <p:cNvSpPr/>
          <p:nvPr/>
        </p:nvSpPr>
        <p:spPr>
          <a:xfrm rot="16200000" flipH="1">
            <a:off x="3920040" y="503640"/>
            <a:ext cx="2973240" cy="8147880"/>
          </a:xfrm>
          <a:prstGeom prst="bentConnector2">
            <a:avLst/>
          </a:prstGeom>
          <a:solidFill>
            <a:schemeClr val="accent1"/>
          </a:solidFill>
          <a:ln w="38160">
            <a:solidFill>
              <a:schemeClr val="accent4"/>
            </a:solidFill>
            <a:round/>
            <a:tailEnd type="triangle" w="med" len="med"/>
          </a:ln>
        </p:spPr>
        <p:style>
          <a:lnRef idx="0">
            <a:scrgbClr r="0" g="0" b="0"/>
          </a:lnRef>
          <a:fillRef idx="0">
            <a:scrgbClr r="0" g="0" b="0"/>
          </a:fillRef>
          <a:effectRef idx="0">
            <a:scrgbClr r="0" g="0" b="0"/>
          </a:effectRef>
          <a:fontRef idx="minor"/>
        </p:style>
      </p:sp>
      <p:sp>
        <p:nvSpPr>
          <p:cNvPr id="1712" name="CustomShape 11"/>
          <p:cNvSpPr/>
          <p:nvPr/>
        </p:nvSpPr>
        <p:spPr>
          <a:xfrm flipH="1" flipV="1">
            <a:off x="6778080" y="1229760"/>
            <a:ext cx="4576680" cy="4833720"/>
          </a:xfrm>
          <a:prstGeom prst="bentConnector3">
            <a:avLst>
              <a:gd name="adj1" fmla="val -11738"/>
            </a:avLst>
          </a:prstGeom>
          <a:solidFill>
            <a:schemeClr val="accent1"/>
          </a:solidFill>
          <a:ln w="38160">
            <a:solidFill>
              <a:schemeClr val="accent4"/>
            </a:solidFill>
            <a:round/>
            <a:tailEnd type="triangle" w="med" len="med"/>
          </a:ln>
        </p:spPr>
        <p:style>
          <a:lnRef idx="0">
            <a:scrgbClr r="0" g="0" b="0"/>
          </a:lnRef>
          <a:fillRef idx="0">
            <a:scrgbClr r="0" g="0" b="0"/>
          </a:fillRef>
          <a:effectRef idx="0">
            <a:scrgbClr r="0" g="0" b="0"/>
          </a:effectRef>
          <a:fontRef idx="minor"/>
        </p:style>
      </p:sp>
      <p:sp>
        <p:nvSpPr>
          <p:cNvPr id="1713" name="CustomShape 12"/>
          <p:cNvSpPr/>
          <p:nvPr/>
        </p:nvSpPr>
        <p:spPr>
          <a:xfrm rot="16200000" flipH="1">
            <a:off x="6717240" y="2237760"/>
            <a:ext cx="1868400" cy="3575160"/>
          </a:xfrm>
          <a:prstGeom prst="bentConnector2">
            <a:avLst/>
          </a:prstGeom>
          <a:solidFill>
            <a:schemeClr val="accent1"/>
          </a:solidFill>
          <a:ln w="38160">
            <a:solidFill>
              <a:schemeClr val="accent5"/>
            </a:solidFill>
            <a:round/>
            <a:tailEnd type="triangle" w="med" len="med"/>
          </a:ln>
        </p:spPr>
        <p:style>
          <a:lnRef idx="0">
            <a:scrgbClr r="0" g="0" b="0"/>
          </a:lnRef>
          <a:fillRef idx="0">
            <a:scrgbClr r="0" g="0" b="0"/>
          </a:fillRef>
          <a:effectRef idx="0">
            <a:scrgbClr r="0" g="0" b="0"/>
          </a:effectRef>
          <a:fontRef idx="minor"/>
        </p:style>
      </p:sp>
      <p:sp>
        <p:nvSpPr>
          <p:cNvPr id="1714" name="CustomShape 13"/>
          <p:cNvSpPr/>
          <p:nvPr/>
        </p:nvSpPr>
        <p:spPr>
          <a:xfrm rot="16200000" flipH="1">
            <a:off x="7851240" y="3370680"/>
            <a:ext cx="1868400" cy="1309680"/>
          </a:xfrm>
          <a:prstGeom prst="bentConnector2">
            <a:avLst/>
          </a:prstGeom>
          <a:solidFill>
            <a:schemeClr val="accent1"/>
          </a:solidFill>
          <a:ln w="38160">
            <a:solidFill>
              <a:schemeClr val="accent5"/>
            </a:solidFill>
            <a:round/>
            <a:tailEnd type="triangle" w="med" len="med"/>
          </a:ln>
        </p:spPr>
        <p:style>
          <a:lnRef idx="0">
            <a:scrgbClr r="0" g="0" b="0"/>
          </a:lnRef>
          <a:fillRef idx="0">
            <a:scrgbClr r="0" g="0" b="0"/>
          </a:fillRef>
          <a:effectRef idx="0">
            <a:scrgbClr r="0" g="0" b="0"/>
          </a:effectRef>
          <a:fontRef idx="minor"/>
        </p:style>
      </p:sp>
      <p:sp>
        <p:nvSpPr>
          <p:cNvPr id="1715" name="CustomShape 14"/>
          <p:cNvSpPr/>
          <p:nvPr/>
        </p:nvSpPr>
        <p:spPr>
          <a:xfrm flipH="1" flipV="1">
            <a:off x="6823800" y="1225800"/>
            <a:ext cx="4576680" cy="3728520"/>
          </a:xfrm>
          <a:prstGeom prst="bentConnector3">
            <a:avLst>
              <a:gd name="adj1" fmla="val -6244"/>
            </a:avLst>
          </a:prstGeom>
          <a:solidFill>
            <a:schemeClr val="accent1"/>
          </a:solidFill>
          <a:ln w="38160">
            <a:solidFill>
              <a:schemeClr val="accent5"/>
            </a:solidFill>
            <a:round/>
            <a:tailEnd type="triangle" w="med" len="med"/>
          </a:ln>
        </p:spPr>
        <p:style>
          <a:lnRef idx="0">
            <a:scrgbClr r="0" g="0" b="0"/>
          </a:lnRef>
          <a:fillRef idx="0">
            <a:scrgbClr r="0" g="0" b="0"/>
          </a:fillRef>
          <a:effectRef idx="0">
            <a:scrgbClr r="0" g="0" b="0"/>
          </a:effectRef>
          <a:fontRef idx="minor"/>
        </p:style>
      </p:sp>
      <p:sp>
        <p:nvSpPr>
          <p:cNvPr id="1716" name="CustomShape 15"/>
          <p:cNvSpPr/>
          <p:nvPr/>
        </p:nvSpPr>
        <p:spPr>
          <a:xfrm rot="5400000" flipH="1" flipV="1">
            <a:off x="4259160" y="570240"/>
            <a:ext cx="1859760" cy="3179520"/>
          </a:xfrm>
          <a:prstGeom prst="bentConnector4">
            <a:avLst>
              <a:gd name="adj1" fmla="val -130567"/>
              <a:gd name="adj2" fmla="val 266462"/>
            </a:avLst>
          </a:prstGeom>
          <a:solidFill>
            <a:schemeClr val="accent1"/>
          </a:solidFill>
          <a:ln w="38160">
            <a:solidFill>
              <a:schemeClr val="tx1"/>
            </a:solidFill>
            <a:round/>
            <a:tailEnd type="triangle" w="med" len="med"/>
          </a:ln>
        </p:spPr>
        <p:style>
          <a:lnRef idx="0">
            <a:scrgbClr r="0" g="0" b="0"/>
          </a:lnRef>
          <a:fillRef idx="0">
            <a:scrgbClr r="0" g="0" b="0"/>
          </a:fillRef>
          <a:effectRef idx="0">
            <a:scrgbClr r="0" g="0" b="0"/>
          </a:effectRef>
          <a:fontRef idx="minor"/>
        </p:style>
      </p:sp>
      <p:sp>
        <p:nvSpPr>
          <p:cNvPr id="1717" name="CustomShape 16"/>
          <p:cNvSpPr/>
          <p:nvPr/>
        </p:nvSpPr>
        <p:spPr>
          <a:xfrm>
            <a:off x="10377360" y="3104280"/>
            <a:ext cx="360" cy="1408680"/>
          </a:xfrm>
          <a:custGeom>
            <a:avLst/>
            <a:gdLst/>
            <a:ahLst/>
            <a:cxnLst/>
            <a:rect l="l" t="t" r="r" b="b"/>
            <a:pathLst>
              <a:path w="21600" h="21600">
                <a:moveTo>
                  <a:pt x="0" y="0"/>
                </a:moveTo>
                <a:lnTo>
                  <a:pt x="21600" y="21600"/>
                </a:lnTo>
              </a:path>
            </a:pathLst>
          </a:custGeom>
          <a:solidFill>
            <a:schemeClr val="accent1"/>
          </a:solidFill>
          <a:ln w="38160">
            <a:solidFill>
              <a:schemeClr val="accent5"/>
            </a:solidFill>
            <a:round/>
            <a:tailEnd type="triangle" w="med" len="med"/>
          </a:ln>
        </p:spPr>
        <p:style>
          <a:lnRef idx="0">
            <a:scrgbClr r="0" g="0" b="0"/>
          </a:lnRef>
          <a:fillRef idx="0">
            <a:scrgbClr r="0" g="0" b="0"/>
          </a:fillRef>
          <a:effectRef idx="0">
            <a:scrgbClr r="0" g="0" b="0"/>
          </a:effectRef>
          <a:fontRef idx="minor"/>
        </p:style>
      </p:sp>
      <p:sp>
        <p:nvSpPr>
          <p:cNvPr id="18" name="TextShape 2">
            <a:extLst>
              <a:ext uri="{FF2B5EF4-FFF2-40B4-BE49-F238E27FC236}">
                <a16:creationId xmlns:a16="http://schemas.microsoft.com/office/drawing/2014/main" id="{78814215-0367-481C-9C55-4D1E578BA9A6}"/>
              </a:ext>
            </a:extLst>
          </p:cNvPr>
          <p:cNvSpPr txBox="1"/>
          <p:nvPr/>
        </p:nvSpPr>
        <p:spPr>
          <a:xfrm>
            <a:off x="479520" y="476280"/>
            <a:ext cx="4096897" cy="749520"/>
          </a:xfrm>
          <a:prstGeom prst="rect">
            <a:avLst/>
          </a:prstGeom>
          <a:noFill/>
          <a:ln w="9360">
            <a:noFill/>
          </a:ln>
        </p:spPr>
        <p:txBody>
          <a:bodyPr lIns="72000" tIns="36000" rIns="73080" bIns="36720">
            <a:normAutofit/>
          </a:bodyPr>
          <a:lstStyle/>
          <a:p>
            <a:pPr>
              <a:lnSpc>
                <a:spcPct val="100000"/>
              </a:lnSpc>
              <a:spcBef>
                <a:spcPts val="300"/>
              </a:spcBef>
            </a:pPr>
            <a:r>
              <a:rPr lang="en-US" sz="4000" b="0" strike="noStrike" spc="-157" err="1">
                <a:solidFill>
                  <a:srgbClr val="181818"/>
                </a:solidFill>
                <a:uFill>
                  <a:solidFill>
                    <a:srgbClr val="FFFFFF"/>
                  </a:solidFill>
                </a:uFill>
                <a:latin typeface="Ericsson Hilda Light"/>
              </a:rPr>
              <a:t>Komponenter</a:t>
            </a:r>
            <a:endParaRPr lang="en-US" sz="4000" b="0" strike="noStrike" spc="-1">
              <a:solidFill>
                <a:srgbClr val="181818"/>
              </a:solidFill>
              <a:uFill>
                <a:solidFill>
                  <a:srgbClr val="FFFFFF"/>
                </a:solidFill>
              </a:uFill>
              <a:latin typeface="Ericsson Hilda"/>
            </a:endParaRPr>
          </a:p>
        </p:txBody>
      </p:sp>
      <p:sp>
        <p:nvSpPr>
          <p:cNvPr id="19" name="Rectangle 18">
            <a:extLst>
              <a:ext uri="{FF2B5EF4-FFF2-40B4-BE49-F238E27FC236}">
                <a16:creationId xmlns:a16="http://schemas.microsoft.com/office/drawing/2014/main" id="{4FD7642C-D224-4601-9886-17A950AC3206}"/>
              </a:ext>
            </a:extLst>
          </p:cNvPr>
          <p:cNvSpPr/>
          <p:nvPr/>
        </p:nvSpPr>
        <p:spPr>
          <a:xfrm>
            <a:off x="11277600" y="309217"/>
            <a:ext cx="649357" cy="592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897045579"/>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17" name="TextShape 1"/>
          <p:cNvSpPr txBox="1"/>
          <p:nvPr/>
        </p:nvSpPr>
        <p:spPr>
          <a:xfrm>
            <a:off x="479520" y="476280"/>
            <a:ext cx="8353080" cy="1080720"/>
          </a:xfrm>
          <a:prstGeom prst="rect">
            <a:avLst/>
          </a:prstGeom>
          <a:noFill/>
          <a:ln w="9360">
            <a:noFill/>
          </a:ln>
        </p:spPr>
        <p:txBody>
          <a:bodyPr lIns="72000" tIns="36000" rIns="73080" bIns="36720"/>
          <a:lstStyle/>
          <a:p>
            <a:pPr>
              <a:lnSpc>
                <a:spcPct val="100000"/>
              </a:lnSpc>
              <a:spcBef>
                <a:spcPts val="300"/>
              </a:spcBef>
            </a:pPr>
            <a:r>
              <a:rPr lang="en-US" sz="4000" b="0" strike="noStrike" spc="-157">
                <a:solidFill>
                  <a:srgbClr val="FFFFFF"/>
                </a:solidFill>
                <a:uFill>
                  <a:solidFill>
                    <a:srgbClr val="FFFFFF"/>
                  </a:solidFill>
                </a:uFill>
                <a:latin typeface="Ericsson Hilda Light"/>
              </a:rPr>
              <a:t>Time plan</a:t>
            </a:r>
            <a:endParaRPr lang="en-US" sz="4000" b="0" strike="noStrike" spc="-1">
              <a:solidFill>
                <a:srgbClr val="181818"/>
              </a:solidFill>
              <a:uFill>
                <a:solidFill>
                  <a:srgbClr val="FFFFFF"/>
                </a:solidFill>
              </a:uFill>
              <a:latin typeface="Ericsson Hilda"/>
            </a:endParaRPr>
          </a:p>
        </p:txBody>
      </p:sp>
      <p:sp>
        <p:nvSpPr>
          <p:cNvPr id="1918" name="CustomShape 2"/>
          <p:cNvSpPr/>
          <p:nvPr/>
        </p:nvSpPr>
        <p:spPr>
          <a:xfrm>
            <a:off x="479520" y="2867040"/>
            <a:ext cx="11232720" cy="360"/>
          </a:xfrm>
          <a:custGeom>
            <a:avLst/>
            <a:gdLst/>
            <a:ahLst/>
            <a:cxnLst/>
            <a:rect l="l" t="t" r="r" b="b"/>
            <a:pathLst>
              <a:path w="21600" h="21600">
                <a:moveTo>
                  <a:pt x="0" y="0"/>
                </a:moveTo>
                <a:lnTo>
                  <a:pt x="21600" y="21600"/>
                </a:lnTo>
              </a:path>
            </a:pathLst>
          </a:custGeom>
          <a:noFill/>
          <a:ln w="19080">
            <a:solidFill>
              <a:srgbClr val="FFFFFF"/>
            </a:solidFill>
            <a:round/>
            <a:tailEnd type="triangle" w="lg" len="lg"/>
          </a:ln>
        </p:spPr>
        <p:style>
          <a:lnRef idx="0">
            <a:scrgbClr r="0" g="0" b="0"/>
          </a:lnRef>
          <a:fillRef idx="0">
            <a:scrgbClr r="0" g="0" b="0"/>
          </a:fillRef>
          <a:effectRef idx="0">
            <a:scrgbClr r="0" g="0" b="0"/>
          </a:effectRef>
          <a:fontRef idx="minor"/>
        </p:style>
      </p:sp>
      <p:sp>
        <p:nvSpPr>
          <p:cNvPr id="1919" name="CustomShape 3"/>
          <p:cNvSpPr/>
          <p:nvPr/>
        </p:nvSpPr>
        <p:spPr>
          <a:xfrm>
            <a:off x="882720" y="3180960"/>
            <a:ext cx="1828440" cy="243720"/>
          </a:xfrm>
          <a:prstGeom prst="rect">
            <a:avLst/>
          </a:prstGeom>
          <a:noFill/>
          <a:ln>
            <a:noFill/>
          </a:ln>
        </p:spPr>
        <p:style>
          <a:lnRef idx="0">
            <a:scrgbClr r="0" g="0" b="0"/>
          </a:lnRef>
          <a:fillRef idx="0">
            <a:scrgbClr r="0" g="0" b="0"/>
          </a:fillRef>
          <a:effectRef idx="0">
            <a:scrgbClr r="0" g="0" b="0"/>
          </a:effectRef>
          <a:fontRef idx="minor"/>
        </p:style>
        <p:txBody>
          <a:bodyPr lIns="0" tIns="0" rIns="0" bIns="0"/>
          <a:lstStyle/>
          <a:p>
            <a:pPr>
              <a:lnSpc>
                <a:spcPct val="100000"/>
              </a:lnSpc>
            </a:pPr>
            <a:r>
              <a:rPr lang="sv-SE" sz="1600" b="0" strike="noStrike" spc="-1">
                <a:solidFill>
                  <a:srgbClr val="FFFFFF"/>
                </a:solidFill>
                <a:uFill>
                  <a:solidFill>
                    <a:srgbClr val="FFFFFF"/>
                  </a:solidFill>
                </a:uFill>
                <a:latin typeface="Ericsson Hilda"/>
              </a:rPr>
              <a:t>Action:</a:t>
            </a:r>
            <a:endParaRPr lang="sv-SE" sz="1600" b="0" strike="noStrike" spc="-1">
              <a:solidFill>
                <a:srgbClr val="000000"/>
              </a:solidFill>
              <a:uFill>
                <a:solidFill>
                  <a:srgbClr val="FFFFFF"/>
                </a:solidFill>
              </a:uFill>
              <a:latin typeface="Arial"/>
            </a:endParaRPr>
          </a:p>
        </p:txBody>
      </p:sp>
      <p:sp>
        <p:nvSpPr>
          <p:cNvPr id="1920" name="CustomShape 4"/>
          <p:cNvSpPr/>
          <p:nvPr/>
        </p:nvSpPr>
        <p:spPr>
          <a:xfrm flipH="1">
            <a:off x="812160" y="2217600"/>
            <a:ext cx="1294560" cy="517680"/>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lstStyle/>
          <a:p>
            <a:pPr algn="ctr">
              <a:lnSpc>
                <a:spcPct val="100000"/>
              </a:lnSpc>
            </a:pPr>
            <a:r>
              <a:rPr lang="sv-SE" sz="2800" b="0" strike="noStrike" spc="-1">
                <a:solidFill>
                  <a:srgbClr val="FFFFFF"/>
                </a:solidFill>
                <a:uFill>
                  <a:solidFill>
                    <a:srgbClr val="FFFFFF"/>
                  </a:solidFill>
                </a:uFill>
                <a:latin typeface="Ericsson Hilda Light"/>
              </a:rPr>
              <a:t>January</a:t>
            </a:r>
            <a:endParaRPr lang="sv-SE" sz="2800" b="0" strike="noStrike" spc="-1">
              <a:solidFill>
                <a:srgbClr val="000000"/>
              </a:solidFill>
              <a:uFill>
                <a:solidFill>
                  <a:srgbClr val="FFFFFF"/>
                </a:solidFill>
              </a:uFill>
              <a:latin typeface="Arial"/>
            </a:endParaRPr>
          </a:p>
        </p:txBody>
      </p:sp>
      <p:sp>
        <p:nvSpPr>
          <p:cNvPr id="1921" name="CustomShape 5"/>
          <p:cNvSpPr/>
          <p:nvPr/>
        </p:nvSpPr>
        <p:spPr>
          <a:xfrm>
            <a:off x="1177920" y="2757960"/>
            <a:ext cx="212760" cy="217800"/>
          </a:xfrm>
          <a:prstGeom prst="ellipse">
            <a:avLst/>
          </a:prstGeom>
          <a:solidFill>
            <a:schemeClr val="accent1"/>
          </a:solidFill>
          <a:ln w="19080">
            <a:solidFill>
              <a:schemeClr val="bg1"/>
            </a:solidFill>
            <a:round/>
          </a:ln>
        </p:spPr>
        <p:style>
          <a:lnRef idx="0">
            <a:scrgbClr r="0" g="0" b="0"/>
          </a:lnRef>
          <a:fillRef idx="0">
            <a:scrgbClr r="0" g="0" b="0"/>
          </a:fillRef>
          <a:effectRef idx="0">
            <a:scrgbClr r="0" g="0" b="0"/>
          </a:effectRef>
          <a:fontRef idx="minor"/>
        </p:style>
      </p:sp>
      <p:sp>
        <p:nvSpPr>
          <p:cNvPr id="1922" name="CustomShape 6"/>
          <p:cNvSpPr/>
          <p:nvPr/>
        </p:nvSpPr>
        <p:spPr>
          <a:xfrm>
            <a:off x="3879720" y="3181320"/>
            <a:ext cx="1828440" cy="486360"/>
          </a:xfrm>
          <a:prstGeom prst="rect">
            <a:avLst/>
          </a:prstGeom>
          <a:noFill/>
          <a:ln>
            <a:noFill/>
          </a:ln>
        </p:spPr>
        <p:style>
          <a:lnRef idx="0">
            <a:scrgbClr r="0" g="0" b="0"/>
          </a:lnRef>
          <a:fillRef idx="0">
            <a:scrgbClr r="0" g="0" b="0"/>
          </a:fillRef>
          <a:effectRef idx="0">
            <a:scrgbClr r="0" g="0" b="0"/>
          </a:effectRef>
          <a:fontRef idx="minor"/>
        </p:style>
        <p:txBody>
          <a:bodyPr lIns="0" tIns="0" rIns="0" bIns="0"/>
          <a:lstStyle/>
          <a:p>
            <a:pPr>
              <a:lnSpc>
                <a:spcPct val="100000"/>
              </a:lnSpc>
            </a:pPr>
            <a:r>
              <a:rPr lang="sv-SE" sz="1600" b="0" strike="noStrike" spc="-1">
                <a:solidFill>
                  <a:srgbClr val="FFFFFF"/>
                </a:solidFill>
                <a:uFill>
                  <a:solidFill>
                    <a:srgbClr val="FFFFFF"/>
                  </a:solidFill>
                </a:uFill>
                <a:latin typeface="Ericsson Hilda"/>
              </a:rPr>
              <a:t>Actions completed:</a:t>
            </a:r>
            <a:endParaRPr lang="sv-SE" sz="1600" b="0" strike="noStrike" spc="-1">
              <a:solidFill>
                <a:srgbClr val="000000"/>
              </a:solidFill>
              <a:uFill>
                <a:solidFill>
                  <a:srgbClr val="FFFFFF"/>
                </a:solidFill>
              </a:uFill>
              <a:latin typeface="Arial"/>
            </a:endParaRPr>
          </a:p>
        </p:txBody>
      </p:sp>
      <p:sp>
        <p:nvSpPr>
          <p:cNvPr id="1923" name="CustomShape 7"/>
          <p:cNvSpPr/>
          <p:nvPr/>
        </p:nvSpPr>
        <p:spPr>
          <a:xfrm>
            <a:off x="4203360" y="2758320"/>
            <a:ext cx="212760" cy="217800"/>
          </a:xfrm>
          <a:prstGeom prst="ellipse">
            <a:avLst/>
          </a:prstGeom>
          <a:solidFill>
            <a:schemeClr val="accent1"/>
          </a:solidFill>
          <a:ln w="19080">
            <a:solidFill>
              <a:schemeClr val="bg1"/>
            </a:solidFill>
            <a:round/>
          </a:ln>
        </p:spPr>
        <p:style>
          <a:lnRef idx="0">
            <a:scrgbClr r="0" g="0" b="0"/>
          </a:lnRef>
          <a:fillRef idx="0">
            <a:scrgbClr r="0" g="0" b="0"/>
          </a:fillRef>
          <a:effectRef idx="0">
            <a:scrgbClr r="0" g="0" b="0"/>
          </a:effectRef>
          <a:fontRef idx="minor"/>
        </p:style>
      </p:sp>
      <p:sp>
        <p:nvSpPr>
          <p:cNvPr id="1924" name="CustomShape 8"/>
          <p:cNvSpPr/>
          <p:nvPr/>
        </p:nvSpPr>
        <p:spPr>
          <a:xfrm flipH="1">
            <a:off x="3822840" y="2217600"/>
            <a:ext cx="1423800" cy="518040"/>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lstStyle/>
          <a:p>
            <a:pPr algn="ctr">
              <a:lnSpc>
                <a:spcPct val="100000"/>
              </a:lnSpc>
            </a:pPr>
            <a:r>
              <a:rPr lang="sv-SE" sz="2800" b="0" strike="noStrike" spc="-1">
                <a:solidFill>
                  <a:srgbClr val="FFFFFF"/>
                </a:solidFill>
                <a:uFill>
                  <a:solidFill>
                    <a:srgbClr val="FFFFFF"/>
                  </a:solidFill>
                </a:uFill>
                <a:latin typeface="Ericsson Hilda Light"/>
              </a:rPr>
              <a:t>February</a:t>
            </a:r>
            <a:endParaRPr lang="sv-SE" sz="2800" b="0" strike="noStrike" spc="-1">
              <a:solidFill>
                <a:srgbClr val="000000"/>
              </a:solidFill>
              <a:uFill>
                <a:solidFill>
                  <a:srgbClr val="FFFFFF"/>
                </a:solidFill>
              </a:uFill>
              <a:latin typeface="Arial"/>
            </a:endParaRPr>
          </a:p>
        </p:txBody>
      </p:sp>
      <p:sp>
        <p:nvSpPr>
          <p:cNvPr id="1925" name="CustomShape 9"/>
          <p:cNvSpPr/>
          <p:nvPr/>
        </p:nvSpPr>
        <p:spPr>
          <a:xfrm>
            <a:off x="6877080" y="3181320"/>
            <a:ext cx="1828440" cy="243720"/>
          </a:xfrm>
          <a:prstGeom prst="rect">
            <a:avLst/>
          </a:prstGeom>
          <a:noFill/>
          <a:ln>
            <a:noFill/>
          </a:ln>
        </p:spPr>
        <p:style>
          <a:lnRef idx="0">
            <a:scrgbClr r="0" g="0" b="0"/>
          </a:lnRef>
          <a:fillRef idx="0">
            <a:scrgbClr r="0" g="0" b="0"/>
          </a:fillRef>
          <a:effectRef idx="0">
            <a:scrgbClr r="0" g="0" b="0"/>
          </a:effectRef>
          <a:fontRef idx="minor"/>
        </p:style>
        <p:txBody>
          <a:bodyPr lIns="0" tIns="0" rIns="0" bIns="0"/>
          <a:lstStyle/>
          <a:p>
            <a:pPr>
              <a:lnSpc>
                <a:spcPct val="100000"/>
              </a:lnSpc>
            </a:pPr>
            <a:r>
              <a:rPr lang="sv-SE" sz="1600" b="0" strike="noStrike" spc="-1">
                <a:solidFill>
                  <a:srgbClr val="FFFFFF"/>
                </a:solidFill>
                <a:uFill>
                  <a:solidFill>
                    <a:srgbClr val="FFFFFF"/>
                  </a:solidFill>
                </a:uFill>
                <a:latin typeface="Ericsson Hilda"/>
              </a:rPr>
              <a:t>Lorem Ipsum</a:t>
            </a:r>
            <a:endParaRPr lang="sv-SE" sz="1600" b="0" strike="noStrike" spc="-1">
              <a:solidFill>
                <a:srgbClr val="000000"/>
              </a:solidFill>
              <a:uFill>
                <a:solidFill>
                  <a:srgbClr val="FFFFFF"/>
                </a:solidFill>
              </a:uFill>
              <a:latin typeface="Arial"/>
            </a:endParaRPr>
          </a:p>
        </p:txBody>
      </p:sp>
      <p:sp>
        <p:nvSpPr>
          <p:cNvPr id="1926" name="CustomShape 10"/>
          <p:cNvSpPr/>
          <p:nvPr/>
        </p:nvSpPr>
        <p:spPr>
          <a:xfrm>
            <a:off x="7186680" y="2758320"/>
            <a:ext cx="212760" cy="217800"/>
          </a:xfrm>
          <a:prstGeom prst="ellipse">
            <a:avLst/>
          </a:prstGeom>
          <a:solidFill>
            <a:schemeClr val="accent1"/>
          </a:solidFill>
          <a:ln w="19080">
            <a:solidFill>
              <a:schemeClr val="bg1"/>
            </a:solidFill>
            <a:round/>
          </a:ln>
        </p:spPr>
        <p:style>
          <a:lnRef idx="0">
            <a:scrgbClr r="0" g="0" b="0"/>
          </a:lnRef>
          <a:fillRef idx="0">
            <a:scrgbClr r="0" g="0" b="0"/>
          </a:fillRef>
          <a:effectRef idx="0">
            <a:scrgbClr r="0" g="0" b="0"/>
          </a:effectRef>
          <a:fontRef idx="minor"/>
        </p:style>
      </p:sp>
      <p:sp>
        <p:nvSpPr>
          <p:cNvPr id="1927" name="CustomShape 11"/>
          <p:cNvSpPr/>
          <p:nvPr/>
        </p:nvSpPr>
        <p:spPr>
          <a:xfrm flipH="1">
            <a:off x="6791760" y="2217600"/>
            <a:ext cx="970200" cy="518040"/>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lstStyle/>
          <a:p>
            <a:pPr algn="ctr">
              <a:lnSpc>
                <a:spcPct val="100000"/>
              </a:lnSpc>
            </a:pPr>
            <a:r>
              <a:rPr lang="sv-SE" sz="2800" b="0" strike="noStrike" spc="-1">
                <a:solidFill>
                  <a:srgbClr val="FFFFFF"/>
                </a:solidFill>
                <a:uFill>
                  <a:solidFill>
                    <a:srgbClr val="FFFFFF"/>
                  </a:solidFill>
                </a:uFill>
                <a:latin typeface="Ericsson Hilda Light"/>
              </a:rPr>
              <a:t>March</a:t>
            </a:r>
            <a:endParaRPr lang="sv-SE" sz="2800" b="0" strike="noStrike" spc="-1">
              <a:solidFill>
                <a:srgbClr val="000000"/>
              </a:solidFill>
              <a:uFill>
                <a:solidFill>
                  <a:srgbClr val="FFFFFF"/>
                </a:solidFill>
              </a:uFill>
              <a:latin typeface="Arial"/>
            </a:endParaRPr>
          </a:p>
        </p:txBody>
      </p:sp>
      <p:sp>
        <p:nvSpPr>
          <p:cNvPr id="1928" name="CustomShape 12"/>
          <p:cNvSpPr/>
          <p:nvPr/>
        </p:nvSpPr>
        <p:spPr>
          <a:xfrm>
            <a:off x="9875880" y="3181680"/>
            <a:ext cx="1828440" cy="243720"/>
          </a:xfrm>
          <a:prstGeom prst="rect">
            <a:avLst/>
          </a:prstGeom>
          <a:noFill/>
          <a:ln>
            <a:noFill/>
          </a:ln>
        </p:spPr>
        <p:style>
          <a:lnRef idx="0">
            <a:scrgbClr r="0" g="0" b="0"/>
          </a:lnRef>
          <a:fillRef idx="0">
            <a:scrgbClr r="0" g="0" b="0"/>
          </a:fillRef>
          <a:effectRef idx="0">
            <a:scrgbClr r="0" g="0" b="0"/>
          </a:effectRef>
          <a:fontRef idx="minor"/>
        </p:style>
        <p:txBody>
          <a:bodyPr lIns="0" tIns="0" rIns="0" bIns="0"/>
          <a:lstStyle/>
          <a:p>
            <a:pPr>
              <a:lnSpc>
                <a:spcPct val="100000"/>
              </a:lnSpc>
            </a:pPr>
            <a:r>
              <a:rPr lang="sv-SE" sz="1600" b="0" strike="noStrike" spc="-1">
                <a:solidFill>
                  <a:srgbClr val="FFFFFF"/>
                </a:solidFill>
                <a:uFill>
                  <a:solidFill>
                    <a:srgbClr val="FFFFFF"/>
                  </a:solidFill>
                </a:uFill>
                <a:latin typeface="Ericsson Hilda"/>
              </a:rPr>
              <a:t>Lorem Ipsum</a:t>
            </a:r>
            <a:endParaRPr lang="sv-SE" sz="1600" b="0" strike="noStrike" spc="-1">
              <a:solidFill>
                <a:srgbClr val="000000"/>
              </a:solidFill>
              <a:uFill>
                <a:solidFill>
                  <a:srgbClr val="FFFFFF"/>
                </a:solidFill>
              </a:uFill>
              <a:latin typeface="Arial"/>
            </a:endParaRPr>
          </a:p>
        </p:txBody>
      </p:sp>
      <p:sp>
        <p:nvSpPr>
          <p:cNvPr id="1929" name="CustomShape 13"/>
          <p:cNvSpPr/>
          <p:nvPr/>
        </p:nvSpPr>
        <p:spPr>
          <a:xfrm>
            <a:off x="10171440" y="2758320"/>
            <a:ext cx="212760" cy="217800"/>
          </a:xfrm>
          <a:prstGeom prst="ellipse">
            <a:avLst/>
          </a:prstGeom>
          <a:solidFill>
            <a:schemeClr val="accent1"/>
          </a:solidFill>
          <a:ln w="28440">
            <a:solidFill>
              <a:schemeClr val="bg1"/>
            </a:solidFill>
            <a:round/>
          </a:ln>
        </p:spPr>
        <p:style>
          <a:lnRef idx="0">
            <a:scrgbClr r="0" g="0" b="0"/>
          </a:lnRef>
          <a:fillRef idx="0">
            <a:scrgbClr r="0" g="0" b="0"/>
          </a:fillRef>
          <a:effectRef idx="0">
            <a:scrgbClr r="0" g="0" b="0"/>
          </a:effectRef>
          <a:fontRef idx="minor"/>
        </p:style>
      </p:sp>
      <p:sp>
        <p:nvSpPr>
          <p:cNvPr id="1930" name="CustomShape 14"/>
          <p:cNvSpPr/>
          <p:nvPr/>
        </p:nvSpPr>
        <p:spPr>
          <a:xfrm flipH="1">
            <a:off x="9790560" y="2217600"/>
            <a:ext cx="970200" cy="518040"/>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lstStyle/>
          <a:p>
            <a:pPr algn="ctr">
              <a:lnSpc>
                <a:spcPct val="100000"/>
              </a:lnSpc>
            </a:pPr>
            <a:r>
              <a:rPr lang="sv-SE" sz="2800" b="0" strike="noStrike" spc="-1">
                <a:solidFill>
                  <a:srgbClr val="FFFFFF"/>
                </a:solidFill>
                <a:uFill>
                  <a:solidFill>
                    <a:srgbClr val="FFFFFF"/>
                  </a:solidFill>
                </a:uFill>
                <a:latin typeface="Ericsson Hilda Light"/>
              </a:rPr>
              <a:t>April</a:t>
            </a:r>
            <a:endParaRPr lang="sv-SE" sz="2800" b="0" strike="noStrike" spc="-1">
              <a:solidFill>
                <a:srgbClr val="000000"/>
              </a:solidFill>
              <a:uFill>
                <a:solidFill>
                  <a:srgbClr val="FFFFFF"/>
                </a:solidFill>
              </a:uFill>
              <a:latin typeface="Arial"/>
            </a:endParaRPr>
          </a:p>
        </p:txBody>
      </p:sp>
      <p:sp>
        <p:nvSpPr>
          <p:cNvPr id="1931" name="CustomShape 15"/>
          <p:cNvSpPr/>
          <p:nvPr/>
        </p:nvSpPr>
        <p:spPr>
          <a:xfrm>
            <a:off x="479520" y="5688720"/>
            <a:ext cx="11232720" cy="548280"/>
          </a:xfrm>
          <a:prstGeom prst="rect">
            <a:avLst/>
          </a:prstGeom>
          <a:solidFill>
            <a:schemeClr val="bg1"/>
          </a:solidFill>
          <a:ln w="12600">
            <a:noFill/>
          </a:ln>
        </p:spPr>
        <p:style>
          <a:lnRef idx="0">
            <a:scrgbClr r="0" g="0" b="0"/>
          </a:lnRef>
          <a:fillRef idx="0">
            <a:scrgbClr r="0" g="0" b="0"/>
          </a:fillRef>
          <a:effectRef idx="0">
            <a:scrgbClr r="0" g="0" b="0"/>
          </a:effectRef>
          <a:fontRef idx="minor"/>
        </p:style>
        <p:txBody>
          <a:bodyPr lIns="0" tIns="0" rIns="0" bIns="0" anchor="ctr"/>
          <a:lstStyle/>
          <a:p>
            <a:pPr algn="ctr">
              <a:lnSpc>
                <a:spcPct val="100000"/>
              </a:lnSpc>
            </a:pPr>
            <a:r>
              <a:rPr lang="sv-SE" sz="2000" b="0" strike="noStrike" spc="-1">
                <a:solidFill>
                  <a:srgbClr val="181818"/>
                </a:solidFill>
                <a:uFill>
                  <a:solidFill>
                    <a:srgbClr val="FFFFFF"/>
                  </a:solidFill>
                </a:uFill>
                <a:latin typeface="Ericsson Hilda"/>
              </a:rPr>
              <a:t>Lorem ipsum lorem ipsum lorem ipsum Lorem ipsum lorem ipsum lorem ipsum</a:t>
            </a:r>
            <a:endParaRPr lang="sv-SE" sz="2000" b="0" strike="noStrike" spc="-1">
              <a:solidFill>
                <a:srgbClr val="000000"/>
              </a:solidFill>
              <a:uFill>
                <a:solidFill>
                  <a:srgbClr val="FFFFFF"/>
                </a:solidFill>
              </a:uFill>
              <a:latin typeface="Arial"/>
            </a:endParaRPr>
          </a:p>
        </p:txBody>
      </p:sp>
      <p:sp>
        <p:nvSpPr>
          <p:cNvPr id="18" name="Rectangle 17">
            <a:extLst>
              <a:ext uri="{FF2B5EF4-FFF2-40B4-BE49-F238E27FC236}">
                <a16:creationId xmlns:a16="http://schemas.microsoft.com/office/drawing/2014/main" id="{1D796DE5-D281-4D45-85C4-7991C195C370}"/>
              </a:ext>
            </a:extLst>
          </p:cNvPr>
          <p:cNvSpPr/>
          <p:nvPr/>
        </p:nvSpPr>
        <p:spPr>
          <a:xfrm>
            <a:off x="11277600" y="309217"/>
            <a:ext cx="649357" cy="6493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Shape 25118"/>
        <p:cNvGrpSpPr/>
        <p:nvPr/>
      </p:nvGrpSpPr>
      <p:grpSpPr>
        <a:xfrm>
          <a:off x="0" y="0"/>
          <a:ext cx="0" cy="0"/>
          <a:chOff x="0" y="0"/>
          <a:chExt cx="0" cy="0"/>
        </a:xfrm>
      </p:grpSpPr>
      <p:grpSp>
        <p:nvGrpSpPr>
          <p:cNvPr id="8" name="Group 7">
            <a:extLst>
              <a:ext uri="{FF2B5EF4-FFF2-40B4-BE49-F238E27FC236}">
                <a16:creationId xmlns:a16="http://schemas.microsoft.com/office/drawing/2014/main" id="{624E9454-0580-44E5-9357-C2B0C2D86F19}"/>
              </a:ext>
            </a:extLst>
          </p:cNvPr>
          <p:cNvGrpSpPr/>
          <p:nvPr/>
        </p:nvGrpSpPr>
        <p:grpSpPr>
          <a:xfrm>
            <a:off x="1101344" y="1832236"/>
            <a:ext cx="9614972" cy="4350352"/>
            <a:chOff x="1101344" y="1832236"/>
            <a:chExt cx="9614972" cy="4350352"/>
          </a:xfrm>
        </p:grpSpPr>
        <p:cxnSp>
          <p:nvCxnSpPr>
            <p:cNvPr id="96" name="Shape 25060"/>
            <p:cNvCxnSpPr>
              <a:cxnSpLocks/>
            </p:cNvCxnSpPr>
            <p:nvPr/>
          </p:nvCxnSpPr>
          <p:spPr>
            <a:xfrm>
              <a:off x="4903577" y="4015841"/>
              <a:ext cx="2607665" cy="0"/>
            </a:xfrm>
            <a:prstGeom prst="straightConnector1">
              <a:avLst/>
            </a:prstGeom>
            <a:noFill/>
            <a:ln w="101600" cap="flat" cmpd="sng">
              <a:solidFill>
                <a:schemeClr val="bg1"/>
              </a:solidFill>
              <a:prstDash val="solid"/>
              <a:round/>
              <a:headEnd type="none" w="sm" len="sm"/>
              <a:tailEnd type="none" w="sm" len="sm"/>
            </a:ln>
          </p:spPr>
        </p:cxnSp>
        <p:sp>
          <p:nvSpPr>
            <p:cNvPr id="97" name="Shape 25063"/>
            <p:cNvSpPr txBox="1"/>
            <p:nvPr/>
          </p:nvSpPr>
          <p:spPr>
            <a:xfrm>
              <a:off x="6357237" y="1832236"/>
              <a:ext cx="1562062" cy="571096"/>
            </a:xfrm>
            <a:prstGeom prst="rect">
              <a:avLst/>
            </a:prstGeom>
            <a:noFill/>
            <a:ln>
              <a:noFill/>
            </a:ln>
          </p:spPr>
          <p:txBody>
            <a:bodyPr spcFirstLastPara="1" wrap="square" lIns="0" tIns="16933" rIns="0" bIns="0" anchor="b" anchorCtr="0">
              <a:noAutofit/>
            </a:bodyPr>
            <a:lstStyle/>
            <a:p>
              <a:pPr marL="0" indent="0" algn="ctr">
                <a:lnSpc>
                  <a:spcPct val="90000"/>
                </a:lnSpc>
                <a:spcBef>
                  <a:spcPts val="0"/>
                </a:spcBef>
                <a:spcAft>
                  <a:spcPts val="0"/>
                </a:spcAft>
                <a:buNone/>
              </a:pPr>
              <a:r>
                <a:rPr lang="en-GB">
                  <a:solidFill>
                    <a:schemeClr val="bg1"/>
                  </a:solidFill>
                  <a:ea typeface="Ericsson Hilda"/>
                  <a:cs typeface="Ericsson Hilda"/>
                  <a:sym typeface="Ericsson Hilda"/>
                </a:rPr>
                <a:t>Lorem ipsum</a:t>
              </a:r>
              <a:br>
                <a:rPr lang="en-GB">
                  <a:solidFill>
                    <a:schemeClr val="bg1"/>
                  </a:solidFill>
                  <a:ea typeface="Ericsson Hilda"/>
                  <a:cs typeface="Ericsson Hilda"/>
                  <a:sym typeface="Ericsson Hilda"/>
                </a:rPr>
              </a:br>
              <a:r>
                <a:rPr lang="en-GB">
                  <a:solidFill>
                    <a:schemeClr val="bg1"/>
                  </a:solidFill>
                  <a:ea typeface="Ericsson Hilda"/>
                  <a:cs typeface="Ericsson Hilda"/>
                  <a:sym typeface="Ericsson Hilda"/>
                </a:rPr>
                <a:t>lorem ipsum </a:t>
              </a:r>
            </a:p>
          </p:txBody>
        </p:sp>
        <p:sp>
          <p:nvSpPr>
            <p:cNvPr id="98" name="Shape 25064"/>
            <p:cNvSpPr txBox="1"/>
            <p:nvPr/>
          </p:nvSpPr>
          <p:spPr>
            <a:xfrm>
              <a:off x="3947133" y="1832236"/>
              <a:ext cx="1368400" cy="571096"/>
            </a:xfrm>
            <a:prstGeom prst="rect">
              <a:avLst/>
            </a:prstGeom>
            <a:noFill/>
            <a:ln>
              <a:noFill/>
            </a:ln>
          </p:spPr>
          <p:txBody>
            <a:bodyPr spcFirstLastPara="1" wrap="square" lIns="0" tIns="16933" rIns="0" bIns="0" anchor="b" anchorCtr="0">
              <a:noAutofit/>
            </a:bodyPr>
            <a:lstStyle/>
            <a:p>
              <a:pPr marL="0" indent="0" algn="ctr">
                <a:lnSpc>
                  <a:spcPct val="90000"/>
                </a:lnSpc>
                <a:spcBef>
                  <a:spcPts val="0"/>
                </a:spcBef>
                <a:spcAft>
                  <a:spcPts val="0"/>
                </a:spcAft>
                <a:buNone/>
              </a:pPr>
              <a:r>
                <a:rPr lang="en-GB">
                  <a:solidFill>
                    <a:schemeClr val="bg1"/>
                  </a:solidFill>
                  <a:ea typeface="Ericsson Hilda"/>
                  <a:cs typeface="Ericsson Hilda"/>
                  <a:sym typeface="Ericsson Hilda"/>
                </a:rPr>
                <a:t>Lorem ipsum</a:t>
              </a:r>
              <a:br>
                <a:rPr lang="en-GB">
                  <a:solidFill>
                    <a:schemeClr val="bg1"/>
                  </a:solidFill>
                  <a:ea typeface="Ericsson Hilda"/>
                  <a:cs typeface="Ericsson Hilda"/>
                  <a:sym typeface="Ericsson Hilda"/>
                </a:rPr>
              </a:br>
              <a:r>
                <a:rPr lang="en-GB">
                  <a:solidFill>
                    <a:schemeClr val="bg1"/>
                  </a:solidFill>
                  <a:ea typeface="Ericsson Hilda"/>
                  <a:cs typeface="Ericsson Hilda"/>
                  <a:sym typeface="Ericsson Hilda"/>
                </a:rPr>
                <a:t>lorem ipsum </a:t>
              </a:r>
            </a:p>
          </p:txBody>
        </p:sp>
        <p:sp>
          <p:nvSpPr>
            <p:cNvPr id="99" name="Shape 25065"/>
            <p:cNvSpPr txBox="1"/>
            <p:nvPr/>
          </p:nvSpPr>
          <p:spPr>
            <a:xfrm>
              <a:off x="8597731" y="3073550"/>
              <a:ext cx="1413043" cy="571096"/>
            </a:xfrm>
            <a:prstGeom prst="rect">
              <a:avLst/>
            </a:prstGeom>
            <a:noFill/>
            <a:ln>
              <a:noFill/>
            </a:ln>
          </p:spPr>
          <p:txBody>
            <a:bodyPr spcFirstLastPara="1" wrap="square" lIns="0" tIns="16933" rIns="0" bIns="0" anchor="ctr" anchorCtr="0">
              <a:noAutofit/>
            </a:bodyPr>
            <a:lstStyle/>
            <a:p>
              <a:pPr marL="0" indent="0">
                <a:lnSpc>
                  <a:spcPct val="90000"/>
                </a:lnSpc>
                <a:spcBef>
                  <a:spcPts val="0"/>
                </a:spcBef>
                <a:spcAft>
                  <a:spcPts val="0"/>
                </a:spcAft>
                <a:buNone/>
              </a:pPr>
              <a:r>
                <a:rPr lang="en-GB">
                  <a:solidFill>
                    <a:schemeClr val="bg1"/>
                  </a:solidFill>
                  <a:ea typeface="Ericsson Hilda"/>
                  <a:cs typeface="Ericsson Hilda"/>
                  <a:sym typeface="Ericsson Hilda"/>
                </a:rPr>
                <a:t>Lorem ipsum</a:t>
              </a:r>
              <a:br>
                <a:rPr lang="en-GB">
                  <a:solidFill>
                    <a:schemeClr val="bg1"/>
                  </a:solidFill>
                  <a:ea typeface="Ericsson Hilda"/>
                  <a:cs typeface="Ericsson Hilda"/>
                  <a:sym typeface="Ericsson Hilda"/>
                </a:rPr>
              </a:br>
              <a:r>
                <a:rPr lang="en-GB">
                  <a:solidFill>
                    <a:schemeClr val="bg1"/>
                  </a:solidFill>
                  <a:ea typeface="Ericsson Hilda"/>
                  <a:cs typeface="Ericsson Hilda"/>
                  <a:sym typeface="Ericsson Hilda"/>
                </a:rPr>
                <a:t>lorem ipsum </a:t>
              </a:r>
            </a:p>
          </p:txBody>
        </p:sp>
        <p:sp>
          <p:nvSpPr>
            <p:cNvPr id="100" name="Shape 25066"/>
            <p:cNvSpPr txBox="1"/>
            <p:nvPr/>
          </p:nvSpPr>
          <p:spPr>
            <a:xfrm>
              <a:off x="1101344" y="1832236"/>
              <a:ext cx="2036000" cy="571096"/>
            </a:xfrm>
            <a:prstGeom prst="rect">
              <a:avLst/>
            </a:prstGeom>
            <a:noFill/>
            <a:ln>
              <a:noFill/>
            </a:ln>
          </p:spPr>
          <p:txBody>
            <a:bodyPr spcFirstLastPara="1" wrap="square" lIns="0" tIns="16933" rIns="0" bIns="0" anchor="b" anchorCtr="0">
              <a:noAutofit/>
            </a:bodyPr>
            <a:lstStyle/>
            <a:p>
              <a:pPr marL="0" indent="0" algn="ctr">
                <a:lnSpc>
                  <a:spcPct val="90000"/>
                </a:lnSpc>
                <a:spcBef>
                  <a:spcPts val="0"/>
                </a:spcBef>
                <a:spcAft>
                  <a:spcPts val="0"/>
                </a:spcAft>
                <a:buNone/>
              </a:pPr>
              <a:r>
                <a:rPr lang="en-GB">
                  <a:solidFill>
                    <a:schemeClr val="bg1"/>
                  </a:solidFill>
                  <a:ea typeface="Ericsson Hilda"/>
                  <a:cs typeface="Ericsson Hilda"/>
                  <a:sym typeface="Ericsson Hilda"/>
                </a:rPr>
                <a:t>Lorem ipsum</a:t>
              </a:r>
              <a:br>
                <a:rPr lang="en-GB">
                  <a:solidFill>
                    <a:schemeClr val="bg1"/>
                  </a:solidFill>
                  <a:ea typeface="Ericsson Hilda"/>
                  <a:cs typeface="Ericsson Hilda"/>
                  <a:sym typeface="Ericsson Hilda"/>
                </a:rPr>
              </a:br>
              <a:r>
                <a:rPr lang="en-GB">
                  <a:solidFill>
                    <a:schemeClr val="bg1"/>
                  </a:solidFill>
                  <a:ea typeface="Ericsson Hilda"/>
                  <a:cs typeface="Ericsson Hilda"/>
                  <a:sym typeface="Ericsson Hilda"/>
                </a:rPr>
                <a:t>lorem ipsum </a:t>
              </a:r>
            </a:p>
          </p:txBody>
        </p:sp>
        <p:sp>
          <p:nvSpPr>
            <p:cNvPr id="101" name="Shape 25067"/>
            <p:cNvSpPr txBox="1"/>
            <p:nvPr/>
          </p:nvSpPr>
          <p:spPr>
            <a:xfrm>
              <a:off x="4474592" y="4288280"/>
              <a:ext cx="1621408" cy="571096"/>
            </a:xfrm>
            <a:prstGeom prst="rect">
              <a:avLst/>
            </a:prstGeom>
            <a:noFill/>
            <a:ln>
              <a:noFill/>
            </a:ln>
          </p:spPr>
          <p:txBody>
            <a:bodyPr spcFirstLastPara="1" wrap="square" lIns="0" tIns="16933" rIns="0" bIns="0" anchor="t" anchorCtr="0">
              <a:noAutofit/>
            </a:bodyPr>
            <a:lstStyle/>
            <a:p>
              <a:pPr marL="0" indent="0" algn="ctr">
                <a:lnSpc>
                  <a:spcPct val="90000"/>
                </a:lnSpc>
                <a:spcBef>
                  <a:spcPts val="0"/>
                </a:spcBef>
                <a:spcAft>
                  <a:spcPts val="0"/>
                </a:spcAft>
                <a:buNone/>
              </a:pPr>
              <a:r>
                <a:rPr lang="en-GB" err="1">
                  <a:solidFill>
                    <a:schemeClr val="bg1"/>
                  </a:solidFill>
                  <a:ea typeface="Ericsson Hilda"/>
                  <a:cs typeface="Ericsson Hilda"/>
                  <a:sym typeface="Ericsson Hilda"/>
                </a:rPr>
                <a:t>Förslagsanalys</a:t>
              </a:r>
              <a:endParaRPr lang="en-GB">
                <a:solidFill>
                  <a:schemeClr val="bg1"/>
                </a:solidFill>
                <a:ea typeface="Ericsson Hilda"/>
                <a:cs typeface="Ericsson Hilda"/>
                <a:sym typeface="Ericsson Hilda"/>
              </a:endParaRPr>
            </a:p>
          </p:txBody>
        </p:sp>
        <p:sp>
          <p:nvSpPr>
            <p:cNvPr id="102" name="Shape 25068"/>
            <p:cNvSpPr txBox="1"/>
            <p:nvPr/>
          </p:nvSpPr>
          <p:spPr>
            <a:xfrm>
              <a:off x="4276714" y="5673758"/>
              <a:ext cx="1704986" cy="294097"/>
            </a:xfrm>
            <a:prstGeom prst="rect">
              <a:avLst/>
            </a:prstGeom>
            <a:noFill/>
            <a:ln>
              <a:noFill/>
            </a:ln>
          </p:spPr>
          <p:txBody>
            <a:bodyPr spcFirstLastPara="1" wrap="square" lIns="0" tIns="16933" rIns="0" bIns="0" anchor="t" anchorCtr="0">
              <a:noAutofit/>
            </a:bodyPr>
            <a:lstStyle/>
            <a:p>
              <a:pPr marL="0" indent="0" algn="ctr">
                <a:lnSpc>
                  <a:spcPct val="90000"/>
                </a:lnSpc>
                <a:spcBef>
                  <a:spcPts val="0"/>
                </a:spcBef>
                <a:spcAft>
                  <a:spcPts val="0"/>
                </a:spcAft>
                <a:buNone/>
              </a:pPr>
              <a:r>
                <a:rPr lang="en-GB">
                  <a:solidFill>
                    <a:schemeClr val="bg1"/>
                  </a:solidFill>
                  <a:ea typeface="Ericsson Hilda"/>
                  <a:cs typeface="Ericsson Hilda"/>
                  <a:sym typeface="Ericsson Hilda"/>
                </a:rPr>
                <a:t>Lorem ipsum</a:t>
              </a:r>
              <a:br>
                <a:rPr lang="en-GB">
                  <a:solidFill>
                    <a:schemeClr val="bg1"/>
                  </a:solidFill>
                  <a:ea typeface="Ericsson Hilda"/>
                  <a:cs typeface="Ericsson Hilda"/>
                  <a:sym typeface="Ericsson Hilda"/>
                </a:rPr>
              </a:br>
              <a:r>
                <a:rPr lang="en-GB">
                  <a:solidFill>
                    <a:schemeClr val="bg1"/>
                  </a:solidFill>
                  <a:ea typeface="Ericsson Hilda"/>
                  <a:cs typeface="Ericsson Hilda"/>
                  <a:sym typeface="Ericsson Hilda"/>
                </a:rPr>
                <a:t>lorem ipsum </a:t>
              </a:r>
            </a:p>
          </p:txBody>
        </p:sp>
        <p:sp>
          <p:nvSpPr>
            <p:cNvPr id="103" name="Shape 25069"/>
            <p:cNvSpPr txBox="1"/>
            <p:nvPr/>
          </p:nvSpPr>
          <p:spPr>
            <a:xfrm>
              <a:off x="2291440" y="4356610"/>
              <a:ext cx="1560800" cy="580901"/>
            </a:xfrm>
            <a:prstGeom prst="rect">
              <a:avLst/>
            </a:prstGeom>
            <a:noFill/>
            <a:ln>
              <a:noFill/>
            </a:ln>
          </p:spPr>
          <p:txBody>
            <a:bodyPr spcFirstLastPara="1" wrap="square" lIns="0" tIns="10133" rIns="0" bIns="0" anchor="ctr" anchorCtr="0">
              <a:noAutofit/>
            </a:bodyPr>
            <a:lstStyle/>
            <a:p>
              <a:pPr marL="0" marR="6773" indent="0" algn="r">
                <a:lnSpc>
                  <a:spcPct val="90000"/>
                </a:lnSpc>
                <a:spcBef>
                  <a:spcPts val="0"/>
                </a:spcBef>
                <a:spcAft>
                  <a:spcPts val="0"/>
                </a:spcAft>
                <a:buNone/>
              </a:pPr>
              <a:r>
                <a:rPr lang="en-GB">
                  <a:solidFill>
                    <a:schemeClr val="bg1"/>
                  </a:solidFill>
                  <a:ea typeface="Ericsson Hilda"/>
                  <a:cs typeface="Ericsson Hilda"/>
                  <a:sym typeface="Ericsson Hilda"/>
                </a:rPr>
                <a:t>Lorem ipsum</a:t>
              </a:r>
              <a:br>
                <a:rPr lang="en-GB">
                  <a:solidFill>
                    <a:schemeClr val="bg1"/>
                  </a:solidFill>
                  <a:ea typeface="Ericsson Hilda"/>
                  <a:cs typeface="Ericsson Hilda"/>
                  <a:sym typeface="Ericsson Hilda"/>
                </a:rPr>
              </a:br>
              <a:r>
                <a:rPr lang="en-GB">
                  <a:solidFill>
                    <a:schemeClr val="bg1"/>
                  </a:solidFill>
                  <a:ea typeface="Ericsson Hilda"/>
                  <a:cs typeface="Ericsson Hilda"/>
                  <a:sym typeface="Ericsson Hilda"/>
                </a:rPr>
                <a:t>lorem ipsum </a:t>
              </a:r>
            </a:p>
          </p:txBody>
        </p:sp>
        <p:sp>
          <p:nvSpPr>
            <p:cNvPr id="104" name="Shape 25070"/>
            <p:cNvSpPr txBox="1"/>
            <p:nvPr/>
          </p:nvSpPr>
          <p:spPr>
            <a:xfrm>
              <a:off x="6597807" y="4288280"/>
              <a:ext cx="1518800" cy="571096"/>
            </a:xfrm>
            <a:prstGeom prst="rect">
              <a:avLst/>
            </a:prstGeom>
            <a:noFill/>
            <a:ln>
              <a:noFill/>
            </a:ln>
          </p:spPr>
          <p:txBody>
            <a:bodyPr spcFirstLastPara="1" wrap="square" lIns="0" tIns="16933" rIns="0" bIns="0" anchor="t" anchorCtr="0">
              <a:noAutofit/>
            </a:bodyPr>
            <a:lstStyle/>
            <a:p>
              <a:pPr marL="0" indent="0" algn="ctr">
                <a:lnSpc>
                  <a:spcPct val="90000"/>
                </a:lnSpc>
                <a:spcBef>
                  <a:spcPts val="0"/>
                </a:spcBef>
                <a:spcAft>
                  <a:spcPts val="0"/>
                </a:spcAft>
                <a:buNone/>
              </a:pPr>
              <a:r>
                <a:rPr lang="en-GB">
                  <a:solidFill>
                    <a:schemeClr val="bg1"/>
                  </a:solidFill>
                  <a:ea typeface="Ericsson Hilda"/>
                  <a:cs typeface="Ericsson Hilda"/>
                  <a:sym typeface="Ericsson Hilda"/>
                </a:rPr>
                <a:t>Diverse </a:t>
              </a:r>
              <a:r>
                <a:rPr lang="en-GB" err="1">
                  <a:solidFill>
                    <a:schemeClr val="bg1"/>
                  </a:solidFill>
                  <a:ea typeface="Ericsson Hilda"/>
                  <a:cs typeface="Ericsson Hilda"/>
                  <a:sym typeface="Ericsson Hilda"/>
                </a:rPr>
                <a:t>förslag</a:t>
              </a:r>
              <a:endParaRPr lang="en-GB">
                <a:solidFill>
                  <a:schemeClr val="bg1"/>
                </a:solidFill>
                <a:ea typeface="Ericsson Hilda"/>
                <a:cs typeface="Ericsson Hilda"/>
                <a:sym typeface="Ericsson Hilda"/>
              </a:endParaRPr>
            </a:p>
          </p:txBody>
        </p:sp>
        <p:sp>
          <p:nvSpPr>
            <p:cNvPr id="105" name="Shape 25071"/>
            <p:cNvSpPr txBox="1"/>
            <p:nvPr/>
          </p:nvSpPr>
          <p:spPr>
            <a:xfrm>
              <a:off x="7309703" y="5673758"/>
              <a:ext cx="1989041" cy="508830"/>
            </a:xfrm>
            <a:prstGeom prst="rect">
              <a:avLst/>
            </a:prstGeom>
            <a:noFill/>
            <a:ln>
              <a:noFill/>
            </a:ln>
          </p:spPr>
          <p:txBody>
            <a:bodyPr spcFirstLastPara="1" wrap="square" lIns="0" tIns="10133" rIns="0" bIns="0" anchor="t" anchorCtr="0">
              <a:noAutofit/>
            </a:bodyPr>
            <a:lstStyle/>
            <a:p>
              <a:pPr marL="0" marR="6773" indent="0" algn="ctr">
                <a:lnSpc>
                  <a:spcPct val="90000"/>
                </a:lnSpc>
                <a:spcBef>
                  <a:spcPts val="0"/>
                </a:spcBef>
                <a:spcAft>
                  <a:spcPts val="0"/>
                </a:spcAft>
                <a:buNone/>
              </a:pPr>
              <a:r>
                <a:rPr lang="en-GB" err="1">
                  <a:solidFill>
                    <a:schemeClr val="bg1"/>
                  </a:solidFill>
                  <a:ea typeface="Ericsson Hilda"/>
                  <a:cs typeface="Ericsson Hilda"/>
                  <a:sym typeface="Ericsson Hilda"/>
                </a:rPr>
                <a:t>Kravspecifikation</a:t>
              </a:r>
              <a:endParaRPr lang="en-GB">
                <a:solidFill>
                  <a:schemeClr val="bg1"/>
                </a:solidFill>
                <a:ea typeface="Ericsson Hilda"/>
                <a:cs typeface="Ericsson Hilda"/>
                <a:sym typeface="Ericsson Hilda"/>
              </a:endParaRPr>
            </a:p>
          </p:txBody>
        </p:sp>
        <p:cxnSp>
          <p:nvCxnSpPr>
            <p:cNvPr id="106" name="Shape 25072"/>
            <p:cNvCxnSpPr/>
            <p:nvPr/>
          </p:nvCxnSpPr>
          <p:spPr>
            <a:xfrm>
              <a:off x="2136801" y="2699891"/>
              <a:ext cx="5407200" cy="0"/>
            </a:xfrm>
            <a:prstGeom prst="straightConnector1">
              <a:avLst/>
            </a:prstGeom>
            <a:noFill/>
            <a:ln w="101600" cap="flat" cmpd="sng">
              <a:solidFill>
                <a:schemeClr val="bg1"/>
              </a:solidFill>
              <a:prstDash val="solid"/>
              <a:round/>
              <a:headEnd type="none" w="sm" len="sm"/>
              <a:tailEnd type="none" w="sm" len="sm"/>
            </a:ln>
          </p:spPr>
        </p:cxnSp>
        <p:cxnSp>
          <p:nvCxnSpPr>
            <p:cNvPr id="107" name="Shape 25073"/>
            <p:cNvCxnSpPr/>
            <p:nvPr/>
          </p:nvCxnSpPr>
          <p:spPr>
            <a:xfrm>
              <a:off x="4965116" y="5369227"/>
              <a:ext cx="5751200" cy="0"/>
            </a:xfrm>
            <a:prstGeom prst="straightConnector1">
              <a:avLst/>
            </a:prstGeom>
            <a:noFill/>
            <a:ln w="101600" cap="flat" cmpd="sng">
              <a:solidFill>
                <a:schemeClr val="bg1"/>
              </a:solidFill>
              <a:prstDash val="solid"/>
              <a:round/>
              <a:headEnd type="none" w="sm" len="sm"/>
              <a:tailEnd type="triangle" w="med" len="med"/>
            </a:ln>
          </p:spPr>
        </p:cxnSp>
        <p:sp>
          <p:nvSpPr>
            <p:cNvPr id="108" name="Shape 25074"/>
            <p:cNvSpPr/>
            <p:nvPr/>
          </p:nvSpPr>
          <p:spPr>
            <a:xfrm>
              <a:off x="7016246" y="2632917"/>
              <a:ext cx="134000" cy="134000"/>
            </a:xfrm>
            <a:prstGeom prst="ellipse">
              <a:avLst/>
            </a:prstGeom>
            <a:solidFill>
              <a:schemeClr val="accent5"/>
            </a:solidFill>
            <a:ln>
              <a:noFill/>
            </a:ln>
          </p:spPr>
          <p:txBody>
            <a:bodyPr spcFirstLastPara="1" wrap="square" lIns="121900" tIns="60933" rIns="121900" bIns="60933" anchor="ctr" anchorCtr="0">
              <a:noAutofit/>
            </a:bodyPr>
            <a:lstStyle/>
            <a:p>
              <a:pPr marL="0" indent="0" algn="ctr">
                <a:spcBef>
                  <a:spcPts val="0"/>
                </a:spcBef>
                <a:spcAft>
                  <a:spcPts val="0"/>
                </a:spcAft>
                <a:buNone/>
              </a:pPr>
              <a:endParaRPr sz="2400">
                <a:solidFill>
                  <a:schemeClr val="lt1"/>
                </a:solidFill>
                <a:latin typeface="Ericsson Hilda"/>
                <a:ea typeface="Ericsson Hilda"/>
                <a:cs typeface="Ericsson Hilda"/>
                <a:sym typeface="Ericsson Hilda"/>
              </a:endParaRPr>
            </a:p>
          </p:txBody>
        </p:sp>
        <p:sp>
          <p:nvSpPr>
            <p:cNvPr id="114" name="Shape 25080"/>
            <p:cNvSpPr/>
            <p:nvPr/>
          </p:nvSpPr>
          <p:spPr>
            <a:xfrm>
              <a:off x="4548761" y="2632917"/>
              <a:ext cx="134000" cy="134000"/>
            </a:xfrm>
            <a:prstGeom prst="ellipse">
              <a:avLst/>
            </a:prstGeom>
            <a:solidFill>
              <a:schemeClr val="accent5"/>
            </a:solidFill>
            <a:ln>
              <a:noFill/>
            </a:ln>
          </p:spPr>
          <p:txBody>
            <a:bodyPr spcFirstLastPara="1" wrap="square" lIns="121900" tIns="60933" rIns="121900" bIns="60933" anchor="ctr" anchorCtr="0">
              <a:noAutofit/>
            </a:bodyPr>
            <a:lstStyle/>
            <a:p>
              <a:pPr marL="0" indent="0" algn="ctr">
                <a:spcBef>
                  <a:spcPts val="0"/>
                </a:spcBef>
                <a:spcAft>
                  <a:spcPts val="0"/>
                </a:spcAft>
                <a:buNone/>
              </a:pPr>
              <a:endParaRPr sz="2400">
                <a:solidFill>
                  <a:schemeClr val="lt1"/>
                </a:solidFill>
                <a:latin typeface="Ericsson Hilda"/>
                <a:ea typeface="Ericsson Hilda"/>
                <a:cs typeface="Ericsson Hilda"/>
                <a:sym typeface="Ericsson Hilda"/>
              </a:endParaRPr>
            </a:p>
          </p:txBody>
        </p:sp>
        <p:sp>
          <p:nvSpPr>
            <p:cNvPr id="115" name="Shape 25081"/>
            <p:cNvSpPr/>
            <p:nvPr/>
          </p:nvSpPr>
          <p:spPr>
            <a:xfrm>
              <a:off x="2081277" y="2632917"/>
              <a:ext cx="134000" cy="134000"/>
            </a:xfrm>
            <a:prstGeom prst="ellipse">
              <a:avLst/>
            </a:prstGeom>
            <a:solidFill>
              <a:schemeClr val="accent5"/>
            </a:solidFill>
            <a:ln>
              <a:noFill/>
            </a:ln>
          </p:spPr>
          <p:txBody>
            <a:bodyPr spcFirstLastPara="1" wrap="square" lIns="121900" tIns="60933" rIns="121900" bIns="60933" anchor="ctr" anchorCtr="0">
              <a:noAutofit/>
            </a:bodyPr>
            <a:lstStyle/>
            <a:p>
              <a:pPr marL="0" indent="0" algn="ctr">
                <a:spcBef>
                  <a:spcPts val="0"/>
                </a:spcBef>
                <a:spcAft>
                  <a:spcPts val="0"/>
                </a:spcAft>
                <a:buNone/>
              </a:pPr>
              <a:endParaRPr sz="2400">
                <a:solidFill>
                  <a:schemeClr val="lt1"/>
                </a:solidFill>
                <a:latin typeface="Ericsson Hilda"/>
                <a:ea typeface="Ericsson Hilda"/>
                <a:cs typeface="Ericsson Hilda"/>
                <a:sym typeface="Ericsson Hilda"/>
              </a:endParaRPr>
            </a:p>
          </p:txBody>
        </p:sp>
        <p:sp>
          <p:nvSpPr>
            <p:cNvPr id="117" name="Shape 25083"/>
            <p:cNvSpPr/>
            <p:nvPr/>
          </p:nvSpPr>
          <p:spPr>
            <a:xfrm>
              <a:off x="6758220" y="2699819"/>
              <a:ext cx="1586222" cy="1357067"/>
            </a:xfrm>
            <a:prstGeom prst="arc">
              <a:avLst>
                <a:gd name="adj1" fmla="val 16101423"/>
                <a:gd name="adj2" fmla="val 21463720"/>
              </a:avLst>
            </a:prstGeom>
            <a:noFill/>
            <a:ln w="101600" cap="flat" cmpd="sng">
              <a:solidFill>
                <a:schemeClr val="bg1"/>
              </a:solidFill>
              <a:prstDash val="solid"/>
              <a:round/>
              <a:headEnd type="none" w="sm" len="sm"/>
              <a:tailEnd type="none" w="sm" len="sm"/>
            </a:ln>
          </p:spPr>
          <p:txBody>
            <a:bodyPr spcFirstLastPara="1" wrap="square" lIns="121900" tIns="60933" rIns="121900" bIns="60933" anchor="ctr" anchorCtr="0">
              <a:noAutofit/>
            </a:bodyPr>
            <a:lstStyle/>
            <a:p>
              <a:pPr marL="0" indent="0" algn="ctr">
                <a:spcBef>
                  <a:spcPts val="0"/>
                </a:spcBef>
                <a:spcAft>
                  <a:spcPts val="0"/>
                </a:spcAft>
                <a:buNone/>
              </a:pPr>
              <a:endParaRPr sz="2400">
                <a:solidFill>
                  <a:schemeClr val="dk1"/>
                </a:solidFill>
                <a:latin typeface="Ericsson Hilda"/>
                <a:ea typeface="Ericsson Hilda"/>
                <a:cs typeface="Ericsson Hilda"/>
                <a:sym typeface="Ericsson Hilda"/>
              </a:endParaRPr>
            </a:p>
          </p:txBody>
        </p:sp>
        <p:sp>
          <p:nvSpPr>
            <p:cNvPr id="118" name="Shape 25061"/>
            <p:cNvSpPr/>
            <p:nvPr/>
          </p:nvSpPr>
          <p:spPr>
            <a:xfrm rot="10800000" flipH="1">
              <a:off x="6756477" y="2664886"/>
              <a:ext cx="1574627" cy="1357067"/>
            </a:xfrm>
            <a:prstGeom prst="arc">
              <a:avLst>
                <a:gd name="adj1" fmla="val 16035078"/>
                <a:gd name="adj2" fmla="val 64140"/>
              </a:avLst>
            </a:prstGeom>
            <a:noFill/>
            <a:ln w="101600" cap="flat" cmpd="sng">
              <a:solidFill>
                <a:schemeClr val="bg1"/>
              </a:solidFill>
              <a:prstDash val="solid"/>
              <a:round/>
              <a:headEnd type="none" w="sm" len="sm"/>
              <a:tailEnd type="none" w="sm" len="sm"/>
            </a:ln>
          </p:spPr>
          <p:txBody>
            <a:bodyPr spcFirstLastPara="1" wrap="square" lIns="121900" tIns="60933" rIns="121900" bIns="60933" anchor="ctr" anchorCtr="0">
              <a:noAutofit/>
            </a:bodyPr>
            <a:lstStyle/>
            <a:p>
              <a:pPr marL="0" indent="0" algn="ctr">
                <a:spcBef>
                  <a:spcPts val="0"/>
                </a:spcBef>
                <a:spcAft>
                  <a:spcPts val="0"/>
                </a:spcAft>
                <a:buNone/>
              </a:pPr>
              <a:endParaRPr sz="2400">
                <a:solidFill>
                  <a:schemeClr val="dk1"/>
                </a:solidFill>
                <a:latin typeface="Ericsson Hilda"/>
                <a:ea typeface="Ericsson Hilda"/>
                <a:cs typeface="Ericsson Hilda"/>
                <a:sym typeface="Ericsson Hilda"/>
              </a:endParaRPr>
            </a:p>
          </p:txBody>
        </p:sp>
        <p:sp>
          <p:nvSpPr>
            <p:cNvPr id="120" name="Shape 25085"/>
            <p:cNvSpPr/>
            <p:nvPr/>
          </p:nvSpPr>
          <p:spPr>
            <a:xfrm flipH="1">
              <a:off x="4150666" y="4014197"/>
              <a:ext cx="1586222" cy="1383421"/>
            </a:xfrm>
            <a:prstGeom prst="arc">
              <a:avLst>
                <a:gd name="adj1" fmla="val 16101423"/>
                <a:gd name="adj2" fmla="val 21463720"/>
              </a:avLst>
            </a:prstGeom>
            <a:noFill/>
            <a:ln w="101600" cap="flat" cmpd="sng">
              <a:solidFill>
                <a:schemeClr val="bg1"/>
              </a:solidFill>
              <a:prstDash val="solid"/>
              <a:round/>
              <a:headEnd type="none" w="sm" len="sm"/>
              <a:tailEnd type="none" w="sm" len="sm"/>
            </a:ln>
          </p:spPr>
          <p:txBody>
            <a:bodyPr spcFirstLastPara="1" wrap="square" lIns="121900" tIns="60933" rIns="121900" bIns="60933" anchor="ctr" anchorCtr="0">
              <a:noAutofit/>
            </a:bodyPr>
            <a:lstStyle/>
            <a:p>
              <a:pPr marL="0" indent="0" algn="ctr">
                <a:spcBef>
                  <a:spcPts val="0"/>
                </a:spcBef>
                <a:spcAft>
                  <a:spcPts val="0"/>
                </a:spcAft>
                <a:buNone/>
              </a:pPr>
              <a:endParaRPr sz="2400">
                <a:solidFill>
                  <a:schemeClr val="dk1"/>
                </a:solidFill>
                <a:latin typeface="Ericsson Hilda"/>
                <a:ea typeface="Ericsson Hilda"/>
                <a:cs typeface="Ericsson Hilda"/>
                <a:sym typeface="Ericsson Hilda"/>
              </a:endParaRPr>
            </a:p>
          </p:txBody>
        </p:sp>
        <p:sp>
          <p:nvSpPr>
            <p:cNvPr id="121" name="Shape 25086"/>
            <p:cNvSpPr/>
            <p:nvPr/>
          </p:nvSpPr>
          <p:spPr>
            <a:xfrm rot="10800000">
              <a:off x="4150463" y="3978589"/>
              <a:ext cx="1574627" cy="1383421"/>
            </a:xfrm>
            <a:prstGeom prst="arc">
              <a:avLst>
                <a:gd name="adj1" fmla="val 16035078"/>
                <a:gd name="adj2" fmla="val 64140"/>
              </a:avLst>
            </a:prstGeom>
            <a:noFill/>
            <a:ln w="101600" cap="flat" cmpd="sng">
              <a:solidFill>
                <a:schemeClr val="bg1"/>
              </a:solidFill>
              <a:prstDash val="solid"/>
              <a:round/>
              <a:headEnd type="none" w="sm" len="sm"/>
              <a:tailEnd type="none" w="sm" len="sm"/>
            </a:ln>
          </p:spPr>
          <p:txBody>
            <a:bodyPr spcFirstLastPara="1" wrap="square" lIns="121900" tIns="60933" rIns="121900" bIns="60933" anchor="ctr" anchorCtr="0">
              <a:noAutofit/>
            </a:bodyPr>
            <a:lstStyle/>
            <a:p>
              <a:pPr marL="0" indent="0" algn="ctr">
                <a:spcBef>
                  <a:spcPts val="0"/>
                </a:spcBef>
                <a:spcAft>
                  <a:spcPts val="0"/>
                </a:spcAft>
                <a:buNone/>
              </a:pPr>
              <a:endParaRPr sz="2400">
                <a:solidFill>
                  <a:schemeClr val="dk1"/>
                </a:solidFill>
                <a:latin typeface="Ericsson Hilda"/>
                <a:ea typeface="Ericsson Hilda"/>
                <a:cs typeface="Ericsson Hilda"/>
                <a:sym typeface="Ericsson Hilda"/>
              </a:endParaRPr>
            </a:p>
          </p:txBody>
        </p:sp>
        <p:sp>
          <p:nvSpPr>
            <p:cNvPr id="122" name="Shape 25087"/>
            <p:cNvSpPr/>
            <p:nvPr/>
          </p:nvSpPr>
          <p:spPr>
            <a:xfrm>
              <a:off x="4053630" y="4588367"/>
              <a:ext cx="134000" cy="134000"/>
            </a:xfrm>
            <a:prstGeom prst="ellipse">
              <a:avLst/>
            </a:prstGeom>
            <a:solidFill>
              <a:schemeClr val="accent5"/>
            </a:solidFill>
            <a:ln>
              <a:noFill/>
            </a:ln>
          </p:spPr>
          <p:txBody>
            <a:bodyPr spcFirstLastPara="1" wrap="square" lIns="121900" tIns="60933" rIns="121900" bIns="60933" anchor="ctr" anchorCtr="0">
              <a:noAutofit/>
            </a:bodyPr>
            <a:lstStyle/>
            <a:p>
              <a:pPr marL="0" indent="0" algn="ctr">
                <a:spcBef>
                  <a:spcPts val="0"/>
                </a:spcBef>
                <a:spcAft>
                  <a:spcPts val="0"/>
                </a:spcAft>
                <a:buNone/>
              </a:pPr>
              <a:endParaRPr sz="2400">
                <a:solidFill>
                  <a:schemeClr val="lt1"/>
                </a:solidFill>
                <a:latin typeface="Ericsson Hilda"/>
                <a:ea typeface="Ericsson Hilda"/>
                <a:cs typeface="Ericsson Hilda"/>
                <a:sym typeface="Ericsson Hilda"/>
              </a:endParaRPr>
            </a:p>
          </p:txBody>
        </p:sp>
        <p:sp>
          <p:nvSpPr>
            <p:cNvPr id="123" name="Shape 25088"/>
            <p:cNvSpPr/>
            <p:nvPr/>
          </p:nvSpPr>
          <p:spPr>
            <a:xfrm>
              <a:off x="8271706" y="3296801"/>
              <a:ext cx="134000" cy="134000"/>
            </a:xfrm>
            <a:prstGeom prst="ellipse">
              <a:avLst/>
            </a:prstGeom>
            <a:solidFill>
              <a:schemeClr val="accent5"/>
            </a:solidFill>
            <a:ln>
              <a:noFill/>
            </a:ln>
          </p:spPr>
          <p:txBody>
            <a:bodyPr spcFirstLastPara="1" wrap="square" lIns="121900" tIns="60933" rIns="121900" bIns="60933" anchor="ctr" anchorCtr="0">
              <a:noAutofit/>
            </a:bodyPr>
            <a:lstStyle/>
            <a:p>
              <a:pPr marL="0" indent="0" algn="ctr">
                <a:spcBef>
                  <a:spcPts val="0"/>
                </a:spcBef>
                <a:spcAft>
                  <a:spcPts val="0"/>
                </a:spcAft>
                <a:buNone/>
              </a:pPr>
              <a:endParaRPr sz="2400">
                <a:solidFill>
                  <a:schemeClr val="lt1"/>
                </a:solidFill>
                <a:latin typeface="Ericsson Hilda"/>
                <a:ea typeface="Ericsson Hilda"/>
                <a:cs typeface="Ericsson Hilda"/>
                <a:sym typeface="Ericsson Hilda"/>
              </a:endParaRPr>
            </a:p>
          </p:txBody>
        </p:sp>
        <p:sp>
          <p:nvSpPr>
            <p:cNvPr id="125" name="Shape 25090"/>
            <p:cNvSpPr/>
            <p:nvPr/>
          </p:nvSpPr>
          <p:spPr>
            <a:xfrm>
              <a:off x="5050277" y="5299529"/>
              <a:ext cx="134000" cy="134000"/>
            </a:xfrm>
            <a:prstGeom prst="ellipse">
              <a:avLst/>
            </a:prstGeom>
            <a:solidFill>
              <a:schemeClr val="accent5"/>
            </a:solidFill>
            <a:ln>
              <a:noFill/>
            </a:ln>
          </p:spPr>
          <p:txBody>
            <a:bodyPr spcFirstLastPara="1" wrap="square" lIns="121900" tIns="60933" rIns="121900" bIns="60933" anchor="ctr" anchorCtr="0">
              <a:noAutofit/>
            </a:bodyPr>
            <a:lstStyle/>
            <a:p>
              <a:pPr marL="0" indent="0" algn="ctr">
                <a:spcBef>
                  <a:spcPts val="0"/>
                </a:spcBef>
                <a:spcAft>
                  <a:spcPts val="0"/>
                </a:spcAft>
                <a:buNone/>
              </a:pPr>
              <a:endParaRPr sz="2400">
                <a:solidFill>
                  <a:schemeClr val="lt1"/>
                </a:solidFill>
                <a:latin typeface="Ericsson Hilda"/>
                <a:ea typeface="Ericsson Hilda"/>
                <a:cs typeface="Ericsson Hilda"/>
                <a:sym typeface="Ericsson Hilda"/>
              </a:endParaRPr>
            </a:p>
          </p:txBody>
        </p:sp>
        <p:sp>
          <p:nvSpPr>
            <p:cNvPr id="2" name="Oval 1"/>
            <p:cNvSpPr>
              <a:spLocks noChangeAspect="1"/>
            </p:cNvSpPr>
            <p:nvPr/>
          </p:nvSpPr>
          <p:spPr>
            <a:xfrm>
              <a:off x="4414551" y="2496946"/>
              <a:ext cx="433564" cy="432000"/>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US" sz="2000">
                  <a:solidFill>
                    <a:schemeClr val="bg1"/>
                  </a:solidFill>
                </a:rPr>
                <a:t>2</a:t>
              </a:r>
              <a:endParaRPr lang="en-SG" sz="2000">
                <a:solidFill>
                  <a:schemeClr val="bg1"/>
                </a:solidFill>
              </a:endParaRPr>
            </a:p>
          </p:txBody>
        </p:sp>
        <p:sp>
          <p:nvSpPr>
            <p:cNvPr id="128" name="Oval 127"/>
            <p:cNvSpPr>
              <a:spLocks noChangeAspect="1"/>
            </p:cNvSpPr>
            <p:nvPr/>
          </p:nvSpPr>
          <p:spPr>
            <a:xfrm>
              <a:off x="6921486" y="2496946"/>
              <a:ext cx="433564" cy="432000"/>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US" sz="2000">
                  <a:solidFill>
                    <a:schemeClr val="bg1"/>
                  </a:solidFill>
                </a:rPr>
                <a:t>3</a:t>
              </a:r>
              <a:endParaRPr lang="en-SG" sz="2000">
                <a:solidFill>
                  <a:schemeClr val="bg1"/>
                </a:solidFill>
              </a:endParaRPr>
            </a:p>
          </p:txBody>
        </p:sp>
        <p:sp>
          <p:nvSpPr>
            <p:cNvPr id="129" name="Oval 128"/>
            <p:cNvSpPr>
              <a:spLocks noChangeAspect="1"/>
            </p:cNvSpPr>
            <p:nvPr/>
          </p:nvSpPr>
          <p:spPr>
            <a:xfrm>
              <a:off x="8093828" y="3147801"/>
              <a:ext cx="433564" cy="432000"/>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US" sz="2000">
                  <a:solidFill>
                    <a:schemeClr val="bg1"/>
                  </a:solidFill>
                </a:rPr>
                <a:t>4</a:t>
              </a:r>
              <a:endParaRPr lang="en-SG" sz="2000">
                <a:solidFill>
                  <a:schemeClr val="bg1"/>
                </a:solidFill>
              </a:endParaRPr>
            </a:p>
          </p:txBody>
        </p:sp>
        <p:sp>
          <p:nvSpPr>
            <p:cNvPr id="130" name="Oval 129"/>
            <p:cNvSpPr>
              <a:spLocks noChangeAspect="1"/>
            </p:cNvSpPr>
            <p:nvPr/>
          </p:nvSpPr>
          <p:spPr>
            <a:xfrm>
              <a:off x="7140425" y="3814017"/>
              <a:ext cx="433564" cy="432000"/>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US" sz="2000">
                  <a:solidFill>
                    <a:schemeClr val="bg1"/>
                  </a:solidFill>
                </a:rPr>
                <a:t>5</a:t>
              </a:r>
              <a:endParaRPr lang="en-SG" sz="2000">
                <a:solidFill>
                  <a:schemeClr val="bg1"/>
                </a:solidFill>
              </a:endParaRPr>
            </a:p>
          </p:txBody>
        </p:sp>
        <p:sp>
          <p:nvSpPr>
            <p:cNvPr id="131" name="Oval 130"/>
            <p:cNvSpPr>
              <a:spLocks noChangeAspect="1"/>
            </p:cNvSpPr>
            <p:nvPr/>
          </p:nvSpPr>
          <p:spPr>
            <a:xfrm>
              <a:off x="4912425" y="3814017"/>
              <a:ext cx="433564" cy="432000"/>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US" sz="2000">
                  <a:solidFill>
                    <a:schemeClr val="bg1"/>
                  </a:solidFill>
                </a:rPr>
                <a:t>6</a:t>
              </a:r>
              <a:endParaRPr lang="en-SG" sz="2000">
                <a:solidFill>
                  <a:schemeClr val="bg1"/>
                </a:solidFill>
              </a:endParaRPr>
            </a:p>
          </p:txBody>
        </p:sp>
        <p:sp>
          <p:nvSpPr>
            <p:cNvPr id="132" name="Oval 131"/>
            <p:cNvSpPr>
              <a:spLocks noChangeAspect="1"/>
            </p:cNvSpPr>
            <p:nvPr/>
          </p:nvSpPr>
          <p:spPr>
            <a:xfrm>
              <a:off x="3970848" y="4439367"/>
              <a:ext cx="433564" cy="432000"/>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US" sz="2000">
                  <a:solidFill>
                    <a:schemeClr val="bg1"/>
                  </a:solidFill>
                </a:rPr>
                <a:t>7</a:t>
              </a:r>
              <a:endParaRPr lang="en-SG" sz="2000">
                <a:solidFill>
                  <a:schemeClr val="bg1"/>
                </a:solidFill>
              </a:endParaRPr>
            </a:p>
          </p:txBody>
        </p:sp>
        <p:sp>
          <p:nvSpPr>
            <p:cNvPr id="133" name="Oval 132"/>
            <p:cNvSpPr>
              <a:spLocks noChangeAspect="1"/>
            </p:cNvSpPr>
            <p:nvPr/>
          </p:nvSpPr>
          <p:spPr>
            <a:xfrm>
              <a:off x="1920019" y="2496946"/>
              <a:ext cx="433564" cy="432000"/>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US" sz="2000">
                  <a:solidFill>
                    <a:schemeClr val="bg1"/>
                  </a:solidFill>
                </a:rPr>
                <a:t>1</a:t>
              </a:r>
              <a:endParaRPr lang="en-SG" sz="2000">
                <a:solidFill>
                  <a:schemeClr val="bg1"/>
                </a:solidFill>
              </a:endParaRPr>
            </a:p>
          </p:txBody>
        </p:sp>
        <p:sp>
          <p:nvSpPr>
            <p:cNvPr id="134" name="Oval 133"/>
            <p:cNvSpPr>
              <a:spLocks noChangeAspect="1"/>
            </p:cNvSpPr>
            <p:nvPr/>
          </p:nvSpPr>
          <p:spPr>
            <a:xfrm>
              <a:off x="4912425" y="5167937"/>
              <a:ext cx="433564" cy="432000"/>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US" sz="2000">
                  <a:solidFill>
                    <a:schemeClr val="bg1"/>
                  </a:solidFill>
                </a:rPr>
                <a:t>8</a:t>
              </a:r>
              <a:endParaRPr lang="en-SG" sz="2000">
                <a:solidFill>
                  <a:schemeClr val="bg1"/>
                </a:solidFill>
              </a:endParaRPr>
            </a:p>
          </p:txBody>
        </p:sp>
        <p:sp>
          <p:nvSpPr>
            <p:cNvPr id="135" name="Oval 134"/>
            <p:cNvSpPr>
              <a:spLocks noChangeAspect="1"/>
            </p:cNvSpPr>
            <p:nvPr/>
          </p:nvSpPr>
          <p:spPr>
            <a:xfrm>
              <a:off x="8087441" y="5167937"/>
              <a:ext cx="433564" cy="432000"/>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US" sz="2000">
                  <a:solidFill>
                    <a:schemeClr val="bg1"/>
                  </a:solidFill>
                </a:rPr>
                <a:t>9</a:t>
              </a:r>
              <a:endParaRPr lang="en-SG" sz="2000">
                <a:solidFill>
                  <a:schemeClr val="bg1"/>
                </a:solidFill>
              </a:endParaRPr>
            </a:p>
          </p:txBody>
        </p:sp>
      </p:grpSp>
      <p:sp>
        <p:nvSpPr>
          <p:cNvPr id="6" name="Title 5">
            <a:extLst>
              <a:ext uri="{FF2B5EF4-FFF2-40B4-BE49-F238E27FC236}">
                <a16:creationId xmlns:a16="http://schemas.microsoft.com/office/drawing/2014/main" id="{C7084CD3-3ED8-4B7F-86FD-6F712EDBAFD1}"/>
              </a:ext>
            </a:extLst>
          </p:cNvPr>
          <p:cNvSpPr>
            <a:spLocks noGrp="1"/>
          </p:cNvSpPr>
          <p:nvPr>
            <p:ph type="title"/>
          </p:nvPr>
        </p:nvSpPr>
        <p:spPr/>
        <p:txBody>
          <a:bodyPr/>
          <a:lstStyle/>
          <a:p>
            <a:r>
              <a:rPr lang="en-US"/>
              <a:t>[Roadmap]</a:t>
            </a:r>
          </a:p>
        </p:txBody>
      </p:sp>
      <p:sp>
        <p:nvSpPr>
          <p:cNvPr id="35" name="Rectangle 34">
            <a:extLst>
              <a:ext uri="{FF2B5EF4-FFF2-40B4-BE49-F238E27FC236}">
                <a16:creationId xmlns:a16="http://schemas.microsoft.com/office/drawing/2014/main" id="{31ED556F-D865-4633-BB02-48DABC4D73FD}"/>
              </a:ext>
            </a:extLst>
          </p:cNvPr>
          <p:cNvSpPr/>
          <p:nvPr/>
        </p:nvSpPr>
        <p:spPr>
          <a:xfrm>
            <a:off x="11277600" y="309217"/>
            <a:ext cx="649357" cy="64935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custDataLst>
      <p:custData r:id="rId1"/>
      <p:custData r:id="rId2"/>
      <p:tags r:id="rId3"/>
    </p:custDataLst>
    <p:extLst>
      <p:ext uri="{BB962C8B-B14F-4D97-AF65-F5344CB8AC3E}">
        <p14:creationId xmlns:p14="http://schemas.microsoft.com/office/powerpoint/2010/main" val="164055428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9" name="CustomShape 196"/>
          <p:cNvSpPr/>
          <p:nvPr/>
        </p:nvSpPr>
        <p:spPr>
          <a:xfrm>
            <a:off x="495720" y="328680"/>
            <a:ext cx="3186720" cy="534240"/>
          </a:xfrm>
          <a:prstGeom prst="rect">
            <a:avLst/>
          </a:prstGeom>
          <a:noFill/>
          <a:ln w="12600">
            <a:noFill/>
          </a:ln>
        </p:spPr>
        <p:style>
          <a:lnRef idx="0">
            <a:scrgbClr r="0" g="0" b="0"/>
          </a:lnRef>
          <a:fillRef idx="0">
            <a:scrgbClr r="0" g="0" b="0"/>
          </a:fillRef>
          <a:effectRef idx="0">
            <a:scrgbClr r="0" g="0" b="0"/>
          </a:effectRef>
          <a:fontRef idx="minor"/>
        </p:style>
        <p:txBody>
          <a:bodyPr lIns="72000" tIns="36000" rIns="73080" bIns="36720"/>
          <a:lstStyle/>
          <a:p>
            <a:pPr>
              <a:lnSpc>
                <a:spcPct val="100000"/>
              </a:lnSpc>
            </a:pPr>
            <a:r>
              <a:rPr lang="sv-SE" sz="4000" b="0" strike="noStrike" spc="-1">
                <a:solidFill>
                  <a:srgbClr val="181818"/>
                </a:solidFill>
                <a:uFill>
                  <a:solidFill>
                    <a:srgbClr val="FFFFFF"/>
                  </a:solidFill>
                </a:uFill>
                <a:latin typeface="Ericsson Hilda"/>
              </a:rPr>
              <a:t>Spelmekanik</a:t>
            </a:r>
            <a:endParaRPr lang="sv-SE" sz="4000" b="0" strike="noStrike" spc="-1">
              <a:solidFill>
                <a:srgbClr val="000000"/>
              </a:solidFill>
              <a:uFill>
                <a:solidFill>
                  <a:srgbClr val="FFFFFF"/>
                </a:solidFill>
              </a:uFill>
              <a:latin typeface="Arial"/>
            </a:endParaRPr>
          </a:p>
        </p:txBody>
      </p:sp>
      <p:sp>
        <p:nvSpPr>
          <p:cNvPr id="1110" name="Rectangle 1109">
            <a:extLst>
              <a:ext uri="{FF2B5EF4-FFF2-40B4-BE49-F238E27FC236}">
                <a16:creationId xmlns:a16="http://schemas.microsoft.com/office/drawing/2014/main" id="{74D20775-402D-4802-A3BA-22E3763FD413}"/>
              </a:ext>
            </a:extLst>
          </p:cNvPr>
          <p:cNvSpPr/>
          <p:nvPr/>
        </p:nvSpPr>
        <p:spPr>
          <a:xfrm>
            <a:off x="11277600" y="309217"/>
            <a:ext cx="649357" cy="506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pic>
        <p:nvPicPr>
          <p:cNvPr id="4" name="Picture 3">
            <a:extLst>
              <a:ext uri="{FF2B5EF4-FFF2-40B4-BE49-F238E27FC236}">
                <a16:creationId xmlns:a16="http://schemas.microsoft.com/office/drawing/2014/main" id="{C0211300-76FB-4807-A3FD-23E802636BD3}"/>
              </a:ext>
            </a:extLst>
          </p:cNvPr>
          <p:cNvPicPr>
            <a:picLocks noChangeAspect="1"/>
          </p:cNvPicPr>
          <p:nvPr/>
        </p:nvPicPr>
        <p:blipFill>
          <a:blip r:embed="rId2"/>
          <a:stretch>
            <a:fillRect/>
          </a:stretch>
        </p:blipFill>
        <p:spPr>
          <a:xfrm>
            <a:off x="2919675" y="1589440"/>
            <a:ext cx="5820466" cy="1743160"/>
          </a:xfrm>
          <a:prstGeom prst="rect">
            <a:avLst/>
          </a:prstGeom>
        </p:spPr>
      </p:pic>
      <p:sp>
        <p:nvSpPr>
          <p:cNvPr id="10" name="Rectangle 9">
            <a:extLst>
              <a:ext uri="{FF2B5EF4-FFF2-40B4-BE49-F238E27FC236}">
                <a16:creationId xmlns:a16="http://schemas.microsoft.com/office/drawing/2014/main" id="{6EF9F996-B0E4-4CC8-BCB5-8CBDFF77E898}"/>
              </a:ext>
            </a:extLst>
          </p:cNvPr>
          <p:cNvSpPr/>
          <p:nvPr/>
        </p:nvSpPr>
        <p:spPr>
          <a:xfrm>
            <a:off x="2919675" y="3494921"/>
            <a:ext cx="5820466" cy="17431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1" name="Rectangle 10">
            <a:extLst>
              <a:ext uri="{FF2B5EF4-FFF2-40B4-BE49-F238E27FC236}">
                <a16:creationId xmlns:a16="http://schemas.microsoft.com/office/drawing/2014/main" id="{C651408D-4C61-4F51-A7FD-D866AB775722}"/>
              </a:ext>
            </a:extLst>
          </p:cNvPr>
          <p:cNvSpPr/>
          <p:nvPr/>
        </p:nvSpPr>
        <p:spPr>
          <a:xfrm>
            <a:off x="4861560" y="3899139"/>
            <a:ext cx="1935480" cy="41148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14" name="Rectangle 413">
            <a:extLst>
              <a:ext uri="{FF2B5EF4-FFF2-40B4-BE49-F238E27FC236}">
                <a16:creationId xmlns:a16="http://schemas.microsoft.com/office/drawing/2014/main" id="{6E70624B-820D-45A7-9DB8-2166056F1374}"/>
              </a:ext>
            </a:extLst>
          </p:cNvPr>
          <p:cNvSpPr/>
          <p:nvPr/>
        </p:nvSpPr>
        <p:spPr>
          <a:xfrm>
            <a:off x="4861560" y="4450080"/>
            <a:ext cx="342900" cy="41148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en-SE"/>
          </a:p>
        </p:txBody>
      </p:sp>
      <p:sp>
        <p:nvSpPr>
          <p:cNvPr id="415" name="Rectangle 414">
            <a:extLst>
              <a:ext uri="{FF2B5EF4-FFF2-40B4-BE49-F238E27FC236}">
                <a16:creationId xmlns:a16="http://schemas.microsoft.com/office/drawing/2014/main" id="{66391A57-C7E4-4726-917D-6BEE196AD60C}"/>
              </a:ext>
            </a:extLst>
          </p:cNvPr>
          <p:cNvSpPr/>
          <p:nvPr/>
        </p:nvSpPr>
        <p:spPr>
          <a:xfrm>
            <a:off x="6454140" y="4450080"/>
            <a:ext cx="342900" cy="41148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en-SE"/>
          </a:p>
        </p:txBody>
      </p:sp>
      <p:sp>
        <p:nvSpPr>
          <p:cNvPr id="416" name="Rectangle 415">
            <a:extLst>
              <a:ext uri="{FF2B5EF4-FFF2-40B4-BE49-F238E27FC236}">
                <a16:creationId xmlns:a16="http://schemas.microsoft.com/office/drawing/2014/main" id="{332C25AE-26CC-4BEA-BB1D-470A85712EF1}"/>
              </a:ext>
            </a:extLst>
          </p:cNvPr>
          <p:cNvSpPr/>
          <p:nvPr/>
        </p:nvSpPr>
        <p:spPr>
          <a:xfrm>
            <a:off x="7368540" y="4762500"/>
            <a:ext cx="342900" cy="41148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17" name="Rectangle 416">
            <a:extLst>
              <a:ext uri="{FF2B5EF4-FFF2-40B4-BE49-F238E27FC236}">
                <a16:creationId xmlns:a16="http://schemas.microsoft.com/office/drawing/2014/main" id="{69EB01B7-7DC1-49E7-8F88-B72ED4FC5E4C}"/>
              </a:ext>
            </a:extLst>
          </p:cNvPr>
          <p:cNvSpPr/>
          <p:nvPr/>
        </p:nvSpPr>
        <p:spPr>
          <a:xfrm>
            <a:off x="7875270" y="4762500"/>
            <a:ext cx="342900" cy="41148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pic>
        <p:nvPicPr>
          <p:cNvPr id="418" name="Picture Placeholder 49">
            <a:extLst>
              <a:ext uri="{FF2B5EF4-FFF2-40B4-BE49-F238E27FC236}">
                <a16:creationId xmlns:a16="http://schemas.microsoft.com/office/drawing/2014/main" id="{8DF8607A-F34F-47CE-9F9F-AA7872A7AA0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 b="110"/>
          <a:stretch>
            <a:fillRect/>
          </a:stretch>
        </p:blipFill>
        <p:spPr>
          <a:xfrm>
            <a:off x="7368540" y="4794551"/>
            <a:ext cx="342901" cy="342901"/>
          </a:xfrm>
          <a:prstGeom prst="rect">
            <a:avLst/>
          </a:prstGeom>
        </p:spPr>
      </p:pic>
      <p:pic>
        <p:nvPicPr>
          <p:cNvPr id="419" name="Picture Placeholder 57">
            <a:extLst>
              <a:ext uri="{FF2B5EF4-FFF2-40B4-BE49-F238E27FC236}">
                <a16:creationId xmlns:a16="http://schemas.microsoft.com/office/drawing/2014/main" id="{250AF66A-E695-46AA-B50F-CE65E2A363C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110" b="110"/>
          <a:stretch>
            <a:fillRect/>
          </a:stretch>
        </p:blipFill>
        <p:spPr>
          <a:xfrm>
            <a:off x="7875270" y="4794551"/>
            <a:ext cx="342900" cy="342900"/>
          </a:xfrm>
          <a:prstGeom prst="rect">
            <a:avLst/>
          </a:prstGeom>
        </p:spPr>
      </p:pic>
      <p:sp>
        <p:nvSpPr>
          <p:cNvPr id="425" name="CustomShape 3">
            <a:extLst>
              <a:ext uri="{FF2B5EF4-FFF2-40B4-BE49-F238E27FC236}">
                <a16:creationId xmlns:a16="http://schemas.microsoft.com/office/drawing/2014/main" id="{AF49E900-EDB8-4429-BF99-BA782B1C5926}"/>
              </a:ext>
            </a:extLst>
          </p:cNvPr>
          <p:cNvSpPr/>
          <p:nvPr/>
        </p:nvSpPr>
        <p:spPr>
          <a:xfrm>
            <a:off x="223260" y="1589440"/>
            <a:ext cx="1827720" cy="878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DAmatrix</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Spelskärm.</a:t>
            </a:r>
            <a:endParaRPr lang="sv-SE" sz="1100" b="0" strike="noStrike" spc="-1">
              <a:solidFill>
                <a:srgbClr val="000000"/>
              </a:solidFill>
              <a:uFill>
                <a:solidFill>
                  <a:srgbClr val="FFFFFF"/>
                </a:solidFill>
              </a:uFill>
              <a:latin typeface="Arial"/>
            </a:endParaRPr>
          </a:p>
        </p:txBody>
      </p:sp>
      <p:sp>
        <p:nvSpPr>
          <p:cNvPr id="426" name="CustomShape 6">
            <a:extLst>
              <a:ext uri="{FF2B5EF4-FFF2-40B4-BE49-F238E27FC236}">
                <a16:creationId xmlns:a16="http://schemas.microsoft.com/office/drawing/2014/main" id="{92BFEC0C-39C6-4723-8440-488CBDA0237F}"/>
              </a:ext>
            </a:extLst>
          </p:cNvPr>
          <p:cNvSpPr/>
          <p:nvPr/>
        </p:nvSpPr>
        <p:spPr>
          <a:xfrm>
            <a:off x="223260" y="2620101"/>
            <a:ext cx="1827720" cy="892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Sjusegment</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Visa poäng spelaren har.</a:t>
            </a:r>
            <a:endParaRPr lang="sv-SE" sz="1100" b="0" strike="noStrike" spc="-1">
              <a:solidFill>
                <a:srgbClr val="000000"/>
              </a:solidFill>
              <a:uFill>
                <a:solidFill>
                  <a:srgbClr val="FFFFFF"/>
                </a:solidFill>
              </a:uFill>
              <a:latin typeface="Arial"/>
            </a:endParaRPr>
          </a:p>
        </p:txBody>
      </p:sp>
      <p:sp>
        <p:nvSpPr>
          <p:cNvPr id="427" name="CustomShape 4">
            <a:extLst>
              <a:ext uri="{FF2B5EF4-FFF2-40B4-BE49-F238E27FC236}">
                <a16:creationId xmlns:a16="http://schemas.microsoft.com/office/drawing/2014/main" id="{2B4F1D0F-3092-4B7D-BD6A-F347198A0726}"/>
              </a:ext>
            </a:extLst>
          </p:cNvPr>
          <p:cNvSpPr/>
          <p:nvPr/>
        </p:nvSpPr>
        <p:spPr>
          <a:xfrm>
            <a:off x="223260" y="4695103"/>
            <a:ext cx="1827720" cy="892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Knappar</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Möjligöra diverse rörelser för spelaren.</a:t>
            </a:r>
            <a:endParaRPr lang="sv-SE" sz="1100" b="0" strike="noStrike" spc="-1">
              <a:solidFill>
                <a:srgbClr val="000000"/>
              </a:solidFill>
              <a:uFill>
                <a:solidFill>
                  <a:srgbClr val="FFFFFF"/>
                </a:solidFill>
              </a:uFill>
              <a:latin typeface="Arial"/>
            </a:endParaRPr>
          </a:p>
        </p:txBody>
      </p:sp>
      <p:sp>
        <p:nvSpPr>
          <p:cNvPr id="428" name="CustomShape 5">
            <a:extLst>
              <a:ext uri="{FF2B5EF4-FFF2-40B4-BE49-F238E27FC236}">
                <a16:creationId xmlns:a16="http://schemas.microsoft.com/office/drawing/2014/main" id="{9AF77E6E-A66D-4BB3-AE42-2E11657B35D8}"/>
              </a:ext>
            </a:extLst>
          </p:cNvPr>
          <p:cNvSpPr/>
          <p:nvPr/>
        </p:nvSpPr>
        <p:spPr>
          <a:xfrm>
            <a:off x="223260" y="3664442"/>
            <a:ext cx="1827720" cy="878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Högtalare</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 </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Spela upp ljud vid start och slut.</a:t>
            </a:r>
            <a:endParaRPr lang="sv-SE" sz="1100" b="0" strike="noStrike" spc="-1">
              <a:solidFill>
                <a:srgbClr val="000000"/>
              </a:solidFill>
              <a:uFill>
                <a:solidFill>
                  <a:srgbClr val="FFFFFF"/>
                </a:solidFill>
              </a:uFill>
              <a:latin typeface="Arial"/>
            </a:endParaRPr>
          </a:p>
        </p:txBody>
      </p:sp>
      <p:sp>
        <p:nvSpPr>
          <p:cNvPr id="429" name="CustomShape 7">
            <a:extLst>
              <a:ext uri="{FF2B5EF4-FFF2-40B4-BE49-F238E27FC236}">
                <a16:creationId xmlns:a16="http://schemas.microsoft.com/office/drawing/2014/main" id="{325C49B1-3C3D-413F-818E-C035513CB738}"/>
              </a:ext>
            </a:extLst>
          </p:cNvPr>
          <p:cNvSpPr/>
          <p:nvPr/>
        </p:nvSpPr>
        <p:spPr>
          <a:xfrm>
            <a:off x="215640" y="5739444"/>
            <a:ext cx="1835339" cy="892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lstStyle/>
          <a:p>
            <a:pPr algn="ctr">
              <a:lnSpc>
                <a:spcPct val="100000"/>
              </a:lnSpc>
            </a:pPr>
            <a:r>
              <a:rPr lang="sv-SE" sz="1800" b="1" strike="noStrike" spc="-1">
                <a:solidFill>
                  <a:srgbClr val="181818"/>
                </a:solidFill>
                <a:uFill>
                  <a:solidFill>
                    <a:srgbClr val="FFFFFF"/>
                  </a:solidFill>
                </a:uFill>
                <a:latin typeface="Ericsson Hilda"/>
              </a:rPr>
              <a:t>LCD Display</a:t>
            </a:r>
            <a:endParaRPr lang="sv-SE" sz="1800" b="0" strike="noStrike" spc="-1">
              <a:solidFill>
                <a:srgbClr val="000000"/>
              </a:solidFill>
              <a:uFill>
                <a:solidFill>
                  <a:srgbClr val="FFFFFF"/>
                </a:solidFill>
              </a:uFill>
              <a:latin typeface="Arial"/>
            </a:endParaRPr>
          </a:p>
          <a:p>
            <a:pPr>
              <a:lnSpc>
                <a:spcPct val="100000"/>
              </a:lnSpc>
            </a:pPr>
            <a:r>
              <a:rPr lang="sv-SE" sz="1100" b="1" strike="noStrike" spc="-1">
                <a:solidFill>
                  <a:srgbClr val="181818"/>
                </a:solidFill>
                <a:uFill>
                  <a:solidFill>
                    <a:srgbClr val="FFFFFF"/>
                  </a:solidFill>
                </a:uFill>
                <a:latin typeface="Ericsson Hilda"/>
              </a:rPr>
              <a:t>Syfte: </a:t>
            </a:r>
            <a:endParaRPr lang="sv-SE" sz="1100" b="0" strike="noStrike" spc="-1">
              <a:solidFill>
                <a:srgbClr val="000000"/>
              </a:solidFill>
              <a:uFill>
                <a:solidFill>
                  <a:srgbClr val="FFFFFF"/>
                </a:solidFill>
              </a:uFill>
              <a:latin typeface="Arial"/>
            </a:endParaRPr>
          </a:p>
          <a:p>
            <a:pPr>
              <a:lnSpc>
                <a:spcPct val="100000"/>
              </a:lnSpc>
            </a:pPr>
            <a:r>
              <a:rPr lang="sv-SE" sz="1100" b="0" strike="noStrike" spc="-1">
                <a:solidFill>
                  <a:srgbClr val="181818"/>
                </a:solidFill>
                <a:uFill>
                  <a:solidFill>
                    <a:srgbClr val="FFFFFF"/>
                  </a:solidFill>
                </a:uFill>
                <a:latin typeface="Ericsson Hilda"/>
              </a:rPr>
              <a:t>Välja när spelet startar/slutar</a:t>
            </a:r>
            <a:endParaRPr lang="sv-SE" sz="1100" b="0" strike="noStrike" spc="-1">
              <a:solidFill>
                <a:srgbClr val="000000"/>
              </a:solidFill>
              <a:uFill>
                <a:solidFill>
                  <a:srgbClr val="FFFFFF"/>
                </a:solidFill>
              </a:uFill>
              <a:latin typeface="Arial"/>
            </a:endParaRPr>
          </a:p>
        </p:txBody>
      </p:sp>
      <p:cxnSp>
        <p:nvCxnSpPr>
          <p:cNvPr id="18" name="Straight Arrow Connector 17">
            <a:extLst>
              <a:ext uri="{FF2B5EF4-FFF2-40B4-BE49-F238E27FC236}">
                <a16:creationId xmlns:a16="http://schemas.microsoft.com/office/drawing/2014/main" id="{FC174DDC-6842-48BB-B636-5566CD5B1F27}"/>
              </a:ext>
            </a:extLst>
          </p:cNvPr>
          <p:cNvCxnSpPr>
            <a:cxnSpLocks/>
            <a:stCxn id="4" idx="1"/>
            <a:endCxn id="425" idx="3"/>
          </p:cNvCxnSpPr>
          <p:nvPr/>
        </p:nvCxnSpPr>
        <p:spPr>
          <a:xfrm rot="10800000">
            <a:off x="2050981" y="2028640"/>
            <a:ext cx="868695" cy="432380"/>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64462B4A-DCCB-41AF-A3A2-914316C14755}"/>
              </a:ext>
            </a:extLst>
          </p:cNvPr>
          <p:cNvCxnSpPr>
            <a:cxnSpLocks/>
            <a:stCxn id="414" idx="2"/>
            <a:endCxn id="427" idx="3"/>
          </p:cNvCxnSpPr>
          <p:nvPr/>
        </p:nvCxnSpPr>
        <p:spPr>
          <a:xfrm rot="5400000">
            <a:off x="3402204" y="3510336"/>
            <a:ext cx="279583" cy="2982030"/>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63" name="Straight Arrow Connector 1862">
            <a:extLst>
              <a:ext uri="{FF2B5EF4-FFF2-40B4-BE49-F238E27FC236}">
                <a16:creationId xmlns:a16="http://schemas.microsoft.com/office/drawing/2014/main" id="{2FD63A8F-C9B5-40FC-B61E-4A0DFDB0A2B7}"/>
              </a:ext>
            </a:extLst>
          </p:cNvPr>
          <p:cNvCxnSpPr>
            <a:cxnSpLocks/>
            <a:stCxn id="415" idx="2"/>
            <a:endCxn id="427" idx="3"/>
          </p:cNvCxnSpPr>
          <p:nvPr/>
        </p:nvCxnSpPr>
        <p:spPr>
          <a:xfrm rot="5400000">
            <a:off x="4198494" y="2714046"/>
            <a:ext cx="279583" cy="4574610"/>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74" name="Straight Arrow Connector 1873">
            <a:extLst>
              <a:ext uri="{FF2B5EF4-FFF2-40B4-BE49-F238E27FC236}">
                <a16:creationId xmlns:a16="http://schemas.microsoft.com/office/drawing/2014/main" id="{3E692FF3-1905-4481-B402-425057D5E6D1}"/>
              </a:ext>
            </a:extLst>
          </p:cNvPr>
          <p:cNvCxnSpPr>
            <a:cxnSpLocks/>
            <a:stCxn id="416" idx="2"/>
            <a:endCxn id="429" idx="3"/>
          </p:cNvCxnSpPr>
          <p:nvPr/>
        </p:nvCxnSpPr>
        <p:spPr>
          <a:xfrm rot="5400000">
            <a:off x="4289733" y="2935227"/>
            <a:ext cx="1011504" cy="5489011"/>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76" name="Straight Arrow Connector 1875">
            <a:extLst>
              <a:ext uri="{FF2B5EF4-FFF2-40B4-BE49-F238E27FC236}">
                <a16:creationId xmlns:a16="http://schemas.microsoft.com/office/drawing/2014/main" id="{1625D8ED-9D3D-4A98-A931-D79B8C0E82AD}"/>
              </a:ext>
            </a:extLst>
          </p:cNvPr>
          <p:cNvCxnSpPr>
            <a:cxnSpLocks/>
            <a:stCxn id="417" idx="2"/>
            <a:endCxn id="429" idx="3"/>
          </p:cNvCxnSpPr>
          <p:nvPr/>
        </p:nvCxnSpPr>
        <p:spPr>
          <a:xfrm rot="5400000">
            <a:off x="4543098" y="2681862"/>
            <a:ext cx="1011504" cy="5995741"/>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78" name="Straight Arrow Connector 1877">
            <a:extLst>
              <a:ext uri="{FF2B5EF4-FFF2-40B4-BE49-F238E27FC236}">
                <a16:creationId xmlns:a16="http://schemas.microsoft.com/office/drawing/2014/main" id="{F0C2F116-8BDA-4B8E-825A-F1054DDD6D4A}"/>
              </a:ext>
            </a:extLst>
          </p:cNvPr>
          <p:cNvCxnSpPr>
            <a:stCxn id="11" idx="1"/>
            <a:endCxn id="428" idx="3"/>
          </p:cNvCxnSpPr>
          <p:nvPr/>
        </p:nvCxnSpPr>
        <p:spPr>
          <a:xfrm flipH="1" flipV="1">
            <a:off x="2050980" y="4103642"/>
            <a:ext cx="2810580" cy="123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82" name="Oval 1881">
            <a:extLst>
              <a:ext uri="{FF2B5EF4-FFF2-40B4-BE49-F238E27FC236}">
                <a16:creationId xmlns:a16="http://schemas.microsoft.com/office/drawing/2014/main" id="{CB682833-4826-48B1-A7A8-6F9F41CEF769}"/>
              </a:ext>
            </a:extLst>
          </p:cNvPr>
          <p:cNvSpPr/>
          <p:nvPr/>
        </p:nvSpPr>
        <p:spPr>
          <a:xfrm>
            <a:off x="3329940" y="3664442"/>
            <a:ext cx="352500" cy="35250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1884" name="Straight Arrow Connector 1883">
            <a:extLst>
              <a:ext uri="{FF2B5EF4-FFF2-40B4-BE49-F238E27FC236}">
                <a16:creationId xmlns:a16="http://schemas.microsoft.com/office/drawing/2014/main" id="{F281A327-50FD-44B9-B191-2258440DA073}"/>
              </a:ext>
            </a:extLst>
          </p:cNvPr>
          <p:cNvCxnSpPr>
            <a:endCxn id="426" idx="3"/>
          </p:cNvCxnSpPr>
          <p:nvPr/>
        </p:nvCxnSpPr>
        <p:spPr>
          <a:xfrm rot="10800000">
            <a:off x="2050980" y="3066142"/>
            <a:ext cx="1278960" cy="766719"/>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2388011"/>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G_0634">
            <a:hlinkClick r:id="" action="ppaction://media"/>
            <a:extLst>
              <a:ext uri="{FF2B5EF4-FFF2-40B4-BE49-F238E27FC236}">
                <a16:creationId xmlns:a16="http://schemas.microsoft.com/office/drawing/2014/main" id="{779390ED-2344-4B2D-8B73-5DA7F1ACE021}"/>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518699" y="1876508"/>
            <a:ext cx="6096000" cy="3429000"/>
          </a:xfrm>
          <a:prstGeom prst="rect">
            <a:avLst/>
          </a:prstGeom>
        </p:spPr>
      </p:pic>
      <p:sp>
        <p:nvSpPr>
          <p:cNvPr id="521" name="CustomShape 1"/>
          <p:cNvSpPr/>
          <p:nvPr/>
        </p:nvSpPr>
        <p:spPr>
          <a:xfrm>
            <a:off x="495720" y="328680"/>
            <a:ext cx="3186720" cy="534240"/>
          </a:xfrm>
          <a:prstGeom prst="rect">
            <a:avLst/>
          </a:prstGeom>
          <a:noFill/>
          <a:ln w="12600">
            <a:noFill/>
          </a:ln>
        </p:spPr>
        <p:style>
          <a:lnRef idx="0">
            <a:scrgbClr r="0" g="0" b="0"/>
          </a:lnRef>
          <a:fillRef idx="0">
            <a:scrgbClr r="0" g="0" b="0"/>
          </a:fillRef>
          <a:effectRef idx="0">
            <a:scrgbClr r="0" g="0" b="0"/>
          </a:effectRef>
          <a:fontRef idx="minor"/>
        </p:style>
        <p:txBody>
          <a:bodyPr lIns="72000" tIns="36000" rIns="73080" bIns="36720"/>
          <a:lstStyle/>
          <a:p>
            <a:pPr>
              <a:lnSpc>
                <a:spcPct val="100000"/>
              </a:lnSpc>
            </a:pPr>
            <a:r>
              <a:rPr lang="sv-SE" sz="4000" b="0" strike="noStrike" spc="-1" dirty="0">
                <a:solidFill>
                  <a:srgbClr val="181818"/>
                </a:solidFill>
                <a:uFill>
                  <a:solidFill>
                    <a:srgbClr val="FFFFFF"/>
                  </a:solidFill>
                </a:uFill>
                <a:latin typeface="Ericsson Hilda"/>
              </a:rPr>
              <a:t>Resultat</a:t>
            </a:r>
            <a:endParaRPr lang="sv-SE" sz="4000" b="0" strike="noStrike" spc="-1" dirty="0">
              <a:solidFill>
                <a:srgbClr val="000000"/>
              </a:solidFill>
              <a:uFill>
                <a:solidFill>
                  <a:srgbClr val="FFFFFF"/>
                </a:solidFill>
              </a:uFill>
              <a:latin typeface="Arial"/>
            </a:endParaRPr>
          </a:p>
        </p:txBody>
      </p:sp>
      <p:sp>
        <p:nvSpPr>
          <p:cNvPr id="5" name="Rectangle 4">
            <a:extLst>
              <a:ext uri="{FF2B5EF4-FFF2-40B4-BE49-F238E27FC236}">
                <a16:creationId xmlns:a16="http://schemas.microsoft.com/office/drawing/2014/main" id="{36DC26EF-5395-4A13-BC87-A99007C71B41}"/>
              </a:ext>
            </a:extLst>
          </p:cNvPr>
          <p:cNvSpPr/>
          <p:nvPr/>
        </p:nvSpPr>
        <p:spPr>
          <a:xfrm>
            <a:off x="11277600" y="309217"/>
            <a:ext cx="649357" cy="6493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290817067"/>
      </p:ext>
    </p:extLst>
  </p:cSld>
  <p:clrMapOvr>
    <a:masterClrMapping/>
  </p:clrMapOvr>
  <p:timing>
    <p:tnLst>
      <p:par>
        <p:cTn id="1" dur="indefinite" restart="never" nodeType="tmRoot">
          <p:childTnLst>
            <p:seq>
              <p:cTn id="2"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8658"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24" name="CustomShape 1"/>
          <p:cNvSpPr/>
          <p:nvPr/>
        </p:nvSpPr>
        <p:spPr>
          <a:xfrm>
            <a:off x="6725880" y="962640"/>
            <a:ext cx="1672560" cy="148680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525" name="CustomShape 2"/>
          <p:cNvSpPr/>
          <p:nvPr/>
        </p:nvSpPr>
        <p:spPr>
          <a:xfrm>
            <a:off x="678456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26" name="CustomShape 3"/>
          <p:cNvSpPr/>
          <p:nvPr/>
        </p:nvSpPr>
        <p:spPr>
          <a:xfrm>
            <a:off x="698652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27" name="CustomShape 4"/>
          <p:cNvSpPr/>
          <p:nvPr/>
        </p:nvSpPr>
        <p:spPr>
          <a:xfrm>
            <a:off x="718884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28" name="CustomShape 5"/>
          <p:cNvSpPr/>
          <p:nvPr/>
        </p:nvSpPr>
        <p:spPr>
          <a:xfrm>
            <a:off x="739080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29" name="CustomShape 6"/>
          <p:cNvSpPr/>
          <p:nvPr/>
        </p:nvSpPr>
        <p:spPr>
          <a:xfrm>
            <a:off x="759276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30" name="CustomShape 7"/>
          <p:cNvSpPr/>
          <p:nvPr/>
        </p:nvSpPr>
        <p:spPr>
          <a:xfrm>
            <a:off x="779472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31" name="CustomShape 8"/>
          <p:cNvSpPr/>
          <p:nvPr/>
        </p:nvSpPr>
        <p:spPr>
          <a:xfrm>
            <a:off x="799704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32" name="CustomShape 9"/>
          <p:cNvSpPr/>
          <p:nvPr/>
        </p:nvSpPr>
        <p:spPr>
          <a:xfrm>
            <a:off x="819900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33" name="CustomShape 10"/>
          <p:cNvSpPr/>
          <p:nvPr/>
        </p:nvSpPr>
        <p:spPr>
          <a:xfrm>
            <a:off x="678456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34" name="CustomShape 11"/>
          <p:cNvSpPr/>
          <p:nvPr/>
        </p:nvSpPr>
        <p:spPr>
          <a:xfrm>
            <a:off x="698652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35" name="CustomShape 12"/>
          <p:cNvSpPr/>
          <p:nvPr/>
        </p:nvSpPr>
        <p:spPr>
          <a:xfrm>
            <a:off x="718884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36" name="CustomShape 13"/>
          <p:cNvSpPr/>
          <p:nvPr/>
        </p:nvSpPr>
        <p:spPr>
          <a:xfrm>
            <a:off x="739080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37" name="CustomShape 14"/>
          <p:cNvSpPr/>
          <p:nvPr/>
        </p:nvSpPr>
        <p:spPr>
          <a:xfrm>
            <a:off x="759276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38" name="CustomShape 15"/>
          <p:cNvSpPr/>
          <p:nvPr/>
        </p:nvSpPr>
        <p:spPr>
          <a:xfrm>
            <a:off x="779472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39" name="CustomShape 16"/>
          <p:cNvSpPr/>
          <p:nvPr/>
        </p:nvSpPr>
        <p:spPr>
          <a:xfrm>
            <a:off x="799704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40" name="CustomShape 17"/>
          <p:cNvSpPr/>
          <p:nvPr/>
        </p:nvSpPr>
        <p:spPr>
          <a:xfrm>
            <a:off x="819900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41" name="CustomShape 18"/>
          <p:cNvSpPr/>
          <p:nvPr/>
        </p:nvSpPr>
        <p:spPr>
          <a:xfrm>
            <a:off x="6784560" y="13597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42" name="CustomShape 19"/>
          <p:cNvSpPr/>
          <p:nvPr/>
        </p:nvSpPr>
        <p:spPr>
          <a:xfrm>
            <a:off x="6986520" y="13597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43" name="CustomShape 20"/>
          <p:cNvSpPr/>
          <p:nvPr/>
        </p:nvSpPr>
        <p:spPr>
          <a:xfrm>
            <a:off x="7188840" y="13597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44" name="CustomShape 21"/>
          <p:cNvSpPr/>
          <p:nvPr/>
        </p:nvSpPr>
        <p:spPr>
          <a:xfrm>
            <a:off x="7390800" y="13597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45" name="CustomShape 22"/>
          <p:cNvSpPr/>
          <p:nvPr/>
        </p:nvSpPr>
        <p:spPr>
          <a:xfrm>
            <a:off x="7592760" y="13597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46" name="CustomShape 23"/>
          <p:cNvSpPr/>
          <p:nvPr/>
        </p:nvSpPr>
        <p:spPr>
          <a:xfrm>
            <a:off x="7794720" y="13597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47" name="CustomShape 24"/>
          <p:cNvSpPr/>
          <p:nvPr/>
        </p:nvSpPr>
        <p:spPr>
          <a:xfrm>
            <a:off x="7997040" y="13597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48" name="CustomShape 25"/>
          <p:cNvSpPr/>
          <p:nvPr/>
        </p:nvSpPr>
        <p:spPr>
          <a:xfrm>
            <a:off x="8199000" y="13597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49" name="CustomShape 26"/>
          <p:cNvSpPr/>
          <p:nvPr/>
        </p:nvSpPr>
        <p:spPr>
          <a:xfrm>
            <a:off x="6784560" y="15382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50" name="CustomShape 27"/>
          <p:cNvSpPr/>
          <p:nvPr/>
        </p:nvSpPr>
        <p:spPr>
          <a:xfrm>
            <a:off x="6986520" y="15382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51" name="CustomShape 28"/>
          <p:cNvSpPr/>
          <p:nvPr/>
        </p:nvSpPr>
        <p:spPr>
          <a:xfrm>
            <a:off x="7188840" y="1538280"/>
            <a:ext cx="136080" cy="13608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552" name="CustomShape 29"/>
          <p:cNvSpPr/>
          <p:nvPr/>
        </p:nvSpPr>
        <p:spPr>
          <a:xfrm>
            <a:off x="7390800" y="1538280"/>
            <a:ext cx="136080" cy="13608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553" name="CustomShape 30"/>
          <p:cNvSpPr/>
          <p:nvPr/>
        </p:nvSpPr>
        <p:spPr>
          <a:xfrm>
            <a:off x="7592760" y="15382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54" name="CustomShape 31"/>
          <p:cNvSpPr/>
          <p:nvPr/>
        </p:nvSpPr>
        <p:spPr>
          <a:xfrm>
            <a:off x="7794720" y="15382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55" name="CustomShape 32"/>
          <p:cNvSpPr/>
          <p:nvPr/>
        </p:nvSpPr>
        <p:spPr>
          <a:xfrm>
            <a:off x="7997040" y="15382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56" name="CustomShape 33"/>
          <p:cNvSpPr/>
          <p:nvPr/>
        </p:nvSpPr>
        <p:spPr>
          <a:xfrm>
            <a:off x="8199000" y="153828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557" name="CustomShape 34"/>
          <p:cNvSpPr/>
          <p:nvPr/>
        </p:nvSpPr>
        <p:spPr>
          <a:xfrm>
            <a:off x="6784560" y="17168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58" name="CustomShape 35"/>
          <p:cNvSpPr/>
          <p:nvPr/>
        </p:nvSpPr>
        <p:spPr>
          <a:xfrm>
            <a:off x="6986520" y="17168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59" name="CustomShape 36"/>
          <p:cNvSpPr/>
          <p:nvPr/>
        </p:nvSpPr>
        <p:spPr>
          <a:xfrm>
            <a:off x="7188840" y="1716840"/>
            <a:ext cx="136080" cy="136080"/>
          </a:xfrm>
          <a:prstGeom prst="ellipse">
            <a:avLst/>
          </a:prstGeom>
          <a:solidFill>
            <a:schemeClr val="tx2"/>
          </a:solidFill>
          <a:ln w="12600">
            <a:noFill/>
          </a:ln>
        </p:spPr>
        <p:style>
          <a:lnRef idx="0">
            <a:scrgbClr r="0" g="0" b="0"/>
          </a:lnRef>
          <a:fillRef idx="0">
            <a:scrgbClr r="0" g="0" b="0"/>
          </a:fillRef>
          <a:effectRef idx="0">
            <a:scrgbClr r="0" g="0" b="0"/>
          </a:effectRef>
          <a:fontRef idx="minor"/>
        </p:style>
      </p:sp>
      <p:sp>
        <p:nvSpPr>
          <p:cNvPr id="560" name="CustomShape 37"/>
          <p:cNvSpPr/>
          <p:nvPr/>
        </p:nvSpPr>
        <p:spPr>
          <a:xfrm>
            <a:off x="7390800" y="1716840"/>
            <a:ext cx="136080" cy="136080"/>
          </a:xfrm>
          <a:prstGeom prst="ellipse">
            <a:avLst/>
          </a:prstGeom>
          <a:solidFill>
            <a:schemeClr val="tx2"/>
          </a:solidFill>
          <a:ln w="12600">
            <a:noFill/>
          </a:ln>
        </p:spPr>
        <p:style>
          <a:lnRef idx="0">
            <a:scrgbClr r="0" g="0" b="0"/>
          </a:lnRef>
          <a:fillRef idx="0">
            <a:scrgbClr r="0" g="0" b="0"/>
          </a:fillRef>
          <a:effectRef idx="0">
            <a:scrgbClr r="0" g="0" b="0"/>
          </a:effectRef>
          <a:fontRef idx="minor"/>
        </p:style>
      </p:sp>
      <p:sp>
        <p:nvSpPr>
          <p:cNvPr id="561" name="CustomShape 38"/>
          <p:cNvSpPr/>
          <p:nvPr/>
        </p:nvSpPr>
        <p:spPr>
          <a:xfrm>
            <a:off x="7592760" y="17168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62" name="CustomShape 39"/>
          <p:cNvSpPr/>
          <p:nvPr/>
        </p:nvSpPr>
        <p:spPr>
          <a:xfrm>
            <a:off x="7794720" y="17168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63" name="CustomShape 40"/>
          <p:cNvSpPr/>
          <p:nvPr/>
        </p:nvSpPr>
        <p:spPr>
          <a:xfrm>
            <a:off x="7997040" y="17168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64" name="CustomShape 41"/>
          <p:cNvSpPr/>
          <p:nvPr/>
        </p:nvSpPr>
        <p:spPr>
          <a:xfrm>
            <a:off x="8199000" y="17168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65" name="CustomShape 42"/>
          <p:cNvSpPr/>
          <p:nvPr/>
        </p:nvSpPr>
        <p:spPr>
          <a:xfrm>
            <a:off x="6784560" y="18954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66" name="CustomShape 43"/>
          <p:cNvSpPr/>
          <p:nvPr/>
        </p:nvSpPr>
        <p:spPr>
          <a:xfrm>
            <a:off x="6986520" y="1895400"/>
            <a:ext cx="136080" cy="13608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567" name="CustomShape 44"/>
          <p:cNvSpPr/>
          <p:nvPr/>
        </p:nvSpPr>
        <p:spPr>
          <a:xfrm>
            <a:off x="7188840" y="1895400"/>
            <a:ext cx="136080" cy="136080"/>
          </a:xfrm>
          <a:prstGeom prst="ellipse">
            <a:avLst/>
          </a:prstGeom>
          <a:solidFill>
            <a:schemeClr val="tx2"/>
          </a:solidFill>
          <a:ln w="12600">
            <a:noFill/>
          </a:ln>
        </p:spPr>
        <p:style>
          <a:lnRef idx="0">
            <a:scrgbClr r="0" g="0" b="0"/>
          </a:lnRef>
          <a:fillRef idx="0">
            <a:scrgbClr r="0" g="0" b="0"/>
          </a:fillRef>
          <a:effectRef idx="0">
            <a:scrgbClr r="0" g="0" b="0"/>
          </a:effectRef>
          <a:fontRef idx="minor"/>
        </p:style>
      </p:sp>
      <p:sp>
        <p:nvSpPr>
          <p:cNvPr id="568" name="CustomShape 45"/>
          <p:cNvSpPr/>
          <p:nvPr/>
        </p:nvSpPr>
        <p:spPr>
          <a:xfrm>
            <a:off x="7390800" y="1895400"/>
            <a:ext cx="136080" cy="136080"/>
          </a:xfrm>
          <a:prstGeom prst="ellipse">
            <a:avLst/>
          </a:prstGeom>
          <a:solidFill>
            <a:schemeClr val="tx2"/>
          </a:solidFill>
          <a:ln w="12600">
            <a:noFill/>
          </a:ln>
        </p:spPr>
        <p:style>
          <a:lnRef idx="0">
            <a:scrgbClr r="0" g="0" b="0"/>
          </a:lnRef>
          <a:fillRef idx="0">
            <a:scrgbClr r="0" g="0" b="0"/>
          </a:fillRef>
          <a:effectRef idx="0">
            <a:scrgbClr r="0" g="0" b="0"/>
          </a:effectRef>
          <a:fontRef idx="minor"/>
        </p:style>
      </p:sp>
      <p:sp>
        <p:nvSpPr>
          <p:cNvPr id="569" name="CustomShape 46"/>
          <p:cNvSpPr/>
          <p:nvPr/>
        </p:nvSpPr>
        <p:spPr>
          <a:xfrm>
            <a:off x="7592760" y="18954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70" name="CustomShape 47"/>
          <p:cNvSpPr/>
          <p:nvPr/>
        </p:nvSpPr>
        <p:spPr>
          <a:xfrm>
            <a:off x="7794720" y="18954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71" name="CustomShape 48"/>
          <p:cNvSpPr/>
          <p:nvPr/>
        </p:nvSpPr>
        <p:spPr>
          <a:xfrm>
            <a:off x="7997040" y="18954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72" name="CustomShape 49"/>
          <p:cNvSpPr/>
          <p:nvPr/>
        </p:nvSpPr>
        <p:spPr>
          <a:xfrm>
            <a:off x="8199000" y="18954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73" name="CustomShape 50"/>
          <p:cNvSpPr/>
          <p:nvPr/>
        </p:nvSpPr>
        <p:spPr>
          <a:xfrm>
            <a:off x="6784560" y="20739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74" name="CustomShape 51"/>
          <p:cNvSpPr/>
          <p:nvPr/>
        </p:nvSpPr>
        <p:spPr>
          <a:xfrm>
            <a:off x="6986520" y="20739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75" name="CustomShape 52"/>
          <p:cNvSpPr/>
          <p:nvPr/>
        </p:nvSpPr>
        <p:spPr>
          <a:xfrm>
            <a:off x="7188840" y="2073960"/>
            <a:ext cx="136080" cy="136080"/>
          </a:xfrm>
          <a:prstGeom prst="ellipse">
            <a:avLst/>
          </a:prstGeom>
          <a:solidFill>
            <a:schemeClr val="tx2"/>
          </a:solidFill>
          <a:ln w="12600">
            <a:noFill/>
          </a:ln>
        </p:spPr>
        <p:style>
          <a:lnRef idx="0">
            <a:scrgbClr r="0" g="0" b="0"/>
          </a:lnRef>
          <a:fillRef idx="0">
            <a:scrgbClr r="0" g="0" b="0"/>
          </a:fillRef>
          <a:effectRef idx="0">
            <a:scrgbClr r="0" g="0" b="0"/>
          </a:effectRef>
          <a:fontRef idx="minor"/>
        </p:style>
      </p:sp>
      <p:sp>
        <p:nvSpPr>
          <p:cNvPr id="576" name="CustomShape 53"/>
          <p:cNvSpPr/>
          <p:nvPr/>
        </p:nvSpPr>
        <p:spPr>
          <a:xfrm>
            <a:off x="7390800" y="2073960"/>
            <a:ext cx="136080" cy="136080"/>
          </a:xfrm>
          <a:prstGeom prst="ellipse">
            <a:avLst/>
          </a:prstGeom>
          <a:solidFill>
            <a:schemeClr val="tx2"/>
          </a:solidFill>
          <a:ln w="12600">
            <a:noFill/>
          </a:ln>
        </p:spPr>
        <p:style>
          <a:lnRef idx="0">
            <a:scrgbClr r="0" g="0" b="0"/>
          </a:lnRef>
          <a:fillRef idx="0">
            <a:scrgbClr r="0" g="0" b="0"/>
          </a:fillRef>
          <a:effectRef idx="0">
            <a:scrgbClr r="0" g="0" b="0"/>
          </a:effectRef>
          <a:fontRef idx="minor"/>
        </p:style>
      </p:sp>
      <p:sp>
        <p:nvSpPr>
          <p:cNvPr id="577" name="CustomShape 54"/>
          <p:cNvSpPr/>
          <p:nvPr/>
        </p:nvSpPr>
        <p:spPr>
          <a:xfrm>
            <a:off x="7592760" y="20739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78" name="CustomShape 55"/>
          <p:cNvSpPr/>
          <p:nvPr/>
        </p:nvSpPr>
        <p:spPr>
          <a:xfrm>
            <a:off x="7794720" y="20739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79" name="CustomShape 56"/>
          <p:cNvSpPr/>
          <p:nvPr/>
        </p:nvSpPr>
        <p:spPr>
          <a:xfrm>
            <a:off x="7997040" y="20739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80" name="CustomShape 57"/>
          <p:cNvSpPr/>
          <p:nvPr/>
        </p:nvSpPr>
        <p:spPr>
          <a:xfrm>
            <a:off x="8199000" y="20739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81" name="CustomShape 58"/>
          <p:cNvSpPr/>
          <p:nvPr/>
        </p:nvSpPr>
        <p:spPr>
          <a:xfrm>
            <a:off x="678456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582" name="CustomShape 59"/>
          <p:cNvSpPr/>
          <p:nvPr/>
        </p:nvSpPr>
        <p:spPr>
          <a:xfrm>
            <a:off x="698652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583" name="CustomShape 60"/>
          <p:cNvSpPr/>
          <p:nvPr/>
        </p:nvSpPr>
        <p:spPr>
          <a:xfrm>
            <a:off x="718884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584" name="CustomShape 61"/>
          <p:cNvSpPr/>
          <p:nvPr/>
        </p:nvSpPr>
        <p:spPr>
          <a:xfrm>
            <a:off x="739080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585" name="CustomShape 62"/>
          <p:cNvSpPr/>
          <p:nvPr/>
        </p:nvSpPr>
        <p:spPr>
          <a:xfrm>
            <a:off x="759276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586" name="CustomShape 63"/>
          <p:cNvSpPr/>
          <p:nvPr/>
        </p:nvSpPr>
        <p:spPr>
          <a:xfrm>
            <a:off x="779472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587" name="CustomShape 64"/>
          <p:cNvSpPr/>
          <p:nvPr/>
        </p:nvSpPr>
        <p:spPr>
          <a:xfrm>
            <a:off x="799704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588" name="CustomShape 65"/>
          <p:cNvSpPr/>
          <p:nvPr/>
        </p:nvSpPr>
        <p:spPr>
          <a:xfrm>
            <a:off x="819900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589" name="CustomShape 66"/>
          <p:cNvSpPr/>
          <p:nvPr/>
        </p:nvSpPr>
        <p:spPr>
          <a:xfrm>
            <a:off x="8398800" y="962640"/>
            <a:ext cx="1672560" cy="148680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590" name="CustomShape 67"/>
          <p:cNvSpPr/>
          <p:nvPr/>
        </p:nvSpPr>
        <p:spPr>
          <a:xfrm>
            <a:off x="845748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91" name="CustomShape 68"/>
          <p:cNvSpPr/>
          <p:nvPr/>
        </p:nvSpPr>
        <p:spPr>
          <a:xfrm>
            <a:off x="865944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92" name="CustomShape 69"/>
          <p:cNvSpPr/>
          <p:nvPr/>
        </p:nvSpPr>
        <p:spPr>
          <a:xfrm>
            <a:off x="886140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93" name="CustomShape 70"/>
          <p:cNvSpPr/>
          <p:nvPr/>
        </p:nvSpPr>
        <p:spPr>
          <a:xfrm>
            <a:off x="906372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94" name="CustomShape 71"/>
          <p:cNvSpPr/>
          <p:nvPr/>
        </p:nvSpPr>
        <p:spPr>
          <a:xfrm>
            <a:off x="926568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95" name="CustomShape 72"/>
          <p:cNvSpPr/>
          <p:nvPr/>
        </p:nvSpPr>
        <p:spPr>
          <a:xfrm>
            <a:off x="946764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96" name="CustomShape 73"/>
          <p:cNvSpPr/>
          <p:nvPr/>
        </p:nvSpPr>
        <p:spPr>
          <a:xfrm>
            <a:off x="966960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97" name="CustomShape 74"/>
          <p:cNvSpPr/>
          <p:nvPr/>
        </p:nvSpPr>
        <p:spPr>
          <a:xfrm>
            <a:off x="987192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98" name="CustomShape 75"/>
          <p:cNvSpPr/>
          <p:nvPr/>
        </p:nvSpPr>
        <p:spPr>
          <a:xfrm>
            <a:off x="845748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599" name="CustomShape 76"/>
          <p:cNvSpPr/>
          <p:nvPr/>
        </p:nvSpPr>
        <p:spPr>
          <a:xfrm>
            <a:off x="865944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00" name="CustomShape 77"/>
          <p:cNvSpPr/>
          <p:nvPr/>
        </p:nvSpPr>
        <p:spPr>
          <a:xfrm>
            <a:off x="886140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01" name="CustomShape 78"/>
          <p:cNvSpPr/>
          <p:nvPr/>
        </p:nvSpPr>
        <p:spPr>
          <a:xfrm>
            <a:off x="906372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02" name="CustomShape 79"/>
          <p:cNvSpPr/>
          <p:nvPr/>
        </p:nvSpPr>
        <p:spPr>
          <a:xfrm>
            <a:off x="926568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03" name="CustomShape 80"/>
          <p:cNvSpPr/>
          <p:nvPr/>
        </p:nvSpPr>
        <p:spPr>
          <a:xfrm>
            <a:off x="946764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04" name="CustomShape 81"/>
          <p:cNvSpPr/>
          <p:nvPr/>
        </p:nvSpPr>
        <p:spPr>
          <a:xfrm>
            <a:off x="966960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05" name="CustomShape 82"/>
          <p:cNvSpPr/>
          <p:nvPr/>
        </p:nvSpPr>
        <p:spPr>
          <a:xfrm>
            <a:off x="987192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06" name="CustomShape 83"/>
          <p:cNvSpPr/>
          <p:nvPr/>
        </p:nvSpPr>
        <p:spPr>
          <a:xfrm>
            <a:off x="8457480" y="135972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607" name="CustomShape 84"/>
          <p:cNvSpPr/>
          <p:nvPr/>
        </p:nvSpPr>
        <p:spPr>
          <a:xfrm>
            <a:off x="8659440" y="13597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08" name="CustomShape 85"/>
          <p:cNvSpPr/>
          <p:nvPr/>
        </p:nvSpPr>
        <p:spPr>
          <a:xfrm>
            <a:off x="8861400" y="13597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09" name="CustomShape 86"/>
          <p:cNvSpPr/>
          <p:nvPr/>
        </p:nvSpPr>
        <p:spPr>
          <a:xfrm>
            <a:off x="9063720" y="13597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10" name="CustomShape 87"/>
          <p:cNvSpPr/>
          <p:nvPr/>
        </p:nvSpPr>
        <p:spPr>
          <a:xfrm>
            <a:off x="9265680" y="13597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11" name="CustomShape 88"/>
          <p:cNvSpPr/>
          <p:nvPr/>
        </p:nvSpPr>
        <p:spPr>
          <a:xfrm>
            <a:off x="9467640" y="13597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12" name="CustomShape 89"/>
          <p:cNvSpPr/>
          <p:nvPr/>
        </p:nvSpPr>
        <p:spPr>
          <a:xfrm>
            <a:off x="9669600" y="13597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13" name="CustomShape 90"/>
          <p:cNvSpPr/>
          <p:nvPr/>
        </p:nvSpPr>
        <p:spPr>
          <a:xfrm>
            <a:off x="9871920" y="13597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14" name="CustomShape 91"/>
          <p:cNvSpPr/>
          <p:nvPr/>
        </p:nvSpPr>
        <p:spPr>
          <a:xfrm>
            <a:off x="8457480" y="153828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615" name="CustomShape 92"/>
          <p:cNvSpPr/>
          <p:nvPr/>
        </p:nvSpPr>
        <p:spPr>
          <a:xfrm>
            <a:off x="8659440" y="153828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616" name="CustomShape 93"/>
          <p:cNvSpPr/>
          <p:nvPr/>
        </p:nvSpPr>
        <p:spPr>
          <a:xfrm>
            <a:off x="8861400" y="15382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17" name="CustomShape 94"/>
          <p:cNvSpPr/>
          <p:nvPr/>
        </p:nvSpPr>
        <p:spPr>
          <a:xfrm>
            <a:off x="9063720" y="15382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18" name="CustomShape 95"/>
          <p:cNvSpPr/>
          <p:nvPr/>
        </p:nvSpPr>
        <p:spPr>
          <a:xfrm>
            <a:off x="9265680" y="15382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19" name="CustomShape 96"/>
          <p:cNvSpPr/>
          <p:nvPr/>
        </p:nvSpPr>
        <p:spPr>
          <a:xfrm>
            <a:off x="9467640" y="15382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20" name="CustomShape 97"/>
          <p:cNvSpPr/>
          <p:nvPr/>
        </p:nvSpPr>
        <p:spPr>
          <a:xfrm>
            <a:off x="9669600" y="15382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21" name="CustomShape 98"/>
          <p:cNvSpPr/>
          <p:nvPr/>
        </p:nvSpPr>
        <p:spPr>
          <a:xfrm>
            <a:off x="9871920" y="153828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622" name="CustomShape 99"/>
          <p:cNvSpPr/>
          <p:nvPr/>
        </p:nvSpPr>
        <p:spPr>
          <a:xfrm>
            <a:off x="8457480" y="17168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23" name="CustomShape 100"/>
          <p:cNvSpPr/>
          <p:nvPr/>
        </p:nvSpPr>
        <p:spPr>
          <a:xfrm>
            <a:off x="8659440" y="17168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24" name="CustomShape 101"/>
          <p:cNvSpPr/>
          <p:nvPr/>
        </p:nvSpPr>
        <p:spPr>
          <a:xfrm>
            <a:off x="8861400" y="17168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25" name="CustomShape 102"/>
          <p:cNvSpPr/>
          <p:nvPr/>
        </p:nvSpPr>
        <p:spPr>
          <a:xfrm>
            <a:off x="9063720" y="17168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26" name="CustomShape 103"/>
          <p:cNvSpPr/>
          <p:nvPr/>
        </p:nvSpPr>
        <p:spPr>
          <a:xfrm>
            <a:off x="9265680" y="17168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27" name="CustomShape 104"/>
          <p:cNvSpPr/>
          <p:nvPr/>
        </p:nvSpPr>
        <p:spPr>
          <a:xfrm>
            <a:off x="9467640" y="17168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28" name="CustomShape 105"/>
          <p:cNvSpPr/>
          <p:nvPr/>
        </p:nvSpPr>
        <p:spPr>
          <a:xfrm>
            <a:off x="9669600" y="17168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29" name="CustomShape 106"/>
          <p:cNvSpPr/>
          <p:nvPr/>
        </p:nvSpPr>
        <p:spPr>
          <a:xfrm>
            <a:off x="9871920" y="17168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30" name="CustomShape 107"/>
          <p:cNvSpPr/>
          <p:nvPr/>
        </p:nvSpPr>
        <p:spPr>
          <a:xfrm>
            <a:off x="8457480" y="18954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31" name="CustomShape 108"/>
          <p:cNvSpPr/>
          <p:nvPr/>
        </p:nvSpPr>
        <p:spPr>
          <a:xfrm>
            <a:off x="8659440" y="18954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32" name="CustomShape 109"/>
          <p:cNvSpPr/>
          <p:nvPr/>
        </p:nvSpPr>
        <p:spPr>
          <a:xfrm>
            <a:off x="8861400" y="18954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33" name="CustomShape 110"/>
          <p:cNvSpPr/>
          <p:nvPr/>
        </p:nvSpPr>
        <p:spPr>
          <a:xfrm>
            <a:off x="9063720" y="18954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34" name="CustomShape 111"/>
          <p:cNvSpPr/>
          <p:nvPr/>
        </p:nvSpPr>
        <p:spPr>
          <a:xfrm>
            <a:off x="9265680" y="18954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35" name="CustomShape 112"/>
          <p:cNvSpPr/>
          <p:nvPr/>
        </p:nvSpPr>
        <p:spPr>
          <a:xfrm>
            <a:off x="9467640" y="18954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36" name="CustomShape 113"/>
          <p:cNvSpPr/>
          <p:nvPr/>
        </p:nvSpPr>
        <p:spPr>
          <a:xfrm>
            <a:off x="9669600" y="18954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37" name="CustomShape 114"/>
          <p:cNvSpPr/>
          <p:nvPr/>
        </p:nvSpPr>
        <p:spPr>
          <a:xfrm>
            <a:off x="9871920" y="18954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38" name="CustomShape 115"/>
          <p:cNvSpPr/>
          <p:nvPr/>
        </p:nvSpPr>
        <p:spPr>
          <a:xfrm>
            <a:off x="8457480" y="20739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39" name="CustomShape 116"/>
          <p:cNvSpPr/>
          <p:nvPr/>
        </p:nvSpPr>
        <p:spPr>
          <a:xfrm>
            <a:off x="8659440" y="20739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40" name="CustomShape 117"/>
          <p:cNvSpPr/>
          <p:nvPr/>
        </p:nvSpPr>
        <p:spPr>
          <a:xfrm>
            <a:off x="8861400" y="20739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41" name="CustomShape 118"/>
          <p:cNvSpPr/>
          <p:nvPr/>
        </p:nvSpPr>
        <p:spPr>
          <a:xfrm>
            <a:off x="9063720" y="20739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42" name="CustomShape 119"/>
          <p:cNvSpPr/>
          <p:nvPr/>
        </p:nvSpPr>
        <p:spPr>
          <a:xfrm>
            <a:off x="9265680" y="20739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43" name="CustomShape 120"/>
          <p:cNvSpPr/>
          <p:nvPr/>
        </p:nvSpPr>
        <p:spPr>
          <a:xfrm>
            <a:off x="9467640" y="20739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44" name="CustomShape 121"/>
          <p:cNvSpPr/>
          <p:nvPr/>
        </p:nvSpPr>
        <p:spPr>
          <a:xfrm>
            <a:off x="9669600" y="20739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45" name="CustomShape 122"/>
          <p:cNvSpPr/>
          <p:nvPr/>
        </p:nvSpPr>
        <p:spPr>
          <a:xfrm>
            <a:off x="9871920" y="20739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46" name="CustomShape 123"/>
          <p:cNvSpPr/>
          <p:nvPr/>
        </p:nvSpPr>
        <p:spPr>
          <a:xfrm>
            <a:off x="845748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647" name="CustomShape 124"/>
          <p:cNvSpPr/>
          <p:nvPr/>
        </p:nvSpPr>
        <p:spPr>
          <a:xfrm>
            <a:off x="865944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648" name="CustomShape 125"/>
          <p:cNvSpPr/>
          <p:nvPr/>
        </p:nvSpPr>
        <p:spPr>
          <a:xfrm>
            <a:off x="886140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649" name="CustomShape 126"/>
          <p:cNvSpPr/>
          <p:nvPr/>
        </p:nvSpPr>
        <p:spPr>
          <a:xfrm>
            <a:off x="906372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650" name="CustomShape 127"/>
          <p:cNvSpPr/>
          <p:nvPr/>
        </p:nvSpPr>
        <p:spPr>
          <a:xfrm>
            <a:off x="926568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651" name="CustomShape 128"/>
          <p:cNvSpPr/>
          <p:nvPr/>
        </p:nvSpPr>
        <p:spPr>
          <a:xfrm>
            <a:off x="946764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652" name="CustomShape 129"/>
          <p:cNvSpPr/>
          <p:nvPr/>
        </p:nvSpPr>
        <p:spPr>
          <a:xfrm>
            <a:off x="966960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653" name="CustomShape 130"/>
          <p:cNvSpPr/>
          <p:nvPr/>
        </p:nvSpPr>
        <p:spPr>
          <a:xfrm>
            <a:off x="987192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654" name="CustomShape 131"/>
          <p:cNvSpPr/>
          <p:nvPr/>
        </p:nvSpPr>
        <p:spPr>
          <a:xfrm>
            <a:off x="10071360" y="962640"/>
            <a:ext cx="1672560" cy="148680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655" name="CustomShape 132"/>
          <p:cNvSpPr/>
          <p:nvPr/>
        </p:nvSpPr>
        <p:spPr>
          <a:xfrm>
            <a:off x="1013040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56" name="CustomShape 133"/>
          <p:cNvSpPr/>
          <p:nvPr/>
        </p:nvSpPr>
        <p:spPr>
          <a:xfrm>
            <a:off x="1033236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57" name="CustomShape 134"/>
          <p:cNvSpPr/>
          <p:nvPr/>
        </p:nvSpPr>
        <p:spPr>
          <a:xfrm>
            <a:off x="1053432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58" name="CustomShape 135"/>
          <p:cNvSpPr/>
          <p:nvPr/>
        </p:nvSpPr>
        <p:spPr>
          <a:xfrm>
            <a:off x="1073628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59" name="CustomShape 136"/>
          <p:cNvSpPr/>
          <p:nvPr/>
        </p:nvSpPr>
        <p:spPr>
          <a:xfrm>
            <a:off x="1093860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60" name="CustomShape 137"/>
          <p:cNvSpPr/>
          <p:nvPr/>
        </p:nvSpPr>
        <p:spPr>
          <a:xfrm>
            <a:off x="1114056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61" name="CustomShape 138"/>
          <p:cNvSpPr/>
          <p:nvPr/>
        </p:nvSpPr>
        <p:spPr>
          <a:xfrm>
            <a:off x="1134252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62" name="CustomShape 139"/>
          <p:cNvSpPr/>
          <p:nvPr/>
        </p:nvSpPr>
        <p:spPr>
          <a:xfrm>
            <a:off x="11544480" y="10026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63" name="CustomShape 140"/>
          <p:cNvSpPr/>
          <p:nvPr/>
        </p:nvSpPr>
        <p:spPr>
          <a:xfrm>
            <a:off x="1013040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64" name="CustomShape 141"/>
          <p:cNvSpPr/>
          <p:nvPr/>
        </p:nvSpPr>
        <p:spPr>
          <a:xfrm>
            <a:off x="1033236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65" name="CustomShape 142"/>
          <p:cNvSpPr/>
          <p:nvPr/>
        </p:nvSpPr>
        <p:spPr>
          <a:xfrm>
            <a:off x="1053432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66" name="CustomShape 143"/>
          <p:cNvSpPr/>
          <p:nvPr/>
        </p:nvSpPr>
        <p:spPr>
          <a:xfrm>
            <a:off x="1073628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67" name="CustomShape 144"/>
          <p:cNvSpPr/>
          <p:nvPr/>
        </p:nvSpPr>
        <p:spPr>
          <a:xfrm>
            <a:off x="1093860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68" name="CustomShape 145"/>
          <p:cNvSpPr/>
          <p:nvPr/>
        </p:nvSpPr>
        <p:spPr>
          <a:xfrm>
            <a:off x="1114056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69" name="CustomShape 146"/>
          <p:cNvSpPr/>
          <p:nvPr/>
        </p:nvSpPr>
        <p:spPr>
          <a:xfrm>
            <a:off x="1134252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70" name="CustomShape 147"/>
          <p:cNvSpPr/>
          <p:nvPr/>
        </p:nvSpPr>
        <p:spPr>
          <a:xfrm>
            <a:off x="11544480" y="11811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71" name="CustomShape 148"/>
          <p:cNvSpPr/>
          <p:nvPr/>
        </p:nvSpPr>
        <p:spPr>
          <a:xfrm>
            <a:off x="10130400" y="135972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672" name="CustomShape 149"/>
          <p:cNvSpPr/>
          <p:nvPr/>
        </p:nvSpPr>
        <p:spPr>
          <a:xfrm>
            <a:off x="10332360" y="13597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73" name="CustomShape 150"/>
          <p:cNvSpPr/>
          <p:nvPr/>
        </p:nvSpPr>
        <p:spPr>
          <a:xfrm>
            <a:off x="10534320" y="13597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74" name="CustomShape 151"/>
          <p:cNvSpPr/>
          <p:nvPr/>
        </p:nvSpPr>
        <p:spPr>
          <a:xfrm>
            <a:off x="10736280" y="13597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75" name="CustomShape 152"/>
          <p:cNvSpPr/>
          <p:nvPr/>
        </p:nvSpPr>
        <p:spPr>
          <a:xfrm>
            <a:off x="10938600" y="13597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76" name="CustomShape 153"/>
          <p:cNvSpPr/>
          <p:nvPr/>
        </p:nvSpPr>
        <p:spPr>
          <a:xfrm>
            <a:off x="11140560" y="13597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77" name="CustomShape 154"/>
          <p:cNvSpPr/>
          <p:nvPr/>
        </p:nvSpPr>
        <p:spPr>
          <a:xfrm>
            <a:off x="11342520" y="13597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78" name="CustomShape 155"/>
          <p:cNvSpPr/>
          <p:nvPr/>
        </p:nvSpPr>
        <p:spPr>
          <a:xfrm>
            <a:off x="11544480" y="13597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79" name="CustomShape 156"/>
          <p:cNvSpPr/>
          <p:nvPr/>
        </p:nvSpPr>
        <p:spPr>
          <a:xfrm>
            <a:off x="10130400" y="153828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680" name="CustomShape 157"/>
          <p:cNvSpPr/>
          <p:nvPr/>
        </p:nvSpPr>
        <p:spPr>
          <a:xfrm>
            <a:off x="10332360" y="153828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681" name="CustomShape 158"/>
          <p:cNvSpPr/>
          <p:nvPr/>
        </p:nvSpPr>
        <p:spPr>
          <a:xfrm>
            <a:off x="10534320" y="15382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82" name="CustomShape 159"/>
          <p:cNvSpPr/>
          <p:nvPr/>
        </p:nvSpPr>
        <p:spPr>
          <a:xfrm>
            <a:off x="10736280" y="15382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83" name="CustomShape 160"/>
          <p:cNvSpPr/>
          <p:nvPr/>
        </p:nvSpPr>
        <p:spPr>
          <a:xfrm>
            <a:off x="10938600" y="15382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84" name="CustomShape 161"/>
          <p:cNvSpPr/>
          <p:nvPr/>
        </p:nvSpPr>
        <p:spPr>
          <a:xfrm>
            <a:off x="11140560" y="15382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85" name="CustomShape 162"/>
          <p:cNvSpPr/>
          <p:nvPr/>
        </p:nvSpPr>
        <p:spPr>
          <a:xfrm>
            <a:off x="11342520" y="153828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686" name="CustomShape 163"/>
          <p:cNvSpPr/>
          <p:nvPr/>
        </p:nvSpPr>
        <p:spPr>
          <a:xfrm>
            <a:off x="11544480" y="153828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687" name="CustomShape 164"/>
          <p:cNvSpPr/>
          <p:nvPr/>
        </p:nvSpPr>
        <p:spPr>
          <a:xfrm>
            <a:off x="10130400" y="17168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88" name="CustomShape 165"/>
          <p:cNvSpPr/>
          <p:nvPr/>
        </p:nvSpPr>
        <p:spPr>
          <a:xfrm>
            <a:off x="10332360" y="17168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89" name="CustomShape 166"/>
          <p:cNvSpPr/>
          <p:nvPr/>
        </p:nvSpPr>
        <p:spPr>
          <a:xfrm>
            <a:off x="10534320" y="17168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90" name="CustomShape 167"/>
          <p:cNvSpPr/>
          <p:nvPr/>
        </p:nvSpPr>
        <p:spPr>
          <a:xfrm>
            <a:off x="10736280" y="17168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91" name="CustomShape 168"/>
          <p:cNvSpPr/>
          <p:nvPr/>
        </p:nvSpPr>
        <p:spPr>
          <a:xfrm>
            <a:off x="10938600" y="17168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92" name="CustomShape 169"/>
          <p:cNvSpPr/>
          <p:nvPr/>
        </p:nvSpPr>
        <p:spPr>
          <a:xfrm>
            <a:off x="11140560" y="17168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93" name="CustomShape 170"/>
          <p:cNvSpPr/>
          <p:nvPr/>
        </p:nvSpPr>
        <p:spPr>
          <a:xfrm>
            <a:off x="11342520" y="17168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94" name="CustomShape 171"/>
          <p:cNvSpPr/>
          <p:nvPr/>
        </p:nvSpPr>
        <p:spPr>
          <a:xfrm>
            <a:off x="11544480" y="17168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95" name="CustomShape 172"/>
          <p:cNvSpPr/>
          <p:nvPr/>
        </p:nvSpPr>
        <p:spPr>
          <a:xfrm>
            <a:off x="10130400" y="18954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96" name="CustomShape 173"/>
          <p:cNvSpPr/>
          <p:nvPr/>
        </p:nvSpPr>
        <p:spPr>
          <a:xfrm>
            <a:off x="10332360" y="18954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97" name="CustomShape 174"/>
          <p:cNvSpPr/>
          <p:nvPr/>
        </p:nvSpPr>
        <p:spPr>
          <a:xfrm>
            <a:off x="10534320" y="18954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98" name="CustomShape 175"/>
          <p:cNvSpPr/>
          <p:nvPr/>
        </p:nvSpPr>
        <p:spPr>
          <a:xfrm>
            <a:off x="10736280" y="18954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699" name="CustomShape 176"/>
          <p:cNvSpPr/>
          <p:nvPr/>
        </p:nvSpPr>
        <p:spPr>
          <a:xfrm>
            <a:off x="10938600" y="18954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00" name="CustomShape 177"/>
          <p:cNvSpPr/>
          <p:nvPr/>
        </p:nvSpPr>
        <p:spPr>
          <a:xfrm>
            <a:off x="11140560" y="18954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01" name="CustomShape 178"/>
          <p:cNvSpPr/>
          <p:nvPr/>
        </p:nvSpPr>
        <p:spPr>
          <a:xfrm>
            <a:off x="11342520" y="18954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02" name="CustomShape 179"/>
          <p:cNvSpPr/>
          <p:nvPr/>
        </p:nvSpPr>
        <p:spPr>
          <a:xfrm>
            <a:off x="11544480" y="18954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03" name="CustomShape 180"/>
          <p:cNvSpPr/>
          <p:nvPr/>
        </p:nvSpPr>
        <p:spPr>
          <a:xfrm>
            <a:off x="10130400" y="20739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04" name="CustomShape 181"/>
          <p:cNvSpPr/>
          <p:nvPr/>
        </p:nvSpPr>
        <p:spPr>
          <a:xfrm>
            <a:off x="10332360" y="20739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05" name="CustomShape 182"/>
          <p:cNvSpPr/>
          <p:nvPr/>
        </p:nvSpPr>
        <p:spPr>
          <a:xfrm>
            <a:off x="10534320" y="20739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06" name="CustomShape 183"/>
          <p:cNvSpPr/>
          <p:nvPr/>
        </p:nvSpPr>
        <p:spPr>
          <a:xfrm>
            <a:off x="10736280" y="20739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07" name="CustomShape 184"/>
          <p:cNvSpPr/>
          <p:nvPr/>
        </p:nvSpPr>
        <p:spPr>
          <a:xfrm>
            <a:off x="10938600" y="20739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08" name="CustomShape 185"/>
          <p:cNvSpPr/>
          <p:nvPr/>
        </p:nvSpPr>
        <p:spPr>
          <a:xfrm>
            <a:off x="11140560" y="20739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09" name="CustomShape 186"/>
          <p:cNvSpPr/>
          <p:nvPr/>
        </p:nvSpPr>
        <p:spPr>
          <a:xfrm>
            <a:off x="11342520" y="20739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10" name="CustomShape 187"/>
          <p:cNvSpPr/>
          <p:nvPr/>
        </p:nvSpPr>
        <p:spPr>
          <a:xfrm>
            <a:off x="11544480" y="20739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11" name="CustomShape 188"/>
          <p:cNvSpPr/>
          <p:nvPr/>
        </p:nvSpPr>
        <p:spPr>
          <a:xfrm>
            <a:off x="1013040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712" name="CustomShape 189"/>
          <p:cNvSpPr/>
          <p:nvPr/>
        </p:nvSpPr>
        <p:spPr>
          <a:xfrm>
            <a:off x="1033236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713" name="CustomShape 190"/>
          <p:cNvSpPr/>
          <p:nvPr/>
        </p:nvSpPr>
        <p:spPr>
          <a:xfrm>
            <a:off x="1053432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714" name="CustomShape 191"/>
          <p:cNvSpPr/>
          <p:nvPr/>
        </p:nvSpPr>
        <p:spPr>
          <a:xfrm>
            <a:off x="1073628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715" name="CustomShape 192"/>
          <p:cNvSpPr/>
          <p:nvPr/>
        </p:nvSpPr>
        <p:spPr>
          <a:xfrm>
            <a:off x="1093860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716" name="CustomShape 193"/>
          <p:cNvSpPr/>
          <p:nvPr/>
        </p:nvSpPr>
        <p:spPr>
          <a:xfrm>
            <a:off x="1114056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717" name="CustomShape 194"/>
          <p:cNvSpPr/>
          <p:nvPr/>
        </p:nvSpPr>
        <p:spPr>
          <a:xfrm>
            <a:off x="1134252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718" name="CustomShape 195"/>
          <p:cNvSpPr/>
          <p:nvPr/>
        </p:nvSpPr>
        <p:spPr>
          <a:xfrm>
            <a:off x="11544480" y="225252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719" name="CustomShape 196"/>
          <p:cNvSpPr/>
          <p:nvPr/>
        </p:nvSpPr>
        <p:spPr>
          <a:xfrm>
            <a:off x="495720" y="328680"/>
            <a:ext cx="3186720" cy="534240"/>
          </a:xfrm>
          <a:prstGeom prst="rect">
            <a:avLst/>
          </a:prstGeom>
          <a:noFill/>
          <a:ln w="12600">
            <a:noFill/>
          </a:ln>
        </p:spPr>
        <p:style>
          <a:lnRef idx="0">
            <a:scrgbClr r="0" g="0" b="0"/>
          </a:lnRef>
          <a:fillRef idx="0">
            <a:scrgbClr r="0" g="0" b="0"/>
          </a:fillRef>
          <a:effectRef idx="0">
            <a:scrgbClr r="0" g="0" b="0"/>
          </a:effectRef>
          <a:fontRef idx="minor"/>
        </p:style>
        <p:txBody>
          <a:bodyPr lIns="72000" tIns="36000" rIns="73080" bIns="36720"/>
          <a:lstStyle/>
          <a:p>
            <a:pPr>
              <a:lnSpc>
                <a:spcPct val="100000"/>
              </a:lnSpc>
            </a:pPr>
            <a:r>
              <a:rPr lang="sv-SE" sz="4000" b="0" strike="noStrike" spc="-1">
                <a:solidFill>
                  <a:srgbClr val="181818"/>
                </a:solidFill>
                <a:uFill>
                  <a:solidFill>
                    <a:srgbClr val="FFFFFF"/>
                  </a:solidFill>
                </a:uFill>
                <a:latin typeface="Ericsson Hilda"/>
              </a:rPr>
              <a:t>Spelmekanik</a:t>
            </a:r>
            <a:endParaRPr lang="sv-SE" sz="4000" b="0" strike="noStrike" spc="-1">
              <a:solidFill>
                <a:srgbClr val="000000"/>
              </a:solidFill>
              <a:uFill>
                <a:solidFill>
                  <a:srgbClr val="FFFFFF"/>
                </a:solidFill>
              </a:uFill>
              <a:latin typeface="Arial"/>
            </a:endParaRPr>
          </a:p>
        </p:txBody>
      </p:sp>
      <p:sp>
        <p:nvSpPr>
          <p:cNvPr id="720" name="CustomShape 197"/>
          <p:cNvSpPr/>
          <p:nvPr/>
        </p:nvSpPr>
        <p:spPr>
          <a:xfrm>
            <a:off x="6725880" y="2767680"/>
            <a:ext cx="1672560" cy="148680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721" name="CustomShape 198"/>
          <p:cNvSpPr/>
          <p:nvPr/>
        </p:nvSpPr>
        <p:spPr>
          <a:xfrm>
            <a:off x="678456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22" name="CustomShape 199"/>
          <p:cNvSpPr/>
          <p:nvPr/>
        </p:nvSpPr>
        <p:spPr>
          <a:xfrm>
            <a:off x="698652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23" name="CustomShape 200"/>
          <p:cNvSpPr/>
          <p:nvPr/>
        </p:nvSpPr>
        <p:spPr>
          <a:xfrm>
            <a:off x="718884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24" name="CustomShape 201"/>
          <p:cNvSpPr/>
          <p:nvPr/>
        </p:nvSpPr>
        <p:spPr>
          <a:xfrm>
            <a:off x="739080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25" name="CustomShape 202"/>
          <p:cNvSpPr/>
          <p:nvPr/>
        </p:nvSpPr>
        <p:spPr>
          <a:xfrm>
            <a:off x="759276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26" name="CustomShape 203"/>
          <p:cNvSpPr/>
          <p:nvPr/>
        </p:nvSpPr>
        <p:spPr>
          <a:xfrm>
            <a:off x="779472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27" name="CustomShape 204"/>
          <p:cNvSpPr/>
          <p:nvPr/>
        </p:nvSpPr>
        <p:spPr>
          <a:xfrm>
            <a:off x="799704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28" name="CustomShape 205"/>
          <p:cNvSpPr/>
          <p:nvPr/>
        </p:nvSpPr>
        <p:spPr>
          <a:xfrm>
            <a:off x="819900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29" name="CustomShape 206"/>
          <p:cNvSpPr/>
          <p:nvPr/>
        </p:nvSpPr>
        <p:spPr>
          <a:xfrm>
            <a:off x="678456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30" name="CustomShape 207"/>
          <p:cNvSpPr/>
          <p:nvPr/>
        </p:nvSpPr>
        <p:spPr>
          <a:xfrm>
            <a:off x="698652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31" name="CustomShape 208"/>
          <p:cNvSpPr/>
          <p:nvPr/>
        </p:nvSpPr>
        <p:spPr>
          <a:xfrm>
            <a:off x="718884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32" name="CustomShape 209"/>
          <p:cNvSpPr/>
          <p:nvPr/>
        </p:nvSpPr>
        <p:spPr>
          <a:xfrm>
            <a:off x="739080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33" name="CustomShape 210"/>
          <p:cNvSpPr/>
          <p:nvPr/>
        </p:nvSpPr>
        <p:spPr>
          <a:xfrm>
            <a:off x="759276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34" name="CustomShape 211"/>
          <p:cNvSpPr/>
          <p:nvPr/>
        </p:nvSpPr>
        <p:spPr>
          <a:xfrm>
            <a:off x="779472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35" name="CustomShape 212"/>
          <p:cNvSpPr/>
          <p:nvPr/>
        </p:nvSpPr>
        <p:spPr>
          <a:xfrm>
            <a:off x="799704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36" name="CustomShape 213"/>
          <p:cNvSpPr/>
          <p:nvPr/>
        </p:nvSpPr>
        <p:spPr>
          <a:xfrm>
            <a:off x="819900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37" name="CustomShape 214"/>
          <p:cNvSpPr/>
          <p:nvPr/>
        </p:nvSpPr>
        <p:spPr>
          <a:xfrm>
            <a:off x="6784560" y="31647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38" name="CustomShape 215"/>
          <p:cNvSpPr/>
          <p:nvPr/>
        </p:nvSpPr>
        <p:spPr>
          <a:xfrm>
            <a:off x="6986520" y="31647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39" name="CustomShape 216"/>
          <p:cNvSpPr/>
          <p:nvPr/>
        </p:nvSpPr>
        <p:spPr>
          <a:xfrm>
            <a:off x="7188840" y="31647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40" name="CustomShape 217"/>
          <p:cNvSpPr/>
          <p:nvPr/>
        </p:nvSpPr>
        <p:spPr>
          <a:xfrm>
            <a:off x="7390800" y="31647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41" name="CustomShape 218"/>
          <p:cNvSpPr/>
          <p:nvPr/>
        </p:nvSpPr>
        <p:spPr>
          <a:xfrm>
            <a:off x="7592760" y="31647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42" name="CustomShape 219"/>
          <p:cNvSpPr/>
          <p:nvPr/>
        </p:nvSpPr>
        <p:spPr>
          <a:xfrm>
            <a:off x="7794720" y="31647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43" name="CustomShape 220"/>
          <p:cNvSpPr/>
          <p:nvPr/>
        </p:nvSpPr>
        <p:spPr>
          <a:xfrm>
            <a:off x="7997040" y="31647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44" name="CustomShape 221"/>
          <p:cNvSpPr/>
          <p:nvPr/>
        </p:nvSpPr>
        <p:spPr>
          <a:xfrm>
            <a:off x="8199000" y="31647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45" name="CustomShape 222"/>
          <p:cNvSpPr/>
          <p:nvPr/>
        </p:nvSpPr>
        <p:spPr>
          <a:xfrm>
            <a:off x="6784560" y="33433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46" name="CustomShape 223"/>
          <p:cNvSpPr/>
          <p:nvPr/>
        </p:nvSpPr>
        <p:spPr>
          <a:xfrm>
            <a:off x="6986520" y="33433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47" name="CustomShape 224"/>
          <p:cNvSpPr/>
          <p:nvPr/>
        </p:nvSpPr>
        <p:spPr>
          <a:xfrm>
            <a:off x="7188840" y="33433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48" name="CustomShape 225"/>
          <p:cNvSpPr/>
          <p:nvPr/>
        </p:nvSpPr>
        <p:spPr>
          <a:xfrm>
            <a:off x="7390800" y="33433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49" name="CustomShape 226"/>
          <p:cNvSpPr/>
          <p:nvPr/>
        </p:nvSpPr>
        <p:spPr>
          <a:xfrm>
            <a:off x="7592760" y="33433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50" name="CustomShape 227"/>
          <p:cNvSpPr/>
          <p:nvPr/>
        </p:nvSpPr>
        <p:spPr>
          <a:xfrm>
            <a:off x="7794720" y="33433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51" name="CustomShape 228"/>
          <p:cNvSpPr/>
          <p:nvPr/>
        </p:nvSpPr>
        <p:spPr>
          <a:xfrm>
            <a:off x="7997040" y="33433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52" name="CustomShape 229"/>
          <p:cNvSpPr/>
          <p:nvPr/>
        </p:nvSpPr>
        <p:spPr>
          <a:xfrm>
            <a:off x="8199000" y="334332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753" name="CustomShape 230"/>
          <p:cNvSpPr/>
          <p:nvPr/>
        </p:nvSpPr>
        <p:spPr>
          <a:xfrm>
            <a:off x="6784560" y="3521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54" name="CustomShape 231"/>
          <p:cNvSpPr/>
          <p:nvPr/>
        </p:nvSpPr>
        <p:spPr>
          <a:xfrm>
            <a:off x="6986520" y="3521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55" name="CustomShape 232"/>
          <p:cNvSpPr/>
          <p:nvPr/>
        </p:nvSpPr>
        <p:spPr>
          <a:xfrm>
            <a:off x="7188840" y="3521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56" name="CustomShape 233"/>
          <p:cNvSpPr/>
          <p:nvPr/>
        </p:nvSpPr>
        <p:spPr>
          <a:xfrm>
            <a:off x="7390800" y="3521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57" name="CustomShape 234"/>
          <p:cNvSpPr/>
          <p:nvPr/>
        </p:nvSpPr>
        <p:spPr>
          <a:xfrm>
            <a:off x="7592760" y="3521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58" name="CustomShape 235"/>
          <p:cNvSpPr/>
          <p:nvPr/>
        </p:nvSpPr>
        <p:spPr>
          <a:xfrm>
            <a:off x="7794720" y="3521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59" name="CustomShape 236"/>
          <p:cNvSpPr/>
          <p:nvPr/>
        </p:nvSpPr>
        <p:spPr>
          <a:xfrm>
            <a:off x="7997040" y="3521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60" name="CustomShape 237"/>
          <p:cNvSpPr/>
          <p:nvPr/>
        </p:nvSpPr>
        <p:spPr>
          <a:xfrm>
            <a:off x="8199000" y="3521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61" name="CustomShape 238"/>
          <p:cNvSpPr/>
          <p:nvPr/>
        </p:nvSpPr>
        <p:spPr>
          <a:xfrm>
            <a:off x="6784560" y="3700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62" name="CustomShape 239"/>
          <p:cNvSpPr/>
          <p:nvPr/>
        </p:nvSpPr>
        <p:spPr>
          <a:xfrm>
            <a:off x="6986520" y="3700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63" name="CustomShape 240"/>
          <p:cNvSpPr/>
          <p:nvPr/>
        </p:nvSpPr>
        <p:spPr>
          <a:xfrm>
            <a:off x="7188840" y="3700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64" name="CustomShape 241"/>
          <p:cNvSpPr/>
          <p:nvPr/>
        </p:nvSpPr>
        <p:spPr>
          <a:xfrm>
            <a:off x="7390800" y="3700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65" name="CustomShape 242"/>
          <p:cNvSpPr/>
          <p:nvPr/>
        </p:nvSpPr>
        <p:spPr>
          <a:xfrm>
            <a:off x="7592760" y="3700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66" name="CustomShape 243"/>
          <p:cNvSpPr/>
          <p:nvPr/>
        </p:nvSpPr>
        <p:spPr>
          <a:xfrm>
            <a:off x="7794720" y="3700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67" name="CustomShape 244"/>
          <p:cNvSpPr/>
          <p:nvPr/>
        </p:nvSpPr>
        <p:spPr>
          <a:xfrm>
            <a:off x="7997040" y="3700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68" name="CustomShape 245"/>
          <p:cNvSpPr/>
          <p:nvPr/>
        </p:nvSpPr>
        <p:spPr>
          <a:xfrm>
            <a:off x="8199000" y="3700440"/>
            <a:ext cx="136080" cy="13608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769" name="CustomShape 246"/>
          <p:cNvSpPr/>
          <p:nvPr/>
        </p:nvSpPr>
        <p:spPr>
          <a:xfrm>
            <a:off x="6784560" y="3879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70" name="CustomShape 247"/>
          <p:cNvSpPr/>
          <p:nvPr/>
        </p:nvSpPr>
        <p:spPr>
          <a:xfrm>
            <a:off x="6986520" y="3879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71" name="CustomShape 248"/>
          <p:cNvSpPr/>
          <p:nvPr/>
        </p:nvSpPr>
        <p:spPr>
          <a:xfrm>
            <a:off x="7188840" y="3879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72" name="CustomShape 249"/>
          <p:cNvSpPr/>
          <p:nvPr/>
        </p:nvSpPr>
        <p:spPr>
          <a:xfrm>
            <a:off x="7390800" y="3879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73" name="CustomShape 250"/>
          <p:cNvSpPr/>
          <p:nvPr/>
        </p:nvSpPr>
        <p:spPr>
          <a:xfrm>
            <a:off x="7592760" y="3879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74" name="CustomShape 251"/>
          <p:cNvSpPr/>
          <p:nvPr/>
        </p:nvSpPr>
        <p:spPr>
          <a:xfrm>
            <a:off x="7794720" y="3879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75" name="CustomShape 252"/>
          <p:cNvSpPr/>
          <p:nvPr/>
        </p:nvSpPr>
        <p:spPr>
          <a:xfrm>
            <a:off x="7997040" y="3879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76" name="CustomShape 253"/>
          <p:cNvSpPr/>
          <p:nvPr/>
        </p:nvSpPr>
        <p:spPr>
          <a:xfrm>
            <a:off x="8199000" y="3879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77" name="CustomShape 254"/>
          <p:cNvSpPr/>
          <p:nvPr/>
        </p:nvSpPr>
        <p:spPr>
          <a:xfrm>
            <a:off x="678456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778" name="CustomShape 255"/>
          <p:cNvSpPr/>
          <p:nvPr/>
        </p:nvSpPr>
        <p:spPr>
          <a:xfrm>
            <a:off x="698652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779" name="CustomShape 256"/>
          <p:cNvSpPr/>
          <p:nvPr/>
        </p:nvSpPr>
        <p:spPr>
          <a:xfrm>
            <a:off x="718884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780" name="CustomShape 257"/>
          <p:cNvSpPr/>
          <p:nvPr/>
        </p:nvSpPr>
        <p:spPr>
          <a:xfrm>
            <a:off x="739080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781" name="CustomShape 258"/>
          <p:cNvSpPr/>
          <p:nvPr/>
        </p:nvSpPr>
        <p:spPr>
          <a:xfrm>
            <a:off x="759276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782" name="CustomShape 259"/>
          <p:cNvSpPr/>
          <p:nvPr/>
        </p:nvSpPr>
        <p:spPr>
          <a:xfrm>
            <a:off x="779472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783" name="CustomShape 260"/>
          <p:cNvSpPr/>
          <p:nvPr/>
        </p:nvSpPr>
        <p:spPr>
          <a:xfrm>
            <a:off x="799704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784" name="CustomShape 261"/>
          <p:cNvSpPr/>
          <p:nvPr/>
        </p:nvSpPr>
        <p:spPr>
          <a:xfrm>
            <a:off x="819900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785" name="CustomShape 262"/>
          <p:cNvSpPr/>
          <p:nvPr/>
        </p:nvSpPr>
        <p:spPr>
          <a:xfrm>
            <a:off x="8398800" y="2767680"/>
            <a:ext cx="1672560" cy="148680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786" name="CustomShape 263"/>
          <p:cNvSpPr/>
          <p:nvPr/>
        </p:nvSpPr>
        <p:spPr>
          <a:xfrm>
            <a:off x="845748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87" name="CustomShape 264"/>
          <p:cNvSpPr/>
          <p:nvPr/>
        </p:nvSpPr>
        <p:spPr>
          <a:xfrm>
            <a:off x="865944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88" name="CustomShape 265"/>
          <p:cNvSpPr/>
          <p:nvPr/>
        </p:nvSpPr>
        <p:spPr>
          <a:xfrm>
            <a:off x="886140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89" name="CustomShape 266"/>
          <p:cNvSpPr/>
          <p:nvPr/>
        </p:nvSpPr>
        <p:spPr>
          <a:xfrm>
            <a:off x="906372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90" name="CustomShape 267"/>
          <p:cNvSpPr/>
          <p:nvPr/>
        </p:nvSpPr>
        <p:spPr>
          <a:xfrm>
            <a:off x="926568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91" name="CustomShape 268"/>
          <p:cNvSpPr/>
          <p:nvPr/>
        </p:nvSpPr>
        <p:spPr>
          <a:xfrm>
            <a:off x="946764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92" name="CustomShape 269"/>
          <p:cNvSpPr/>
          <p:nvPr/>
        </p:nvSpPr>
        <p:spPr>
          <a:xfrm>
            <a:off x="966960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93" name="CustomShape 270"/>
          <p:cNvSpPr/>
          <p:nvPr/>
        </p:nvSpPr>
        <p:spPr>
          <a:xfrm>
            <a:off x="987192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94" name="CustomShape 271"/>
          <p:cNvSpPr/>
          <p:nvPr/>
        </p:nvSpPr>
        <p:spPr>
          <a:xfrm>
            <a:off x="845748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95" name="CustomShape 272"/>
          <p:cNvSpPr/>
          <p:nvPr/>
        </p:nvSpPr>
        <p:spPr>
          <a:xfrm>
            <a:off x="865944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96" name="CustomShape 273"/>
          <p:cNvSpPr/>
          <p:nvPr/>
        </p:nvSpPr>
        <p:spPr>
          <a:xfrm>
            <a:off x="886140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97" name="CustomShape 274"/>
          <p:cNvSpPr/>
          <p:nvPr/>
        </p:nvSpPr>
        <p:spPr>
          <a:xfrm>
            <a:off x="906372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98" name="CustomShape 275"/>
          <p:cNvSpPr/>
          <p:nvPr/>
        </p:nvSpPr>
        <p:spPr>
          <a:xfrm>
            <a:off x="926568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799" name="CustomShape 276"/>
          <p:cNvSpPr/>
          <p:nvPr/>
        </p:nvSpPr>
        <p:spPr>
          <a:xfrm>
            <a:off x="946764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00" name="CustomShape 277"/>
          <p:cNvSpPr/>
          <p:nvPr/>
        </p:nvSpPr>
        <p:spPr>
          <a:xfrm>
            <a:off x="966960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01" name="CustomShape 278"/>
          <p:cNvSpPr/>
          <p:nvPr/>
        </p:nvSpPr>
        <p:spPr>
          <a:xfrm>
            <a:off x="987192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02" name="CustomShape 279"/>
          <p:cNvSpPr/>
          <p:nvPr/>
        </p:nvSpPr>
        <p:spPr>
          <a:xfrm>
            <a:off x="8457480" y="316476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803" name="CustomShape 280"/>
          <p:cNvSpPr/>
          <p:nvPr/>
        </p:nvSpPr>
        <p:spPr>
          <a:xfrm>
            <a:off x="8659440" y="31647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04" name="CustomShape 281"/>
          <p:cNvSpPr/>
          <p:nvPr/>
        </p:nvSpPr>
        <p:spPr>
          <a:xfrm>
            <a:off x="8861400" y="31647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05" name="CustomShape 282"/>
          <p:cNvSpPr/>
          <p:nvPr/>
        </p:nvSpPr>
        <p:spPr>
          <a:xfrm>
            <a:off x="9063720" y="31647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06" name="CustomShape 283"/>
          <p:cNvSpPr/>
          <p:nvPr/>
        </p:nvSpPr>
        <p:spPr>
          <a:xfrm>
            <a:off x="9265680" y="31647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07" name="CustomShape 284"/>
          <p:cNvSpPr/>
          <p:nvPr/>
        </p:nvSpPr>
        <p:spPr>
          <a:xfrm>
            <a:off x="9467640" y="31647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08" name="CustomShape 285"/>
          <p:cNvSpPr/>
          <p:nvPr/>
        </p:nvSpPr>
        <p:spPr>
          <a:xfrm>
            <a:off x="9669600" y="31647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09" name="CustomShape 286"/>
          <p:cNvSpPr/>
          <p:nvPr/>
        </p:nvSpPr>
        <p:spPr>
          <a:xfrm>
            <a:off x="9871920" y="31647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10" name="CustomShape 287"/>
          <p:cNvSpPr/>
          <p:nvPr/>
        </p:nvSpPr>
        <p:spPr>
          <a:xfrm>
            <a:off x="8457480" y="334332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811" name="CustomShape 288"/>
          <p:cNvSpPr/>
          <p:nvPr/>
        </p:nvSpPr>
        <p:spPr>
          <a:xfrm>
            <a:off x="8659440" y="334332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812" name="CustomShape 289"/>
          <p:cNvSpPr/>
          <p:nvPr/>
        </p:nvSpPr>
        <p:spPr>
          <a:xfrm>
            <a:off x="8861400" y="33433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13" name="CustomShape 290"/>
          <p:cNvSpPr/>
          <p:nvPr/>
        </p:nvSpPr>
        <p:spPr>
          <a:xfrm>
            <a:off x="9063720" y="33433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14" name="CustomShape 291"/>
          <p:cNvSpPr/>
          <p:nvPr/>
        </p:nvSpPr>
        <p:spPr>
          <a:xfrm>
            <a:off x="9265680" y="33433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15" name="CustomShape 292"/>
          <p:cNvSpPr/>
          <p:nvPr/>
        </p:nvSpPr>
        <p:spPr>
          <a:xfrm>
            <a:off x="9467640" y="33433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16" name="CustomShape 293"/>
          <p:cNvSpPr/>
          <p:nvPr/>
        </p:nvSpPr>
        <p:spPr>
          <a:xfrm>
            <a:off x="9669600" y="33433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17" name="CustomShape 294"/>
          <p:cNvSpPr/>
          <p:nvPr/>
        </p:nvSpPr>
        <p:spPr>
          <a:xfrm>
            <a:off x="9871920" y="334332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818" name="CustomShape 295"/>
          <p:cNvSpPr/>
          <p:nvPr/>
        </p:nvSpPr>
        <p:spPr>
          <a:xfrm>
            <a:off x="8457480" y="3521880"/>
            <a:ext cx="136080" cy="13608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819" name="CustomShape 296"/>
          <p:cNvSpPr/>
          <p:nvPr/>
        </p:nvSpPr>
        <p:spPr>
          <a:xfrm>
            <a:off x="8659440" y="3521880"/>
            <a:ext cx="136080" cy="13608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820" name="CustomShape 297"/>
          <p:cNvSpPr/>
          <p:nvPr/>
        </p:nvSpPr>
        <p:spPr>
          <a:xfrm>
            <a:off x="8861400" y="3521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21" name="CustomShape 298"/>
          <p:cNvSpPr/>
          <p:nvPr/>
        </p:nvSpPr>
        <p:spPr>
          <a:xfrm>
            <a:off x="9063720" y="3521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22" name="CustomShape 299"/>
          <p:cNvSpPr/>
          <p:nvPr/>
        </p:nvSpPr>
        <p:spPr>
          <a:xfrm>
            <a:off x="9265680" y="3521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23" name="CustomShape 300"/>
          <p:cNvSpPr/>
          <p:nvPr/>
        </p:nvSpPr>
        <p:spPr>
          <a:xfrm>
            <a:off x="9467640" y="3521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24" name="CustomShape 301"/>
          <p:cNvSpPr/>
          <p:nvPr/>
        </p:nvSpPr>
        <p:spPr>
          <a:xfrm>
            <a:off x="9669600" y="3521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25" name="CustomShape 302"/>
          <p:cNvSpPr/>
          <p:nvPr/>
        </p:nvSpPr>
        <p:spPr>
          <a:xfrm>
            <a:off x="9871920" y="3521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26" name="CustomShape 303"/>
          <p:cNvSpPr/>
          <p:nvPr/>
        </p:nvSpPr>
        <p:spPr>
          <a:xfrm>
            <a:off x="8457480" y="3700440"/>
            <a:ext cx="136080" cy="13608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827" name="CustomShape 304"/>
          <p:cNvSpPr/>
          <p:nvPr/>
        </p:nvSpPr>
        <p:spPr>
          <a:xfrm>
            <a:off x="8659440" y="3700440"/>
            <a:ext cx="136080" cy="13608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828" name="CustomShape 305"/>
          <p:cNvSpPr/>
          <p:nvPr/>
        </p:nvSpPr>
        <p:spPr>
          <a:xfrm>
            <a:off x="8861400" y="3700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29" name="CustomShape 306"/>
          <p:cNvSpPr/>
          <p:nvPr/>
        </p:nvSpPr>
        <p:spPr>
          <a:xfrm>
            <a:off x="9063720" y="3700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30" name="CustomShape 307"/>
          <p:cNvSpPr/>
          <p:nvPr/>
        </p:nvSpPr>
        <p:spPr>
          <a:xfrm>
            <a:off x="9265680" y="3700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31" name="CustomShape 308"/>
          <p:cNvSpPr/>
          <p:nvPr/>
        </p:nvSpPr>
        <p:spPr>
          <a:xfrm>
            <a:off x="9467640" y="3700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32" name="CustomShape 309"/>
          <p:cNvSpPr/>
          <p:nvPr/>
        </p:nvSpPr>
        <p:spPr>
          <a:xfrm>
            <a:off x="9669600" y="3700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33" name="CustomShape 310"/>
          <p:cNvSpPr/>
          <p:nvPr/>
        </p:nvSpPr>
        <p:spPr>
          <a:xfrm>
            <a:off x="9871920" y="3700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34" name="CustomShape 311"/>
          <p:cNvSpPr/>
          <p:nvPr/>
        </p:nvSpPr>
        <p:spPr>
          <a:xfrm>
            <a:off x="8457480" y="3879000"/>
            <a:ext cx="136080" cy="13608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835" name="CustomShape 312"/>
          <p:cNvSpPr/>
          <p:nvPr/>
        </p:nvSpPr>
        <p:spPr>
          <a:xfrm>
            <a:off x="8659440" y="3879000"/>
            <a:ext cx="136080" cy="13608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836" name="CustomShape 313"/>
          <p:cNvSpPr/>
          <p:nvPr/>
        </p:nvSpPr>
        <p:spPr>
          <a:xfrm>
            <a:off x="8861400" y="3879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37" name="CustomShape 314"/>
          <p:cNvSpPr/>
          <p:nvPr/>
        </p:nvSpPr>
        <p:spPr>
          <a:xfrm>
            <a:off x="9063720" y="3879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38" name="CustomShape 315"/>
          <p:cNvSpPr/>
          <p:nvPr/>
        </p:nvSpPr>
        <p:spPr>
          <a:xfrm>
            <a:off x="9265680" y="3879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39" name="CustomShape 316"/>
          <p:cNvSpPr/>
          <p:nvPr/>
        </p:nvSpPr>
        <p:spPr>
          <a:xfrm>
            <a:off x="9467640" y="3879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40" name="CustomShape 317"/>
          <p:cNvSpPr/>
          <p:nvPr/>
        </p:nvSpPr>
        <p:spPr>
          <a:xfrm>
            <a:off x="9669600" y="3879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41" name="CustomShape 318"/>
          <p:cNvSpPr/>
          <p:nvPr/>
        </p:nvSpPr>
        <p:spPr>
          <a:xfrm>
            <a:off x="9871920" y="3879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42" name="CustomShape 319"/>
          <p:cNvSpPr/>
          <p:nvPr/>
        </p:nvSpPr>
        <p:spPr>
          <a:xfrm>
            <a:off x="845748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843" name="CustomShape 320"/>
          <p:cNvSpPr/>
          <p:nvPr/>
        </p:nvSpPr>
        <p:spPr>
          <a:xfrm>
            <a:off x="865944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844" name="CustomShape 321"/>
          <p:cNvSpPr/>
          <p:nvPr/>
        </p:nvSpPr>
        <p:spPr>
          <a:xfrm>
            <a:off x="886140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845" name="CustomShape 322"/>
          <p:cNvSpPr/>
          <p:nvPr/>
        </p:nvSpPr>
        <p:spPr>
          <a:xfrm>
            <a:off x="906372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846" name="CustomShape 323"/>
          <p:cNvSpPr/>
          <p:nvPr/>
        </p:nvSpPr>
        <p:spPr>
          <a:xfrm>
            <a:off x="926568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847" name="CustomShape 324"/>
          <p:cNvSpPr/>
          <p:nvPr/>
        </p:nvSpPr>
        <p:spPr>
          <a:xfrm>
            <a:off x="946764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848" name="CustomShape 325"/>
          <p:cNvSpPr/>
          <p:nvPr/>
        </p:nvSpPr>
        <p:spPr>
          <a:xfrm>
            <a:off x="966960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849" name="CustomShape 326"/>
          <p:cNvSpPr/>
          <p:nvPr/>
        </p:nvSpPr>
        <p:spPr>
          <a:xfrm>
            <a:off x="987192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850" name="CustomShape 327"/>
          <p:cNvSpPr/>
          <p:nvPr/>
        </p:nvSpPr>
        <p:spPr>
          <a:xfrm>
            <a:off x="10071360" y="2767680"/>
            <a:ext cx="1672560" cy="148680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851" name="CustomShape 328"/>
          <p:cNvSpPr/>
          <p:nvPr/>
        </p:nvSpPr>
        <p:spPr>
          <a:xfrm>
            <a:off x="1013040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52" name="CustomShape 329"/>
          <p:cNvSpPr/>
          <p:nvPr/>
        </p:nvSpPr>
        <p:spPr>
          <a:xfrm>
            <a:off x="1033236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53" name="CustomShape 330"/>
          <p:cNvSpPr/>
          <p:nvPr/>
        </p:nvSpPr>
        <p:spPr>
          <a:xfrm>
            <a:off x="1053432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54" name="CustomShape 331"/>
          <p:cNvSpPr/>
          <p:nvPr/>
        </p:nvSpPr>
        <p:spPr>
          <a:xfrm>
            <a:off x="1073628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55" name="CustomShape 332"/>
          <p:cNvSpPr/>
          <p:nvPr/>
        </p:nvSpPr>
        <p:spPr>
          <a:xfrm>
            <a:off x="1093860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56" name="CustomShape 333"/>
          <p:cNvSpPr/>
          <p:nvPr/>
        </p:nvSpPr>
        <p:spPr>
          <a:xfrm>
            <a:off x="1114056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57" name="CustomShape 334"/>
          <p:cNvSpPr/>
          <p:nvPr/>
        </p:nvSpPr>
        <p:spPr>
          <a:xfrm>
            <a:off x="1134252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58" name="CustomShape 335"/>
          <p:cNvSpPr/>
          <p:nvPr/>
        </p:nvSpPr>
        <p:spPr>
          <a:xfrm>
            <a:off x="11544480" y="28076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59" name="CustomShape 336"/>
          <p:cNvSpPr/>
          <p:nvPr/>
        </p:nvSpPr>
        <p:spPr>
          <a:xfrm>
            <a:off x="1013040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60" name="CustomShape 337"/>
          <p:cNvSpPr/>
          <p:nvPr/>
        </p:nvSpPr>
        <p:spPr>
          <a:xfrm>
            <a:off x="1033236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61" name="CustomShape 338"/>
          <p:cNvSpPr/>
          <p:nvPr/>
        </p:nvSpPr>
        <p:spPr>
          <a:xfrm>
            <a:off x="1053432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62" name="CustomShape 339"/>
          <p:cNvSpPr/>
          <p:nvPr/>
        </p:nvSpPr>
        <p:spPr>
          <a:xfrm>
            <a:off x="1073628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63" name="CustomShape 340"/>
          <p:cNvSpPr/>
          <p:nvPr/>
        </p:nvSpPr>
        <p:spPr>
          <a:xfrm>
            <a:off x="1093860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64" name="CustomShape 341"/>
          <p:cNvSpPr/>
          <p:nvPr/>
        </p:nvSpPr>
        <p:spPr>
          <a:xfrm>
            <a:off x="1114056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65" name="CustomShape 342"/>
          <p:cNvSpPr/>
          <p:nvPr/>
        </p:nvSpPr>
        <p:spPr>
          <a:xfrm>
            <a:off x="1134252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66" name="CustomShape 343"/>
          <p:cNvSpPr/>
          <p:nvPr/>
        </p:nvSpPr>
        <p:spPr>
          <a:xfrm>
            <a:off x="11544480" y="29862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67" name="CustomShape 344"/>
          <p:cNvSpPr/>
          <p:nvPr/>
        </p:nvSpPr>
        <p:spPr>
          <a:xfrm>
            <a:off x="10130400" y="316476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868" name="CustomShape 345"/>
          <p:cNvSpPr/>
          <p:nvPr/>
        </p:nvSpPr>
        <p:spPr>
          <a:xfrm>
            <a:off x="10332360" y="31647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69" name="CustomShape 346"/>
          <p:cNvSpPr/>
          <p:nvPr/>
        </p:nvSpPr>
        <p:spPr>
          <a:xfrm>
            <a:off x="10534320" y="31647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70" name="CustomShape 347"/>
          <p:cNvSpPr/>
          <p:nvPr/>
        </p:nvSpPr>
        <p:spPr>
          <a:xfrm>
            <a:off x="10736280" y="31647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71" name="CustomShape 348"/>
          <p:cNvSpPr/>
          <p:nvPr/>
        </p:nvSpPr>
        <p:spPr>
          <a:xfrm>
            <a:off x="10938600" y="31647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72" name="CustomShape 349"/>
          <p:cNvSpPr/>
          <p:nvPr/>
        </p:nvSpPr>
        <p:spPr>
          <a:xfrm>
            <a:off x="11140560" y="31647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73" name="CustomShape 350"/>
          <p:cNvSpPr/>
          <p:nvPr/>
        </p:nvSpPr>
        <p:spPr>
          <a:xfrm>
            <a:off x="11342520" y="31647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74" name="CustomShape 351"/>
          <p:cNvSpPr/>
          <p:nvPr/>
        </p:nvSpPr>
        <p:spPr>
          <a:xfrm>
            <a:off x="11544480" y="31647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75" name="CustomShape 352"/>
          <p:cNvSpPr/>
          <p:nvPr/>
        </p:nvSpPr>
        <p:spPr>
          <a:xfrm>
            <a:off x="10130400" y="334332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876" name="CustomShape 353"/>
          <p:cNvSpPr/>
          <p:nvPr/>
        </p:nvSpPr>
        <p:spPr>
          <a:xfrm>
            <a:off x="10332360" y="334332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877" name="CustomShape 354"/>
          <p:cNvSpPr/>
          <p:nvPr/>
        </p:nvSpPr>
        <p:spPr>
          <a:xfrm>
            <a:off x="10534320" y="33433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78" name="CustomShape 355"/>
          <p:cNvSpPr/>
          <p:nvPr/>
        </p:nvSpPr>
        <p:spPr>
          <a:xfrm>
            <a:off x="10736280" y="33433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79" name="CustomShape 356"/>
          <p:cNvSpPr/>
          <p:nvPr/>
        </p:nvSpPr>
        <p:spPr>
          <a:xfrm>
            <a:off x="10938600" y="33433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80" name="CustomShape 357"/>
          <p:cNvSpPr/>
          <p:nvPr/>
        </p:nvSpPr>
        <p:spPr>
          <a:xfrm>
            <a:off x="11140560" y="33433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81" name="CustomShape 358"/>
          <p:cNvSpPr/>
          <p:nvPr/>
        </p:nvSpPr>
        <p:spPr>
          <a:xfrm>
            <a:off x="11342520" y="334332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882" name="CustomShape 359"/>
          <p:cNvSpPr/>
          <p:nvPr/>
        </p:nvSpPr>
        <p:spPr>
          <a:xfrm>
            <a:off x="11544480" y="334332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883" name="CustomShape 360"/>
          <p:cNvSpPr/>
          <p:nvPr/>
        </p:nvSpPr>
        <p:spPr>
          <a:xfrm>
            <a:off x="10130400" y="3521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84" name="CustomShape 361"/>
          <p:cNvSpPr/>
          <p:nvPr/>
        </p:nvSpPr>
        <p:spPr>
          <a:xfrm>
            <a:off x="10332360" y="3521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85" name="CustomShape 362"/>
          <p:cNvSpPr/>
          <p:nvPr/>
        </p:nvSpPr>
        <p:spPr>
          <a:xfrm>
            <a:off x="10534320" y="3521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86" name="CustomShape 363"/>
          <p:cNvSpPr/>
          <p:nvPr/>
        </p:nvSpPr>
        <p:spPr>
          <a:xfrm>
            <a:off x="10736280" y="3521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87" name="CustomShape 364"/>
          <p:cNvSpPr/>
          <p:nvPr/>
        </p:nvSpPr>
        <p:spPr>
          <a:xfrm>
            <a:off x="10938600" y="3521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88" name="CustomShape 365"/>
          <p:cNvSpPr/>
          <p:nvPr/>
        </p:nvSpPr>
        <p:spPr>
          <a:xfrm>
            <a:off x="11140560" y="3521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89" name="CustomShape 366"/>
          <p:cNvSpPr/>
          <p:nvPr/>
        </p:nvSpPr>
        <p:spPr>
          <a:xfrm>
            <a:off x="11342520" y="3521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90" name="CustomShape 367"/>
          <p:cNvSpPr/>
          <p:nvPr/>
        </p:nvSpPr>
        <p:spPr>
          <a:xfrm>
            <a:off x="11544480" y="3521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91" name="CustomShape 368"/>
          <p:cNvSpPr/>
          <p:nvPr/>
        </p:nvSpPr>
        <p:spPr>
          <a:xfrm>
            <a:off x="10130400" y="3700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92" name="CustomShape 369"/>
          <p:cNvSpPr/>
          <p:nvPr/>
        </p:nvSpPr>
        <p:spPr>
          <a:xfrm>
            <a:off x="10332360" y="3700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93" name="CustomShape 370"/>
          <p:cNvSpPr/>
          <p:nvPr/>
        </p:nvSpPr>
        <p:spPr>
          <a:xfrm>
            <a:off x="10534320" y="3700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94" name="CustomShape 371"/>
          <p:cNvSpPr/>
          <p:nvPr/>
        </p:nvSpPr>
        <p:spPr>
          <a:xfrm>
            <a:off x="10736280" y="3700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95" name="CustomShape 372"/>
          <p:cNvSpPr/>
          <p:nvPr/>
        </p:nvSpPr>
        <p:spPr>
          <a:xfrm>
            <a:off x="10938600" y="3700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96" name="CustomShape 373"/>
          <p:cNvSpPr/>
          <p:nvPr/>
        </p:nvSpPr>
        <p:spPr>
          <a:xfrm>
            <a:off x="11140560" y="3700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97" name="CustomShape 374"/>
          <p:cNvSpPr/>
          <p:nvPr/>
        </p:nvSpPr>
        <p:spPr>
          <a:xfrm>
            <a:off x="11342520" y="3700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98" name="CustomShape 375"/>
          <p:cNvSpPr/>
          <p:nvPr/>
        </p:nvSpPr>
        <p:spPr>
          <a:xfrm>
            <a:off x="11544480" y="3700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899" name="CustomShape 376"/>
          <p:cNvSpPr/>
          <p:nvPr/>
        </p:nvSpPr>
        <p:spPr>
          <a:xfrm>
            <a:off x="10130400" y="3879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00" name="CustomShape 377"/>
          <p:cNvSpPr/>
          <p:nvPr/>
        </p:nvSpPr>
        <p:spPr>
          <a:xfrm>
            <a:off x="10332360" y="3879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01" name="CustomShape 378"/>
          <p:cNvSpPr/>
          <p:nvPr/>
        </p:nvSpPr>
        <p:spPr>
          <a:xfrm>
            <a:off x="10534320" y="3879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02" name="CustomShape 379"/>
          <p:cNvSpPr/>
          <p:nvPr/>
        </p:nvSpPr>
        <p:spPr>
          <a:xfrm>
            <a:off x="10736280" y="3879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03" name="CustomShape 380"/>
          <p:cNvSpPr/>
          <p:nvPr/>
        </p:nvSpPr>
        <p:spPr>
          <a:xfrm>
            <a:off x="10938600" y="3879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04" name="CustomShape 381"/>
          <p:cNvSpPr/>
          <p:nvPr/>
        </p:nvSpPr>
        <p:spPr>
          <a:xfrm>
            <a:off x="11140560" y="3879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05" name="CustomShape 382"/>
          <p:cNvSpPr/>
          <p:nvPr/>
        </p:nvSpPr>
        <p:spPr>
          <a:xfrm>
            <a:off x="11342520" y="3879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06" name="CustomShape 383"/>
          <p:cNvSpPr/>
          <p:nvPr/>
        </p:nvSpPr>
        <p:spPr>
          <a:xfrm>
            <a:off x="11544480" y="3879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07" name="CustomShape 384"/>
          <p:cNvSpPr/>
          <p:nvPr/>
        </p:nvSpPr>
        <p:spPr>
          <a:xfrm>
            <a:off x="1013040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908" name="CustomShape 385"/>
          <p:cNvSpPr/>
          <p:nvPr/>
        </p:nvSpPr>
        <p:spPr>
          <a:xfrm>
            <a:off x="1033236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909" name="CustomShape 386"/>
          <p:cNvSpPr/>
          <p:nvPr/>
        </p:nvSpPr>
        <p:spPr>
          <a:xfrm>
            <a:off x="1053432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910" name="CustomShape 387"/>
          <p:cNvSpPr/>
          <p:nvPr/>
        </p:nvSpPr>
        <p:spPr>
          <a:xfrm>
            <a:off x="1073628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911" name="CustomShape 388"/>
          <p:cNvSpPr/>
          <p:nvPr/>
        </p:nvSpPr>
        <p:spPr>
          <a:xfrm>
            <a:off x="1093860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912" name="CustomShape 389"/>
          <p:cNvSpPr/>
          <p:nvPr/>
        </p:nvSpPr>
        <p:spPr>
          <a:xfrm>
            <a:off x="1114056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913" name="CustomShape 390"/>
          <p:cNvSpPr/>
          <p:nvPr/>
        </p:nvSpPr>
        <p:spPr>
          <a:xfrm>
            <a:off x="1134252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914" name="CustomShape 391"/>
          <p:cNvSpPr/>
          <p:nvPr/>
        </p:nvSpPr>
        <p:spPr>
          <a:xfrm>
            <a:off x="11544480" y="405756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915" name="CustomShape 392"/>
          <p:cNvSpPr/>
          <p:nvPr/>
        </p:nvSpPr>
        <p:spPr>
          <a:xfrm>
            <a:off x="6725880" y="4615920"/>
            <a:ext cx="1672560" cy="148680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916" name="CustomShape 393"/>
          <p:cNvSpPr/>
          <p:nvPr/>
        </p:nvSpPr>
        <p:spPr>
          <a:xfrm>
            <a:off x="678456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17" name="CustomShape 394"/>
          <p:cNvSpPr/>
          <p:nvPr/>
        </p:nvSpPr>
        <p:spPr>
          <a:xfrm>
            <a:off x="698652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18" name="CustomShape 395"/>
          <p:cNvSpPr/>
          <p:nvPr/>
        </p:nvSpPr>
        <p:spPr>
          <a:xfrm>
            <a:off x="718884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19" name="CustomShape 396"/>
          <p:cNvSpPr/>
          <p:nvPr/>
        </p:nvSpPr>
        <p:spPr>
          <a:xfrm>
            <a:off x="739080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20" name="CustomShape 397"/>
          <p:cNvSpPr/>
          <p:nvPr/>
        </p:nvSpPr>
        <p:spPr>
          <a:xfrm>
            <a:off x="759276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21" name="CustomShape 398"/>
          <p:cNvSpPr/>
          <p:nvPr/>
        </p:nvSpPr>
        <p:spPr>
          <a:xfrm>
            <a:off x="779472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22" name="CustomShape 399"/>
          <p:cNvSpPr/>
          <p:nvPr/>
        </p:nvSpPr>
        <p:spPr>
          <a:xfrm>
            <a:off x="799704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23" name="CustomShape 400"/>
          <p:cNvSpPr/>
          <p:nvPr/>
        </p:nvSpPr>
        <p:spPr>
          <a:xfrm>
            <a:off x="819900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24" name="CustomShape 401"/>
          <p:cNvSpPr/>
          <p:nvPr/>
        </p:nvSpPr>
        <p:spPr>
          <a:xfrm>
            <a:off x="678456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25" name="CustomShape 402"/>
          <p:cNvSpPr/>
          <p:nvPr/>
        </p:nvSpPr>
        <p:spPr>
          <a:xfrm>
            <a:off x="698652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26" name="CustomShape 403"/>
          <p:cNvSpPr/>
          <p:nvPr/>
        </p:nvSpPr>
        <p:spPr>
          <a:xfrm>
            <a:off x="718884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27" name="CustomShape 404"/>
          <p:cNvSpPr/>
          <p:nvPr/>
        </p:nvSpPr>
        <p:spPr>
          <a:xfrm>
            <a:off x="739080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28" name="CustomShape 405"/>
          <p:cNvSpPr/>
          <p:nvPr/>
        </p:nvSpPr>
        <p:spPr>
          <a:xfrm>
            <a:off x="759276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29" name="CustomShape 406"/>
          <p:cNvSpPr/>
          <p:nvPr/>
        </p:nvSpPr>
        <p:spPr>
          <a:xfrm>
            <a:off x="779472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30" name="CustomShape 407"/>
          <p:cNvSpPr/>
          <p:nvPr/>
        </p:nvSpPr>
        <p:spPr>
          <a:xfrm>
            <a:off x="799704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31" name="CustomShape 408"/>
          <p:cNvSpPr/>
          <p:nvPr/>
        </p:nvSpPr>
        <p:spPr>
          <a:xfrm>
            <a:off x="819900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32" name="CustomShape 409"/>
          <p:cNvSpPr/>
          <p:nvPr/>
        </p:nvSpPr>
        <p:spPr>
          <a:xfrm>
            <a:off x="6784560" y="5013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33" name="CustomShape 410"/>
          <p:cNvSpPr/>
          <p:nvPr/>
        </p:nvSpPr>
        <p:spPr>
          <a:xfrm>
            <a:off x="6986520" y="5013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34" name="CustomShape 411"/>
          <p:cNvSpPr/>
          <p:nvPr/>
        </p:nvSpPr>
        <p:spPr>
          <a:xfrm>
            <a:off x="7188840" y="5013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35" name="CustomShape 412"/>
          <p:cNvSpPr/>
          <p:nvPr/>
        </p:nvSpPr>
        <p:spPr>
          <a:xfrm>
            <a:off x="7390800" y="5013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36" name="CustomShape 413"/>
          <p:cNvSpPr/>
          <p:nvPr/>
        </p:nvSpPr>
        <p:spPr>
          <a:xfrm>
            <a:off x="7592760" y="5013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37" name="CustomShape 414"/>
          <p:cNvSpPr/>
          <p:nvPr/>
        </p:nvSpPr>
        <p:spPr>
          <a:xfrm>
            <a:off x="7794720" y="5013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38" name="CustomShape 415"/>
          <p:cNvSpPr/>
          <p:nvPr/>
        </p:nvSpPr>
        <p:spPr>
          <a:xfrm>
            <a:off x="7997040" y="5013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39" name="CustomShape 416"/>
          <p:cNvSpPr/>
          <p:nvPr/>
        </p:nvSpPr>
        <p:spPr>
          <a:xfrm>
            <a:off x="8199000" y="5013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40" name="CustomShape 417"/>
          <p:cNvSpPr/>
          <p:nvPr/>
        </p:nvSpPr>
        <p:spPr>
          <a:xfrm>
            <a:off x="6784560" y="51915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41" name="CustomShape 418"/>
          <p:cNvSpPr/>
          <p:nvPr/>
        </p:nvSpPr>
        <p:spPr>
          <a:xfrm>
            <a:off x="6986520" y="51915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42" name="CustomShape 419"/>
          <p:cNvSpPr/>
          <p:nvPr/>
        </p:nvSpPr>
        <p:spPr>
          <a:xfrm>
            <a:off x="7188840" y="51915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43" name="CustomShape 420"/>
          <p:cNvSpPr/>
          <p:nvPr/>
        </p:nvSpPr>
        <p:spPr>
          <a:xfrm>
            <a:off x="7390800" y="51915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44" name="CustomShape 421"/>
          <p:cNvSpPr/>
          <p:nvPr/>
        </p:nvSpPr>
        <p:spPr>
          <a:xfrm>
            <a:off x="7592760" y="51915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45" name="CustomShape 422"/>
          <p:cNvSpPr/>
          <p:nvPr/>
        </p:nvSpPr>
        <p:spPr>
          <a:xfrm>
            <a:off x="7794720" y="51915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46" name="CustomShape 423"/>
          <p:cNvSpPr/>
          <p:nvPr/>
        </p:nvSpPr>
        <p:spPr>
          <a:xfrm>
            <a:off x="7997040" y="51915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47" name="CustomShape 424"/>
          <p:cNvSpPr/>
          <p:nvPr/>
        </p:nvSpPr>
        <p:spPr>
          <a:xfrm>
            <a:off x="8199000" y="519156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948" name="CustomShape 425"/>
          <p:cNvSpPr/>
          <p:nvPr/>
        </p:nvSpPr>
        <p:spPr>
          <a:xfrm>
            <a:off x="6784560" y="53701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49" name="CustomShape 426"/>
          <p:cNvSpPr/>
          <p:nvPr/>
        </p:nvSpPr>
        <p:spPr>
          <a:xfrm>
            <a:off x="6986520" y="53701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50" name="CustomShape 427"/>
          <p:cNvSpPr/>
          <p:nvPr/>
        </p:nvSpPr>
        <p:spPr>
          <a:xfrm>
            <a:off x="7188840" y="53701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51" name="CustomShape 428"/>
          <p:cNvSpPr/>
          <p:nvPr/>
        </p:nvSpPr>
        <p:spPr>
          <a:xfrm>
            <a:off x="7390800" y="53701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52" name="CustomShape 429"/>
          <p:cNvSpPr/>
          <p:nvPr/>
        </p:nvSpPr>
        <p:spPr>
          <a:xfrm>
            <a:off x="7592760" y="53701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53" name="CustomShape 430"/>
          <p:cNvSpPr/>
          <p:nvPr/>
        </p:nvSpPr>
        <p:spPr>
          <a:xfrm>
            <a:off x="7794720" y="53701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54" name="CustomShape 431"/>
          <p:cNvSpPr/>
          <p:nvPr/>
        </p:nvSpPr>
        <p:spPr>
          <a:xfrm>
            <a:off x="7997040" y="53701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55" name="CustomShape 432"/>
          <p:cNvSpPr/>
          <p:nvPr/>
        </p:nvSpPr>
        <p:spPr>
          <a:xfrm>
            <a:off x="8199000" y="53701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56" name="CustomShape 433"/>
          <p:cNvSpPr/>
          <p:nvPr/>
        </p:nvSpPr>
        <p:spPr>
          <a:xfrm>
            <a:off x="6784560" y="55486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57" name="CustomShape 434"/>
          <p:cNvSpPr/>
          <p:nvPr/>
        </p:nvSpPr>
        <p:spPr>
          <a:xfrm>
            <a:off x="6986520" y="55486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58" name="CustomShape 435"/>
          <p:cNvSpPr/>
          <p:nvPr/>
        </p:nvSpPr>
        <p:spPr>
          <a:xfrm>
            <a:off x="7188840" y="55486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59" name="CustomShape 436"/>
          <p:cNvSpPr/>
          <p:nvPr/>
        </p:nvSpPr>
        <p:spPr>
          <a:xfrm>
            <a:off x="7390800" y="55486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60" name="CustomShape 437"/>
          <p:cNvSpPr/>
          <p:nvPr/>
        </p:nvSpPr>
        <p:spPr>
          <a:xfrm>
            <a:off x="7592760" y="55486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61" name="CustomShape 438"/>
          <p:cNvSpPr/>
          <p:nvPr/>
        </p:nvSpPr>
        <p:spPr>
          <a:xfrm>
            <a:off x="7794720" y="55486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62" name="CustomShape 439"/>
          <p:cNvSpPr/>
          <p:nvPr/>
        </p:nvSpPr>
        <p:spPr>
          <a:xfrm>
            <a:off x="7997040" y="55486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63" name="CustomShape 440"/>
          <p:cNvSpPr/>
          <p:nvPr/>
        </p:nvSpPr>
        <p:spPr>
          <a:xfrm>
            <a:off x="8199000" y="55486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64" name="CustomShape 441"/>
          <p:cNvSpPr/>
          <p:nvPr/>
        </p:nvSpPr>
        <p:spPr>
          <a:xfrm>
            <a:off x="6784560" y="57272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65" name="CustomShape 442"/>
          <p:cNvSpPr/>
          <p:nvPr/>
        </p:nvSpPr>
        <p:spPr>
          <a:xfrm>
            <a:off x="6986520" y="57272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66" name="CustomShape 443"/>
          <p:cNvSpPr/>
          <p:nvPr/>
        </p:nvSpPr>
        <p:spPr>
          <a:xfrm>
            <a:off x="7188840" y="57272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67" name="CustomShape 444"/>
          <p:cNvSpPr/>
          <p:nvPr/>
        </p:nvSpPr>
        <p:spPr>
          <a:xfrm>
            <a:off x="7390800" y="57272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68" name="CustomShape 445"/>
          <p:cNvSpPr/>
          <p:nvPr/>
        </p:nvSpPr>
        <p:spPr>
          <a:xfrm>
            <a:off x="7592760" y="57272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69" name="CustomShape 446"/>
          <p:cNvSpPr/>
          <p:nvPr/>
        </p:nvSpPr>
        <p:spPr>
          <a:xfrm>
            <a:off x="7794720" y="57272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70" name="CustomShape 447"/>
          <p:cNvSpPr/>
          <p:nvPr/>
        </p:nvSpPr>
        <p:spPr>
          <a:xfrm>
            <a:off x="7997040" y="57272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71" name="CustomShape 448"/>
          <p:cNvSpPr/>
          <p:nvPr/>
        </p:nvSpPr>
        <p:spPr>
          <a:xfrm>
            <a:off x="8199000" y="57272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72" name="CustomShape 449"/>
          <p:cNvSpPr/>
          <p:nvPr/>
        </p:nvSpPr>
        <p:spPr>
          <a:xfrm>
            <a:off x="678456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973" name="CustomShape 450"/>
          <p:cNvSpPr/>
          <p:nvPr/>
        </p:nvSpPr>
        <p:spPr>
          <a:xfrm>
            <a:off x="698652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974" name="CustomShape 451"/>
          <p:cNvSpPr/>
          <p:nvPr/>
        </p:nvSpPr>
        <p:spPr>
          <a:xfrm>
            <a:off x="718884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975" name="CustomShape 452"/>
          <p:cNvSpPr/>
          <p:nvPr/>
        </p:nvSpPr>
        <p:spPr>
          <a:xfrm>
            <a:off x="739080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976" name="CustomShape 453"/>
          <p:cNvSpPr/>
          <p:nvPr/>
        </p:nvSpPr>
        <p:spPr>
          <a:xfrm>
            <a:off x="759276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977" name="CustomShape 454"/>
          <p:cNvSpPr/>
          <p:nvPr/>
        </p:nvSpPr>
        <p:spPr>
          <a:xfrm>
            <a:off x="779472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978" name="CustomShape 455"/>
          <p:cNvSpPr/>
          <p:nvPr/>
        </p:nvSpPr>
        <p:spPr>
          <a:xfrm>
            <a:off x="799704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979" name="CustomShape 456"/>
          <p:cNvSpPr/>
          <p:nvPr/>
        </p:nvSpPr>
        <p:spPr>
          <a:xfrm>
            <a:off x="819900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980" name="CustomShape 457"/>
          <p:cNvSpPr/>
          <p:nvPr/>
        </p:nvSpPr>
        <p:spPr>
          <a:xfrm>
            <a:off x="8398800" y="4615920"/>
            <a:ext cx="1672560" cy="148680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981" name="CustomShape 458"/>
          <p:cNvSpPr/>
          <p:nvPr/>
        </p:nvSpPr>
        <p:spPr>
          <a:xfrm>
            <a:off x="845748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82" name="CustomShape 459"/>
          <p:cNvSpPr/>
          <p:nvPr/>
        </p:nvSpPr>
        <p:spPr>
          <a:xfrm>
            <a:off x="865944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83" name="CustomShape 460"/>
          <p:cNvSpPr/>
          <p:nvPr/>
        </p:nvSpPr>
        <p:spPr>
          <a:xfrm>
            <a:off x="886140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84" name="CustomShape 461"/>
          <p:cNvSpPr/>
          <p:nvPr/>
        </p:nvSpPr>
        <p:spPr>
          <a:xfrm>
            <a:off x="906372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85" name="CustomShape 462"/>
          <p:cNvSpPr/>
          <p:nvPr/>
        </p:nvSpPr>
        <p:spPr>
          <a:xfrm>
            <a:off x="926568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86" name="CustomShape 463"/>
          <p:cNvSpPr/>
          <p:nvPr/>
        </p:nvSpPr>
        <p:spPr>
          <a:xfrm>
            <a:off x="946764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87" name="CustomShape 464"/>
          <p:cNvSpPr/>
          <p:nvPr/>
        </p:nvSpPr>
        <p:spPr>
          <a:xfrm>
            <a:off x="966960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88" name="CustomShape 465"/>
          <p:cNvSpPr/>
          <p:nvPr/>
        </p:nvSpPr>
        <p:spPr>
          <a:xfrm>
            <a:off x="987192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89" name="CustomShape 466"/>
          <p:cNvSpPr/>
          <p:nvPr/>
        </p:nvSpPr>
        <p:spPr>
          <a:xfrm>
            <a:off x="845748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90" name="CustomShape 467"/>
          <p:cNvSpPr/>
          <p:nvPr/>
        </p:nvSpPr>
        <p:spPr>
          <a:xfrm>
            <a:off x="865944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91" name="CustomShape 468"/>
          <p:cNvSpPr/>
          <p:nvPr/>
        </p:nvSpPr>
        <p:spPr>
          <a:xfrm>
            <a:off x="886140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92" name="CustomShape 469"/>
          <p:cNvSpPr/>
          <p:nvPr/>
        </p:nvSpPr>
        <p:spPr>
          <a:xfrm>
            <a:off x="906372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93" name="CustomShape 470"/>
          <p:cNvSpPr/>
          <p:nvPr/>
        </p:nvSpPr>
        <p:spPr>
          <a:xfrm>
            <a:off x="926568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94" name="CustomShape 471"/>
          <p:cNvSpPr/>
          <p:nvPr/>
        </p:nvSpPr>
        <p:spPr>
          <a:xfrm>
            <a:off x="946764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95" name="CustomShape 472"/>
          <p:cNvSpPr/>
          <p:nvPr/>
        </p:nvSpPr>
        <p:spPr>
          <a:xfrm>
            <a:off x="966960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96" name="CustomShape 473"/>
          <p:cNvSpPr/>
          <p:nvPr/>
        </p:nvSpPr>
        <p:spPr>
          <a:xfrm>
            <a:off x="987192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97" name="CustomShape 474"/>
          <p:cNvSpPr/>
          <p:nvPr/>
        </p:nvSpPr>
        <p:spPr>
          <a:xfrm>
            <a:off x="8457480" y="501300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998" name="CustomShape 475"/>
          <p:cNvSpPr/>
          <p:nvPr/>
        </p:nvSpPr>
        <p:spPr>
          <a:xfrm>
            <a:off x="8659440" y="5013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999" name="CustomShape 476"/>
          <p:cNvSpPr/>
          <p:nvPr/>
        </p:nvSpPr>
        <p:spPr>
          <a:xfrm>
            <a:off x="8861400" y="5013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00" name="CustomShape 477"/>
          <p:cNvSpPr/>
          <p:nvPr/>
        </p:nvSpPr>
        <p:spPr>
          <a:xfrm>
            <a:off x="9063720" y="5013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01" name="CustomShape 478"/>
          <p:cNvSpPr/>
          <p:nvPr/>
        </p:nvSpPr>
        <p:spPr>
          <a:xfrm>
            <a:off x="9265680" y="5013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02" name="CustomShape 479"/>
          <p:cNvSpPr/>
          <p:nvPr/>
        </p:nvSpPr>
        <p:spPr>
          <a:xfrm>
            <a:off x="9467640" y="5013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03" name="CustomShape 480"/>
          <p:cNvSpPr/>
          <p:nvPr/>
        </p:nvSpPr>
        <p:spPr>
          <a:xfrm>
            <a:off x="9669600" y="5013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04" name="CustomShape 481"/>
          <p:cNvSpPr/>
          <p:nvPr/>
        </p:nvSpPr>
        <p:spPr>
          <a:xfrm>
            <a:off x="9871920" y="5013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05" name="CustomShape 482"/>
          <p:cNvSpPr/>
          <p:nvPr/>
        </p:nvSpPr>
        <p:spPr>
          <a:xfrm>
            <a:off x="8457480" y="519156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1006" name="CustomShape 483"/>
          <p:cNvSpPr/>
          <p:nvPr/>
        </p:nvSpPr>
        <p:spPr>
          <a:xfrm>
            <a:off x="8659440" y="519156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1007" name="CustomShape 484"/>
          <p:cNvSpPr/>
          <p:nvPr/>
        </p:nvSpPr>
        <p:spPr>
          <a:xfrm>
            <a:off x="8861400" y="51915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08" name="CustomShape 485"/>
          <p:cNvSpPr/>
          <p:nvPr/>
        </p:nvSpPr>
        <p:spPr>
          <a:xfrm>
            <a:off x="9063720" y="51915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09" name="CustomShape 486"/>
          <p:cNvSpPr/>
          <p:nvPr/>
        </p:nvSpPr>
        <p:spPr>
          <a:xfrm>
            <a:off x="9265680" y="51915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10" name="CustomShape 487"/>
          <p:cNvSpPr/>
          <p:nvPr/>
        </p:nvSpPr>
        <p:spPr>
          <a:xfrm>
            <a:off x="9467640" y="51915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11" name="CustomShape 488"/>
          <p:cNvSpPr/>
          <p:nvPr/>
        </p:nvSpPr>
        <p:spPr>
          <a:xfrm>
            <a:off x="9669600" y="51915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12" name="CustomShape 489"/>
          <p:cNvSpPr/>
          <p:nvPr/>
        </p:nvSpPr>
        <p:spPr>
          <a:xfrm>
            <a:off x="9871920" y="519156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1013" name="CustomShape 490"/>
          <p:cNvSpPr/>
          <p:nvPr/>
        </p:nvSpPr>
        <p:spPr>
          <a:xfrm>
            <a:off x="8457480" y="53701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14" name="CustomShape 491"/>
          <p:cNvSpPr/>
          <p:nvPr/>
        </p:nvSpPr>
        <p:spPr>
          <a:xfrm>
            <a:off x="8659440" y="53701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15" name="CustomShape 492"/>
          <p:cNvSpPr/>
          <p:nvPr/>
        </p:nvSpPr>
        <p:spPr>
          <a:xfrm>
            <a:off x="8861400" y="53701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16" name="CustomShape 493"/>
          <p:cNvSpPr/>
          <p:nvPr/>
        </p:nvSpPr>
        <p:spPr>
          <a:xfrm>
            <a:off x="9063720" y="5370120"/>
            <a:ext cx="136080" cy="13608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017" name="CustomShape 494"/>
          <p:cNvSpPr/>
          <p:nvPr/>
        </p:nvSpPr>
        <p:spPr>
          <a:xfrm>
            <a:off x="9265680" y="5370120"/>
            <a:ext cx="136080" cy="13608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018" name="CustomShape 495"/>
          <p:cNvSpPr/>
          <p:nvPr/>
        </p:nvSpPr>
        <p:spPr>
          <a:xfrm>
            <a:off x="9467640" y="53701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19" name="CustomShape 496"/>
          <p:cNvSpPr/>
          <p:nvPr/>
        </p:nvSpPr>
        <p:spPr>
          <a:xfrm>
            <a:off x="9669600" y="53701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20" name="CustomShape 497"/>
          <p:cNvSpPr/>
          <p:nvPr/>
        </p:nvSpPr>
        <p:spPr>
          <a:xfrm>
            <a:off x="9871920" y="53701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21" name="CustomShape 498"/>
          <p:cNvSpPr/>
          <p:nvPr/>
        </p:nvSpPr>
        <p:spPr>
          <a:xfrm>
            <a:off x="8457480" y="55486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22" name="CustomShape 499"/>
          <p:cNvSpPr/>
          <p:nvPr/>
        </p:nvSpPr>
        <p:spPr>
          <a:xfrm>
            <a:off x="8659440" y="55486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23" name="CustomShape 500"/>
          <p:cNvSpPr/>
          <p:nvPr/>
        </p:nvSpPr>
        <p:spPr>
          <a:xfrm>
            <a:off x="8861400" y="5548680"/>
            <a:ext cx="136080" cy="13608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024" name="CustomShape 501"/>
          <p:cNvSpPr/>
          <p:nvPr/>
        </p:nvSpPr>
        <p:spPr>
          <a:xfrm>
            <a:off x="9063720" y="5548680"/>
            <a:ext cx="136080" cy="13608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025" name="CustomShape 502"/>
          <p:cNvSpPr/>
          <p:nvPr/>
        </p:nvSpPr>
        <p:spPr>
          <a:xfrm>
            <a:off x="9265680" y="5548680"/>
            <a:ext cx="136080" cy="13608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026" name="CustomShape 503"/>
          <p:cNvSpPr/>
          <p:nvPr/>
        </p:nvSpPr>
        <p:spPr>
          <a:xfrm>
            <a:off x="9467640" y="55486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27" name="CustomShape 504"/>
          <p:cNvSpPr/>
          <p:nvPr/>
        </p:nvSpPr>
        <p:spPr>
          <a:xfrm>
            <a:off x="9669600" y="55486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28" name="CustomShape 505"/>
          <p:cNvSpPr/>
          <p:nvPr/>
        </p:nvSpPr>
        <p:spPr>
          <a:xfrm>
            <a:off x="9871920" y="55486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29" name="CustomShape 506"/>
          <p:cNvSpPr/>
          <p:nvPr/>
        </p:nvSpPr>
        <p:spPr>
          <a:xfrm>
            <a:off x="8457480" y="57272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30" name="CustomShape 507"/>
          <p:cNvSpPr/>
          <p:nvPr/>
        </p:nvSpPr>
        <p:spPr>
          <a:xfrm>
            <a:off x="8659440" y="57272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31" name="CustomShape 508"/>
          <p:cNvSpPr/>
          <p:nvPr/>
        </p:nvSpPr>
        <p:spPr>
          <a:xfrm>
            <a:off x="8861400" y="57272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32" name="CustomShape 509"/>
          <p:cNvSpPr/>
          <p:nvPr/>
        </p:nvSpPr>
        <p:spPr>
          <a:xfrm>
            <a:off x="9063720" y="5727240"/>
            <a:ext cx="136080" cy="13608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033" name="CustomShape 510"/>
          <p:cNvSpPr/>
          <p:nvPr/>
        </p:nvSpPr>
        <p:spPr>
          <a:xfrm>
            <a:off x="9265680" y="5727240"/>
            <a:ext cx="136080" cy="13608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034" name="CustomShape 511"/>
          <p:cNvSpPr/>
          <p:nvPr/>
        </p:nvSpPr>
        <p:spPr>
          <a:xfrm>
            <a:off x="9467640" y="57272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35" name="CustomShape 512"/>
          <p:cNvSpPr/>
          <p:nvPr/>
        </p:nvSpPr>
        <p:spPr>
          <a:xfrm>
            <a:off x="9669600" y="57272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36" name="CustomShape 513"/>
          <p:cNvSpPr/>
          <p:nvPr/>
        </p:nvSpPr>
        <p:spPr>
          <a:xfrm>
            <a:off x="9871920" y="57272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37" name="CustomShape 514"/>
          <p:cNvSpPr/>
          <p:nvPr/>
        </p:nvSpPr>
        <p:spPr>
          <a:xfrm>
            <a:off x="845748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038" name="CustomShape 515"/>
          <p:cNvSpPr/>
          <p:nvPr/>
        </p:nvSpPr>
        <p:spPr>
          <a:xfrm>
            <a:off x="865944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039" name="CustomShape 516"/>
          <p:cNvSpPr/>
          <p:nvPr/>
        </p:nvSpPr>
        <p:spPr>
          <a:xfrm>
            <a:off x="886140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040" name="CustomShape 517"/>
          <p:cNvSpPr/>
          <p:nvPr/>
        </p:nvSpPr>
        <p:spPr>
          <a:xfrm>
            <a:off x="906372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041" name="CustomShape 518"/>
          <p:cNvSpPr/>
          <p:nvPr/>
        </p:nvSpPr>
        <p:spPr>
          <a:xfrm>
            <a:off x="926568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042" name="CustomShape 519"/>
          <p:cNvSpPr/>
          <p:nvPr/>
        </p:nvSpPr>
        <p:spPr>
          <a:xfrm>
            <a:off x="946764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043" name="CustomShape 520"/>
          <p:cNvSpPr/>
          <p:nvPr/>
        </p:nvSpPr>
        <p:spPr>
          <a:xfrm>
            <a:off x="966960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044" name="CustomShape 521"/>
          <p:cNvSpPr/>
          <p:nvPr/>
        </p:nvSpPr>
        <p:spPr>
          <a:xfrm>
            <a:off x="987192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045" name="CustomShape 522"/>
          <p:cNvSpPr/>
          <p:nvPr/>
        </p:nvSpPr>
        <p:spPr>
          <a:xfrm>
            <a:off x="10071360" y="4615920"/>
            <a:ext cx="1672560" cy="148680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1046" name="CustomShape 523"/>
          <p:cNvSpPr/>
          <p:nvPr/>
        </p:nvSpPr>
        <p:spPr>
          <a:xfrm>
            <a:off x="1013040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47" name="CustomShape 524"/>
          <p:cNvSpPr/>
          <p:nvPr/>
        </p:nvSpPr>
        <p:spPr>
          <a:xfrm>
            <a:off x="1033236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48" name="CustomShape 525"/>
          <p:cNvSpPr/>
          <p:nvPr/>
        </p:nvSpPr>
        <p:spPr>
          <a:xfrm>
            <a:off x="1053432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49" name="CustomShape 526"/>
          <p:cNvSpPr/>
          <p:nvPr/>
        </p:nvSpPr>
        <p:spPr>
          <a:xfrm>
            <a:off x="1073628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50" name="CustomShape 527"/>
          <p:cNvSpPr/>
          <p:nvPr/>
        </p:nvSpPr>
        <p:spPr>
          <a:xfrm>
            <a:off x="1093860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51" name="CustomShape 528"/>
          <p:cNvSpPr/>
          <p:nvPr/>
        </p:nvSpPr>
        <p:spPr>
          <a:xfrm>
            <a:off x="1114056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52" name="CustomShape 529"/>
          <p:cNvSpPr/>
          <p:nvPr/>
        </p:nvSpPr>
        <p:spPr>
          <a:xfrm>
            <a:off x="1134252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53" name="CustomShape 530"/>
          <p:cNvSpPr/>
          <p:nvPr/>
        </p:nvSpPr>
        <p:spPr>
          <a:xfrm>
            <a:off x="11544480" y="46558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54" name="CustomShape 531"/>
          <p:cNvSpPr/>
          <p:nvPr/>
        </p:nvSpPr>
        <p:spPr>
          <a:xfrm>
            <a:off x="1013040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55" name="CustomShape 532"/>
          <p:cNvSpPr/>
          <p:nvPr/>
        </p:nvSpPr>
        <p:spPr>
          <a:xfrm>
            <a:off x="1033236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56" name="CustomShape 533"/>
          <p:cNvSpPr/>
          <p:nvPr/>
        </p:nvSpPr>
        <p:spPr>
          <a:xfrm>
            <a:off x="1053432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57" name="CustomShape 534"/>
          <p:cNvSpPr/>
          <p:nvPr/>
        </p:nvSpPr>
        <p:spPr>
          <a:xfrm>
            <a:off x="1073628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58" name="CustomShape 535"/>
          <p:cNvSpPr/>
          <p:nvPr/>
        </p:nvSpPr>
        <p:spPr>
          <a:xfrm>
            <a:off x="1093860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59" name="CustomShape 536"/>
          <p:cNvSpPr/>
          <p:nvPr/>
        </p:nvSpPr>
        <p:spPr>
          <a:xfrm>
            <a:off x="1114056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60" name="CustomShape 537"/>
          <p:cNvSpPr/>
          <p:nvPr/>
        </p:nvSpPr>
        <p:spPr>
          <a:xfrm>
            <a:off x="1134252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61" name="CustomShape 538"/>
          <p:cNvSpPr/>
          <p:nvPr/>
        </p:nvSpPr>
        <p:spPr>
          <a:xfrm>
            <a:off x="11544480" y="48344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62" name="CustomShape 539"/>
          <p:cNvSpPr/>
          <p:nvPr/>
        </p:nvSpPr>
        <p:spPr>
          <a:xfrm>
            <a:off x="10130400" y="501300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1063" name="CustomShape 540"/>
          <p:cNvSpPr/>
          <p:nvPr/>
        </p:nvSpPr>
        <p:spPr>
          <a:xfrm>
            <a:off x="10332360" y="5013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64" name="CustomShape 541"/>
          <p:cNvSpPr/>
          <p:nvPr/>
        </p:nvSpPr>
        <p:spPr>
          <a:xfrm>
            <a:off x="10534320" y="5013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65" name="CustomShape 542"/>
          <p:cNvSpPr/>
          <p:nvPr/>
        </p:nvSpPr>
        <p:spPr>
          <a:xfrm>
            <a:off x="10736280" y="5013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66" name="CustomShape 543"/>
          <p:cNvSpPr/>
          <p:nvPr/>
        </p:nvSpPr>
        <p:spPr>
          <a:xfrm>
            <a:off x="10938600" y="5013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67" name="CustomShape 544"/>
          <p:cNvSpPr/>
          <p:nvPr/>
        </p:nvSpPr>
        <p:spPr>
          <a:xfrm>
            <a:off x="11140560" y="5013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68" name="CustomShape 545"/>
          <p:cNvSpPr/>
          <p:nvPr/>
        </p:nvSpPr>
        <p:spPr>
          <a:xfrm>
            <a:off x="11342520" y="5013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69" name="CustomShape 546"/>
          <p:cNvSpPr/>
          <p:nvPr/>
        </p:nvSpPr>
        <p:spPr>
          <a:xfrm>
            <a:off x="11544480" y="501300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70" name="CustomShape 547"/>
          <p:cNvSpPr/>
          <p:nvPr/>
        </p:nvSpPr>
        <p:spPr>
          <a:xfrm>
            <a:off x="10130400" y="519156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1071" name="CustomShape 548"/>
          <p:cNvSpPr/>
          <p:nvPr/>
        </p:nvSpPr>
        <p:spPr>
          <a:xfrm>
            <a:off x="10332360" y="519156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1072" name="CustomShape 549"/>
          <p:cNvSpPr/>
          <p:nvPr/>
        </p:nvSpPr>
        <p:spPr>
          <a:xfrm>
            <a:off x="10534320" y="51915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73" name="CustomShape 550"/>
          <p:cNvSpPr/>
          <p:nvPr/>
        </p:nvSpPr>
        <p:spPr>
          <a:xfrm>
            <a:off x="10736280" y="51915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74" name="CustomShape 551"/>
          <p:cNvSpPr/>
          <p:nvPr/>
        </p:nvSpPr>
        <p:spPr>
          <a:xfrm>
            <a:off x="10938600" y="51915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75" name="CustomShape 552"/>
          <p:cNvSpPr/>
          <p:nvPr/>
        </p:nvSpPr>
        <p:spPr>
          <a:xfrm>
            <a:off x="11140560" y="519156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76" name="CustomShape 553"/>
          <p:cNvSpPr/>
          <p:nvPr/>
        </p:nvSpPr>
        <p:spPr>
          <a:xfrm>
            <a:off x="11342520" y="519156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1077" name="CustomShape 554"/>
          <p:cNvSpPr/>
          <p:nvPr/>
        </p:nvSpPr>
        <p:spPr>
          <a:xfrm>
            <a:off x="11544480" y="5191560"/>
            <a:ext cx="136080" cy="136080"/>
          </a:xfrm>
          <a:prstGeom prst="ellipse">
            <a:avLst/>
          </a:prstGeom>
          <a:solidFill>
            <a:schemeClr val="accent1"/>
          </a:solidFill>
          <a:ln w="12600">
            <a:noFill/>
          </a:ln>
        </p:spPr>
        <p:style>
          <a:lnRef idx="0">
            <a:scrgbClr r="0" g="0" b="0"/>
          </a:lnRef>
          <a:fillRef idx="0">
            <a:scrgbClr r="0" g="0" b="0"/>
          </a:fillRef>
          <a:effectRef idx="0">
            <a:scrgbClr r="0" g="0" b="0"/>
          </a:effectRef>
          <a:fontRef idx="minor"/>
        </p:style>
      </p:sp>
      <p:sp>
        <p:nvSpPr>
          <p:cNvPr id="1078" name="CustomShape 555"/>
          <p:cNvSpPr/>
          <p:nvPr/>
        </p:nvSpPr>
        <p:spPr>
          <a:xfrm>
            <a:off x="10130400" y="53701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79" name="CustomShape 556"/>
          <p:cNvSpPr/>
          <p:nvPr/>
        </p:nvSpPr>
        <p:spPr>
          <a:xfrm>
            <a:off x="10332360" y="53701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80" name="CustomShape 557"/>
          <p:cNvSpPr/>
          <p:nvPr/>
        </p:nvSpPr>
        <p:spPr>
          <a:xfrm>
            <a:off x="10534320" y="53701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81" name="CustomShape 558"/>
          <p:cNvSpPr/>
          <p:nvPr/>
        </p:nvSpPr>
        <p:spPr>
          <a:xfrm>
            <a:off x="10736280" y="53701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82" name="CustomShape 559"/>
          <p:cNvSpPr/>
          <p:nvPr/>
        </p:nvSpPr>
        <p:spPr>
          <a:xfrm>
            <a:off x="10938600" y="53701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83" name="CustomShape 560"/>
          <p:cNvSpPr/>
          <p:nvPr/>
        </p:nvSpPr>
        <p:spPr>
          <a:xfrm>
            <a:off x="11140560" y="53701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84" name="CustomShape 561"/>
          <p:cNvSpPr/>
          <p:nvPr/>
        </p:nvSpPr>
        <p:spPr>
          <a:xfrm>
            <a:off x="11342520" y="53701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85" name="CustomShape 562"/>
          <p:cNvSpPr/>
          <p:nvPr/>
        </p:nvSpPr>
        <p:spPr>
          <a:xfrm>
            <a:off x="11544480" y="537012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86" name="CustomShape 563"/>
          <p:cNvSpPr/>
          <p:nvPr/>
        </p:nvSpPr>
        <p:spPr>
          <a:xfrm>
            <a:off x="10130400" y="55486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87" name="CustomShape 564"/>
          <p:cNvSpPr/>
          <p:nvPr/>
        </p:nvSpPr>
        <p:spPr>
          <a:xfrm>
            <a:off x="10332360" y="55486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88" name="CustomShape 565"/>
          <p:cNvSpPr/>
          <p:nvPr/>
        </p:nvSpPr>
        <p:spPr>
          <a:xfrm>
            <a:off x="10534320" y="55486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89" name="CustomShape 566"/>
          <p:cNvSpPr/>
          <p:nvPr/>
        </p:nvSpPr>
        <p:spPr>
          <a:xfrm>
            <a:off x="10736280" y="55486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90" name="CustomShape 567"/>
          <p:cNvSpPr/>
          <p:nvPr/>
        </p:nvSpPr>
        <p:spPr>
          <a:xfrm>
            <a:off x="10938600" y="55486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91" name="CustomShape 568"/>
          <p:cNvSpPr/>
          <p:nvPr/>
        </p:nvSpPr>
        <p:spPr>
          <a:xfrm>
            <a:off x="11140560" y="55486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92" name="CustomShape 569"/>
          <p:cNvSpPr/>
          <p:nvPr/>
        </p:nvSpPr>
        <p:spPr>
          <a:xfrm>
            <a:off x="11342520" y="55486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93" name="CustomShape 570"/>
          <p:cNvSpPr/>
          <p:nvPr/>
        </p:nvSpPr>
        <p:spPr>
          <a:xfrm>
            <a:off x="11544480" y="554868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94" name="CustomShape 571"/>
          <p:cNvSpPr/>
          <p:nvPr/>
        </p:nvSpPr>
        <p:spPr>
          <a:xfrm>
            <a:off x="10130400" y="57272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95" name="CustomShape 572"/>
          <p:cNvSpPr/>
          <p:nvPr/>
        </p:nvSpPr>
        <p:spPr>
          <a:xfrm>
            <a:off x="10332360" y="57272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96" name="CustomShape 573"/>
          <p:cNvSpPr/>
          <p:nvPr/>
        </p:nvSpPr>
        <p:spPr>
          <a:xfrm>
            <a:off x="10534320" y="57272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97" name="CustomShape 574"/>
          <p:cNvSpPr/>
          <p:nvPr/>
        </p:nvSpPr>
        <p:spPr>
          <a:xfrm>
            <a:off x="10736280" y="57272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98" name="CustomShape 575"/>
          <p:cNvSpPr/>
          <p:nvPr/>
        </p:nvSpPr>
        <p:spPr>
          <a:xfrm>
            <a:off x="10938600" y="57272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099" name="CustomShape 576"/>
          <p:cNvSpPr/>
          <p:nvPr/>
        </p:nvSpPr>
        <p:spPr>
          <a:xfrm>
            <a:off x="11140560" y="57272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100" name="CustomShape 577"/>
          <p:cNvSpPr/>
          <p:nvPr/>
        </p:nvSpPr>
        <p:spPr>
          <a:xfrm>
            <a:off x="11342520" y="57272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101" name="CustomShape 578"/>
          <p:cNvSpPr/>
          <p:nvPr/>
        </p:nvSpPr>
        <p:spPr>
          <a:xfrm>
            <a:off x="11544480" y="5727240"/>
            <a:ext cx="136080" cy="13608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102" name="CustomShape 579"/>
          <p:cNvSpPr/>
          <p:nvPr/>
        </p:nvSpPr>
        <p:spPr>
          <a:xfrm>
            <a:off x="1013040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103" name="CustomShape 580"/>
          <p:cNvSpPr/>
          <p:nvPr/>
        </p:nvSpPr>
        <p:spPr>
          <a:xfrm>
            <a:off x="1033236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104" name="CustomShape 581"/>
          <p:cNvSpPr/>
          <p:nvPr/>
        </p:nvSpPr>
        <p:spPr>
          <a:xfrm>
            <a:off x="1053432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105" name="CustomShape 582"/>
          <p:cNvSpPr/>
          <p:nvPr/>
        </p:nvSpPr>
        <p:spPr>
          <a:xfrm>
            <a:off x="1073628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106" name="CustomShape 583"/>
          <p:cNvSpPr/>
          <p:nvPr/>
        </p:nvSpPr>
        <p:spPr>
          <a:xfrm>
            <a:off x="1093860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107" name="CustomShape 584"/>
          <p:cNvSpPr/>
          <p:nvPr/>
        </p:nvSpPr>
        <p:spPr>
          <a:xfrm>
            <a:off x="1114056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108" name="CustomShape 585"/>
          <p:cNvSpPr/>
          <p:nvPr/>
        </p:nvSpPr>
        <p:spPr>
          <a:xfrm>
            <a:off x="1134252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109" name="CustomShape 586"/>
          <p:cNvSpPr/>
          <p:nvPr/>
        </p:nvSpPr>
        <p:spPr>
          <a:xfrm>
            <a:off x="11544480" y="5905800"/>
            <a:ext cx="136080" cy="13608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110" name="Rectangle 1109">
            <a:extLst>
              <a:ext uri="{FF2B5EF4-FFF2-40B4-BE49-F238E27FC236}">
                <a16:creationId xmlns:a16="http://schemas.microsoft.com/office/drawing/2014/main" id="{74D20775-402D-4802-A3BA-22E3763FD413}"/>
              </a:ext>
            </a:extLst>
          </p:cNvPr>
          <p:cNvSpPr/>
          <p:nvPr/>
        </p:nvSpPr>
        <p:spPr>
          <a:xfrm>
            <a:off x="11277600" y="309217"/>
            <a:ext cx="649357" cy="506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 name="TextBox 1">
            <a:extLst>
              <a:ext uri="{FF2B5EF4-FFF2-40B4-BE49-F238E27FC236}">
                <a16:creationId xmlns:a16="http://schemas.microsoft.com/office/drawing/2014/main" id="{CD937EA4-3F52-4E64-992E-36C9D2E6779F}"/>
              </a:ext>
            </a:extLst>
          </p:cNvPr>
          <p:cNvSpPr txBox="1"/>
          <p:nvPr/>
        </p:nvSpPr>
        <p:spPr>
          <a:xfrm>
            <a:off x="495720" y="1674360"/>
            <a:ext cx="4557600" cy="3754874"/>
          </a:xfrm>
          <a:prstGeom prst="rect">
            <a:avLst/>
          </a:prstGeom>
          <a:noFill/>
        </p:spPr>
        <p:txBody>
          <a:bodyPr wrap="square" rtlCol="0">
            <a:spAutoFit/>
          </a:bodyPr>
          <a:lstStyle/>
          <a:p>
            <a:pPr marL="344170" indent="-343535">
              <a:lnSpc>
                <a:spcPct val="100000"/>
              </a:lnSpc>
              <a:buClr>
                <a:srgbClr val="181818"/>
              </a:buClr>
              <a:buFont typeface="Ericsson Hilda Light"/>
              <a:buChar char="—"/>
            </a:pPr>
            <a:r>
              <a:rPr lang="sv-SE" sz="2000" b="0" strike="noStrike" spc="-1">
                <a:solidFill>
                  <a:srgbClr val="181818"/>
                </a:solidFill>
                <a:uFill>
                  <a:solidFill>
                    <a:srgbClr val="FFFFFF"/>
                  </a:solidFill>
                </a:uFill>
                <a:latin typeface="Ericsson Hilda" panose="00000500000000000000" pitchFamily="2" charset="0"/>
              </a:rPr>
              <a:t>S</a:t>
            </a:r>
            <a:r>
              <a:rPr lang="sv-SE" sz="2000" spc="-1">
                <a:solidFill>
                  <a:srgbClr val="181818"/>
                </a:solidFill>
                <a:uFill>
                  <a:solidFill>
                    <a:srgbClr val="FFFFFF"/>
                  </a:solidFill>
                </a:uFill>
                <a:latin typeface="Ericsson Hilda" panose="00000500000000000000" pitchFamily="2" charset="0"/>
              </a:rPr>
              <a:t>pelplanen ses från ett sidoperspektiv</a:t>
            </a:r>
          </a:p>
          <a:p>
            <a:pPr marL="344170" indent="-343535">
              <a:lnSpc>
                <a:spcPct val="100000"/>
              </a:lnSpc>
              <a:buClr>
                <a:srgbClr val="181818"/>
              </a:buClr>
              <a:buFont typeface="Ericsson Hilda Light"/>
              <a:buChar char="—"/>
            </a:pPr>
            <a:r>
              <a:rPr lang="sv-SE" sz="2000" spc="-1">
                <a:solidFill>
                  <a:srgbClr val="181818"/>
                </a:solidFill>
                <a:uFill>
                  <a:solidFill>
                    <a:srgbClr val="FFFFFF"/>
                  </a:solidFill>
                </a:uFill>
                <a:latin typeface="Ericsson Hilda" panose="00000500000000000000" pitchFamily="2" charset="0"/>
              </a:rPr>
              <a:t>Statisk spelkaraktär</a:t>
            </a:r>
          </a:p>
          <a:p>
            <a:pPr marL="344170" indent="-343535">
              <a:lnSpc>
                <a:spcPct val="100000"/>
              </a:lnSpc>
              <a:buClr>
                <a:srgbClr val="181818"/>
              </a:buClr>
              <a:buFont typeface="Ericsson Hilda Light"/>
              <a:buChar char="—"/>
            </a:pPr>
            <a:r>
              <a:rPr lang="sv-SE" sz="2000" spc="-1">
                <a:solidFill>
                  <a:srgbClr val="181818"/>
                </a:solidFill>
                <a:uFill>
                  <a:solidFill>
                    <a:srgbClr val="FFFFFF"/>
                  </a:solidFill>
                </a:uFill>
                <a:latin typeface="Ericsson Hilda" panose="00000500000000000000" pitchFamily="2" charset="0"/>
              </a:rPr>
              <a:t>Hinder flyttas från väster till höger för att ge en illusion av en springande karaktär</a:t>
            </a:r>
            <a:endParaRPr lang="sv-SE" sz="2000" b="0" strike="noStrike" spc="-1">
              <a:solidFill>
                <a:srgbClr val="000000"/>
              </a:solidFill>
              <a:uFill>
                <a:solidFill>
                  <a:srgbClr val="FFFFFF"/>
                </a:solidFill>
              </a:uFill>
              <a:latin typeface="Ericsson Hilda" panose="00000500000000000000" pitchFamily="2" charset="0"/>
            </a:endParaRPr>
          </a:p>
          <a:p>
            <a:pPr marL="344170" indent="-343535">
              <a:lnSpc>
                <a:spcPct val="100000"/>
              </a:lnSpc>
              <a:buClr>
                <a:srgbClr val="181818"/>
              </a:buClr>
              <a:buFont typeface="Ericsson Hilda Light"/>
              <a:buChar char="—"/>
            </a:pPr>
            <a:r>
              <a:rPr lang="sv-SE" sz="2000" b="0" strike="noStrike" spc="-1">
                <a:solidFill>
                  <a:srgbClr val="000000"/>
                </a:solidFill>
                <a:uFill>
                  <a:solidFill>
                    <a:srgbClr val="FFFFFF"/>
                  </a:solidFill>
                </a:uFill>
                <a:latin typeface="Ericsson Hilda" panose="00000500000000000000" pitchFamily="2" charset="0"/>
              </a:rPr>
              <a:t>Spelare undviker hinder för högre poäng</a:t>
            </a:r>
            <a:endParaRPr lang="sv-SE" sz="2000" spc="-1">
              <a:solidFill>
                <a:srgbClr val="000000"/>
              </a:solidFill>
              <a:uFill>
                <a:solidFill>
                  <a:srgbClr val="FFFFFF"/>
                </a:solidFill>
              </a:uFill>
              <a:latin typeface="Ericsson Hilda" panose="00000500000000000000" pitchFamily="2" charset="0"/>
            </a:endParaRPr>
          </a:p>
          <a:p>
            <a:pPr marL="801370" lvl="1" indent="-343535">
              <a:buClr>
                <a:srgbClr val="181818"/>
              </a:buClr>
              <a:buFont typeface="Ericsson Hilda Light"/>
              <a:buChar char="—"/>
            </a:pPr>
            <a:r>
              <a:rPr lang="sv-SE" sz="2000" b="0" strike="noStrike" spc="-1">
                <a:solidFill>
                  <a:srgbClr val="000000"/>
                </a:solidFill>
                <a:uFill>
                  <a:solidFill>
                    <a:srgbClr val="FFFFFF"/>
                  </a:solidFill>
                </a:uFill>
                <a:latin typeface="Ericsson Hilda" panose="00000500000000000000" pitchFamily="2" charset="0"/>
              </a:rPr>
              <a:t>2 typer av hinder:</a:t>
            </a:r>
          </a:p>
          <a:p>
            <a:pPr marL="1258570" lvl="2" indent="-343535">
              <a:buClr>
                <a:srgbClr val="181818"/>
              </a:buClr>
              <a:buFont typeface="Ericsson Hilda Light"/>
              <a:buChar char="—"/>
            </a:pPr>
            <a:r>
              <a:rPr lang="sv-SE" sz="2000" spc="-1">
                <a:solidFill>
                  <a:srgbClr val="000000"/>
                </a:solidFill>
                <a:uFill>
                  <a:solidFill>
                    <a:srgbClr val="FFFFFF"/>
                  </a:solidFill>
                </a:uFill>
                <a:latin typeface="Ericsson Hilda" panose="00000500000000000000" pitchFamily="2" charset="0"/>
              </a:rPr>
              <a:t>Moln</a:t>
            </a:r>
          </a:p>
          <a:p>
            <a:pPr marL="1258570" lvl="2" indent="-343535">
              <a:buClr>
                <a:srgbClr val="181818"/>
              </a:buClr>
              <a:buFont typeface="Ericsson Hilda Light"/>
              <a:buChar char="—"/>
            </a:pPr>
            <a:r>
              <a:rPr lang="sv-SE" sz="2000" spc="-1">
                <a:solidFill>
                  <a:srgbClr val="000000"/>
                </a:solidFill>
                <a:uFill>
                  <a:solidFill>
                    <a:srgbClr val="FFFFFF"/>
                  </a:solidFill>
                </a:uFill>
                <a:latin typeface="Ericsson Hilda" panose="00000500000000000000" pitchFamily="2" charset="0"/>
              </a:rPr>
              <a:t>Träd</a:t>
            </a:r>
            <a:endParaRPr lang="sv-SE" sz="2000" b="0" strike="noStrike" spc="-1">
              <a:solidFill>
                <a:srgbClr val="000000"/>
              </a:solidFill>
              <a:uFill>
                <a:solidFill>
                  <a:srgbClr val="FFFFFF"/>
                </a:solidFill>
              </a:uFill>
              <a:latin typeface="Ericsson Hilda" panose="00000500000000000000" pitchFamily="2" charset="0"/>
            </a:endParaRPr>
          </a:p>
          <a:p>
            <a:endParaRPr lang="en-SE"/>
          </a:p>
        </p:txBody>
      </p:sp>
      <p:sp>
        <p:nvSpPr>
          <p:cNvPr id="3" name="TextBox 2">
            <a:extLst>
              <a:ext uri="{FF2B5EF4-FFF2-40B4-BE49-F238E27FC236}">
                <a16:creationId xmlns:a16="http://schemas.microsoft.com/office/drawing/2014/main" id="{9B78DEC8-96DA-4CBB-B8BE-C2FDAFC73852}"/>
              </a:ext>
            </a:extLst>
          </p:cNvPr>
          <p:cNvSpPr txBox="1"/>
          <p:nvPr/>
        </p:nvSpPr>
        <p:spPr>
          <a:xfrm>
            <a:off x="7693740" y="6416040"/>
            <a:ext cx="4087800" cy="261610"/>
          </a:xfrm>
          <a:prstGeom prst="rect">
            <a:avLst/>
          </a:prstGeom>
          <a:noFill/>
        </p:spPr>
        <p:txBody>
          <a:bodyPr wrap="square" rtlCol="0">
            <a:spAutoFit/>
          </a:bodyPr>
          <a:lstStyle/>
          <a:p>
            <a:pPr algn="r"/>
            <a:r>
              <a:rPr lang="en-US" sz="1100">
                <a:latin typeface="Ericsson Hilda" panose="00000500000000000000" pitchFamily="2" charset="0"/>
              </a:rPr>
              <a:t>Illustration av </a:t>
            </a:r>
            <a:r>
              <a:rPr lang="en-US" sz="1100" err="1">
                <a:latin typeface="Ericsson Hilda" panose="00000500000000000000" pitchFamily="2" charset="0"/>
              </a:rPr>
              <a:t>spelmekanik</a:t>
            </a:r>
            <a:endParaRPr lang="en-SE" sz="1100">
              <a:latin typeface="Ericsson Hilda" panose="00000500000000000000" pitchFamily="2" charset="0"/>
            </a:endParaRPr>
          </a:p>
        </p:txBody>
      </p:sp>
      <p:sp>
        <p:nvSpPr>
          <p:cNvPr id="1112" name="TextBox 1111">
            <a:extLst>
              <a:ext uri="{FF2B5EF4-FFF2-40B4-BE49-F238E27FC236}">
                <a16:creationId xmlns:a16="http://schemas.microsoft.com/office/drawing/2014/main" id="{F14CFA2A-1C72-43E9-937D-93FCE1820995}"/>
              </a:ext>
            </a:extLst>
          </p:cNvPr>
          <p:cNvSpPr txBox="1"/>
          <p:nvPr/>
        </p:nvSpPr>
        <p:spPr>
          <a:xfrm>
            <a:off x="6725880" y="658550"/>
            <a:ext cx="5055660" cy="261610"/>
          </a:xfrm>
          <a:prstGeom prst="rect">
            <a:avLst/>
          </a:prstGeom>
          <a:noFill/>
        </p:spPr>
        <p:txBody>
          <a:bodyPr wrap="square" rtlCol="0">
            <a:spAutoFit/>
          </a:bodyPr>
          <a:lstStyle/>
          <a:p>
            <a:pPr algn="ctr"/>
            <a:r>
              <a:rPr lang="en-US" sz="1100">
                <a:latin typeface="Ericsson Hilda" panose="00000500000000000000" pitchFamily="2" charset="0"/>
              </a:rPr>
              <a:t>Fig 1. </a:t>
            </a:r>
            <a:endParaRPr lang="en-SE" sz="1100">
              <a:latin typeface="Ericsson Hilda" panose="00000500000000000000" pitchFamily="2" charset="0"/>
            </a:endParaRPr>
          </a:p>
        </p:txBody>
      </p:sp>
      <p:sp>
        <p:nvSpPr>
          <p:cNvPr id="1113" name="TextBox 1112">
            <a:extLst>
              <a:ext uri="{FF2B5EF4-FFF2-40B4-BE49-F238E27FC236}">
                <a16:creationId xmlns:a16="http://schemas.microsoft.com/office/drawing/2014/main" id="{892717BF-3EE1-48E7-AF9C-D1059AD041E0}"/>
              </a:ext>
            </a:extLst>
          </p:cNvPr>
          <p:cNvSpPr txBox="1"/>
          <p:nvPr/>
        </p:nvSpPr>
        <p:spPr>
          <a:xfrm>
            <a:off x="6725880" y="2475295"/>
            <a:ext cx="5055660" cy="261610"/>
          </a:xfrm>
          <a:prstGeom prst="rect">
            <a:avLst/>
          </a:prstGeom>
          <a:noFill/>
        </p:spPr>
        <p:txBody>
          <a:bodyPr wrap="square" rtlCol="0">
            <a:spAutoFit/>
          </a:bodyPr>
          <a:lstStyle/>
          <a:p>
            <a:pPr algn="ctr"/>
            <a:r>
              <a:rPr lang="en-US" sz="1100">
                <a:latin typeface="Ericsson Hilda" panose="00000500000000000000" pitchFamily="2" charset="0"/>
              </a:rPr>
              <a:t>Fig 1. </a:t>
            </a:r>
            <a:endParaRPr lang="en-SE" sz="1100">
              <a:latin typeface="Ericsson Hilda" panose="00000500000000000000" pitchFamily="2" charset="0"/>
            </a:endParaRPr>
          </a:p>
        </p:txBody>
      </p:sp>
    </p:spTree>
    <p:extLst>
      <p:ext uri="{BB962C8B-B14F-4D97-AF65-F5344CB8AC3E}">
        <p14:creationId xmlns:p14="http://schemas.microsoft.com/office/powerpoint/2010/main" val="3829217184"/>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718" name="Picture 7"/>
          <p:cNvPicPr/>
          <p:nvPr/>
        </p:nvPicPr>
        <p:blipFill>
          <a:blip r:embed="rId2"/>
          <a:stretch/>
        </p:blipFill>
        <p:spPr>
          <a:xfrm>
            <a:off x="6129360" y="1566720"/>
            <a:ext cx="5304960" cy="1802880"/>
          </a:xfrm>
          <a:prstGeom prst="rect">
            <a:avLst/>
          </a:prstGeom>
          <a:ln>
            <a:solidFill>
              <a:schemeClr val="tx1"/>
            </a:solidFill>
          </a:ln>
        </p:spPr>
      </p:pic>
      <p:sp>
        <p:nvSpPr>
          <p:cNvPr id="1719" name="CustomShape 1"/>
          <p:cNvSpPr/>
          <p:nvPr/>
        </p:nvSpPr>
        <p:spPr>
          <a:xfrm>
            <a:off x="479520" y="1566720"/>
            <a:ext cx="5471640" cy="5151600"/>
          </a:xfrm>
          <a:prstGeom prst="rect">
            <a:avLst/>
          </a:prstGeom>
          <a:noFill/>
          <a:ln>
            <a:noFill/>
          </a:ln>
        </p:spPr>
        <p:style>
          <a:lnRef idx="0">
            <a:scrgbClr r="0" g="0" b="0"/>
          </a:lnRef>
          <a:fillRef idx="0">
            <a:scrgbClr r="0" g="0" b="0"/>
          </a:fillRef>
          <a:effectRef idx="0">
            <a:scrgbClr r="0" g="0" b="0"/>
          </a:effectRef>
          <a:fontRef idx="minor"/>
        </p:style>
        <p:txBody>
          <a:bodyPr lIns="72000" tIns="36000" rIns="72000" bIns="36000"/>
          <a:lstStyle/>
          <a:p>
            <a:pPr>
              <a:lnSpc>
                <a:spcPct val="100000"/>
              </a:lnSpc>
              <a:spcBef>
                <a:spcPts val="799"/>
              </a:spcBef>
            </a:pPr>
            <a:r>
              <a:rPr lang="sv-SE" sz="1200" b="0" strike="noStrike" spc="-29">
                <a:solidFill>
                  <a:srgbClr val="181818"/>
                </a:solidFill>
                <a:uFill>
                  <a:solidFill>
                    <a:srgbClr val="FFFFFF"/>
                  </a:solidFill>
                </a:uFill>
                <a:latin typeface="Ericsson Hilda"/>
              </a:rPr>
              <a:t>Deployment</a:t>
            </a:r>
            <a:endParaRPr lang="sv-SE" sz="1200" b="0" strike="noStrike" spc="-1">
              <a:solidFill>
                <a:srgbClr val="000000"/>
              </a:solidFill>
              <a:uFill>
                <a:solidFill>
                  <a:srgbClr val="FFFFFF"/>
                </a:solidFill>
              </a:uFill>
              <a:latin typeface="Arial"/>
            </a:endParaRPr>
          </a:p>
          <a:p>
            <a:pPr>
              <a:lnSpc>
                <a:spcPct val="100000"/>
              </a:lnSpc>
              <a:spcBef>
                <a:spcPts val="799"/>
              </a:spcBef>
            </a:pP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r>
              <a:rPr lang="sv-SE" sz="1200" b="0" strike="noStrike" spc="-29">
                <a:solidFill>
                  <a:srgbClr val="181818"/>
                </a:solidFill>
                <a:uFill>
                  <a:solidFill>
                    <a:srgbClr val="FFFFFF"/>
                  </a:solidFill>
                </a:uFill>
                <a:latin typeface="Ericsson Hilda"/>
              </a:rPr>
              <a:t>Relevant information för varje pixel finns I VRAM</a:t>
            </a: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r>
              <a:rPr lang="sv-SE" sz="1200" b="0" strike="noStrike" spc="-29">
                <a:solidFill>
                  <a:srgbClr val="181818"/>
                </a:solidFill>
                <a:uFill>
                  <a:solidFill>
                    <a:srgbClr val="FFFFFF"/>
                  </a:solidFill>
                </a:uFill>
                <a:latin typeface="Ericsson Hilda"/>
              </a:rPr>
              <a:t>Addressering</a:t>
            </a: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r>
              <a:rPr lang="sv-SE" sz="1200" b="0" strike="noStrike" spc="-29">
                <a:solidFill>
                  <a:srgbClr val="181818"/>
                </a:solidFill>
                <a:uFill>
                  <a:solidFill>
                    <a:srgbClr val="FFFFFF"/>
                  </a:solidFill>
                </a:uFill>
                <a:latin typeface="Ericsson Hilda"/>
              </a:rPr>
              <a:t>Verkställande arbete </a:t>
            </a:r>
            <a:endParaRPr lang="sv-SE" sz="1200" b="0" strike="noStrike" spc="-1">
              <a:solidFill>
                <a:srgbClr val="000000"/>
              </a:solidFill>
              <a:uFill>
                <a:solidFill>
                  <a:srgbClr val="FFFFFF"/>
                </a:solidFill>
              </a:uFill>
              <a:latin typeface="Arial"/>
            </a:endParaRPr>
          </a:p>
          <a:p>
            <a:pPr>
              <a:lnSpc>
                <a:spcPct val="100000"/>
              </a:lnSpc>
              <a:spcBef>
                <a:spcPts val="799"/>
              </a:spcBef>
            </a:pPr>
            <a:endParaRPr lang="sv-SE" sz="1200" b="0" strike="noStrike" spc="-1">
              <a:solidFill>
                <a:srgbClr val="000000"/>
              </a:solidFill>
              <a:uFill>
                <a:solidFill>
                  <a:srgbClr val="FFFFFF"/>
                </a:solidFill>
              </a:uFill>
              <a:latin typeface="Arial"/>
            </a:endParaRPr>
          </a:p>
        </p:txBody>
      </p:sp>
      <p:sp>
        <p:nvSpPr>
          <p:cNvPr id="1720" name="TextShape 2"/>
          <p:cNvSpPr txBox="1"/>
          <p:nvPr/>
        </p:nvSpPr>
        <p:spPr>
          <a:xfrm>
            <a:off x="479520" y="476280"/>
            <a:ext cx="5471640" cy="716400"/>
          </a:xfrm>
          <a:prstGeom prst="rect">
            <a:avLst/>
          </a:prstGeom>
          <a:noFill/>
          <a:ln w="9360">
            <a:noFill/>
          </a:ln>
        </p:spPr>
        <p:txBody>
          <a:bodyPr lIns="72000" tIns="36000" rIns="73080" bIns="36720">
            <a:normAutofit/>
          </a:bodyPr>
          <a:lstStyle/>
          <a:p>
            <a:pPr>
              <a:lnSpc>
                <a:spcPct val="100000"/>
              </a:lnSpc>
              <a:spcBef>
                <a:spcPts val="300"/>
              </a:spcBef>
            </a:pPr>
            <a:r>
              <a:rPr lang="en-US" sz="4000" b="0" strike="noStrike" spc="-157">
                <a:solidFill>
                  <a:srgbClr val="181818"/>
                </a:solidFill>
                <a:uFill>
                  <a:solidFill>
                    <a:srgbClr val="FFFFFF"/>
                  </a:solidFill>
                </a:uFill>
                <a:latin typeface="Ericsson Hilda Light"/>
              </a:rPr>
              <a:t>Addressering av pixlar</a:t>
            </a:r>
            <a:endParaRPr lang="en-US" sz="4000" b="0" strike="noStrike" spc="-1">
              <a:solidFill>
                <a:srgbClr val="181818"/>
              </a:solidFill>
              <a:uFill>
                <a:solidFill>
                  <a:srgbClr val="FFFFFF"/>
                </a:solidFill>
              </a:uFill>
              <a:latin typeface="Ericsson Hilda"/>
            </a:endParaRPr>
          </a:p>
        </p:txBody>
      </p:sp>
      <p:sp>
        <p:nvSpPr>
          <p:cNvPr id="1721" name="CustomShape 3"/>
          <p:cNvSpPr/>
          <p:nvPr/>
        </p:nvSpPr>
        <p:spPr>
          <a:xfrm>
            <a:off x="8286840" y="1109520"/>
            <a:ext cx="914040" cy="914040"/>
          </a:xfrm>
          <a:prstGeom prst="rect">
            <a:avLst/>
          </a:prstGeom>
          <a:noFill/>
          <a:ln w="12600">
            <a:noFill/>
          </a:ln>
        </p:spPr>
        <p:style>
          <a:lnRef idx="0">
            <a:scrgbClr r="0" g="0" b="0"/>
          </a:lnRef>
          <a:fillRef idx="0">
            <a:scrgbClr r="0" g="0" b="0"/>
          </a:fillRef>
          <a:effectRef idx="0">
            <a:scrgbClr r="0" g="0" b="0"/>
          </a:effectRef>
          <a:fontRef idx="minor"/>
        </p:style>
        <p:txBody>
          <a:bodyPr wrap="none" lIns="72000" tIns="36000" rIns="73080" bIns="36720"/>
          <a:lstStyle/>
          <a:p>
            <a:pPr>
              <a:lnSpc>
                <a:spcPct val="100000"/>
              </a:lnSpc>
            </a:pPr>
            <a:r>
              <a:rPr lang="sv-SE" sz="2000" b="0" strike="noStrike" spc="-1">
                <a:solidFill>
                  <a:srgbClr val="181818"/>
                </a:solidFill>
                <a:uFill>
                  <a:solidFill>
                    <a:srgbClr val="FFFFFF"/>
                  </a:solidFill>
                </a:uFill>
                <a:latin typeface="Ericsson Hilda"/>
              </a:rPr>
              <a:t>VRAM</a:t>
            </a:r>
            <a:endParaRPr lang="sv-SE" sz="2000" b="0" strike="noStrike" spc="-1">
              <a:solidFill>
                <a:srgbClr val="000000"/>
              </a:solidFill>
              <a:uFill>
                <a:solidFill>
                  <a:srgbClr val="FFFFFF"/>
                </a:solidFill>
              </a:uFill>
              <a:latin typeface="Arial"/>
            </a:endParaRPr>
          </a:p>
        </p:txBody>
      </p:sp>
      <p:sp>
        <p:nvSpPr>
          <p:cNvPr id="1722" name="CustomShape 4"/>
          <p:cNvSpPr/>
          <p:nvPr/>
        </p:nvSpPr>
        <p:spPr>
          <a:xfrm>
            <a:off x="2232000" y="4464000"/>
            <a:ext cx="2370600" cy="210744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1723" name="CustomShape 5"/>
          <p:cNvSpPr/>
          <p:nvPr/>
        </p:nvSpPr>
        <p:spPr>
          <a:xfrm>
            <a:off x="231480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4" name="CustomShape 6"/>
          <p:cNvSpPr/>
          <p:nvPr/>
        </p:nvSpPr>
        <p:spPr>
          <a:xfrm>
            <a:off x="2559240" y="4497480"/>
            <a:ext cx="234720" cy="21600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5" name="CustomShape 7"/>
          <p:cNvSpPr/>
          <p:nvPr/>
        </p:nvSpPr>
        <p:spPr>
          <a:xfrm>
            <a:off x="28875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6" name="CustomShape 8"/>
          <p:cNvSpPr/>
          <p:nvPr/>
        </p:nvSpPr>
        <p:spPr>
          <a:xfrm>
            <a:off x="31737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7" name="CustomShape 9"/>
          <p:cNvSpPr/>
          <p:nvPr/>
        </p:nvSpPr>
        <p:spPr>
          <a:xfrm>
            <a:off x="34603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8" name="CustomShape 10"/>
          <p:cNvSpPr/>
          <p:nvPr/>
        </p:nvSpPr>
        <p:spPr>
          <a:xfrm>
            <a:off x="37465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9" name="CustomShape 11"/>
          <p:cNvSpPr/>
          <p:nvPr/>
        </p:nvSpPr>
        <p:spPr>
          <a:xfrm>
            <a:off x="40330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0" name="CustomShape 12"/>
          <p:cNvSpPr/>
          <p:nvPr/>
        </p:nvSpPr>
        <p:spPr>
          <a:xfrm>
            <a:off x="43196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1" name="CustomShape 13"/>
          <p:cNvSpPr/>
          <p:nvPr/>
        </p:nvSpPr>
        <p:spPr>
          <a:xfrm>
            <a:off x="23148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2" name="CustomShape 14"/>
          <p:cNvSpPr/>
          <p:nvPr/>
        </p:nvSpPr>
        <p:spPr>
          <a:xfrm>
            <a:off x="26010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3" name="CustomShape 15"/>
          <p:cNvSpPr/>
          <p:nvPr/>
        </p:nvSpPr>
        <p:spPr>
          <a:xfrm>
            <a:off x="28875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4" name="CustomShape 16"/>
          <p:cNvSpPr/>
          <p:nvPr/>
        </p:nvSpPr>
        <p:spPr>
          <a:xfrm>
            <a:off x="31737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5" name="CustomShape 17"/>
          <p:cNvSpPr/>
          <p:nvPr/>
        </p:nvSpPr>
        <p:spPr>
          <a:xfrm>
            <a:off x="34603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6" name="CustomShape 18"/>
          <p:cNvSpPr/>
          <p:nvPr/>
        </p:nvSpPr>
        <p:spPr>
          <a:xfrm>
            <a:off x="37465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7" name="CustomShape 19"/>
          <p:cNvSpPr/>
          <p:nvPr/>
        </p:nvSpPr>
        <p:spPr>
          <a:xfrm>
            <a:off x="40330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8" name="CustomShape 20"/>
          <p:cNvSpPr/>
          <p:nvPr/>
        </p:nvSpPr>
        <p:spPr>
          <a:xfrm>
            <a:off x="43196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9" name="CustomShape 21"/>
          <p:cNvSpPr/>
          <p:nvPr/>
        </p:nvSpPr>
        <p:spPr>
          <a:xfrm>
            <a:off x="23148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0" name="CustomShape 22"/>
          <p:cNvSpPr/>
          <p:nvPr/>
        </p:nvSpPr>
        <p:spPr>
          <a:xfrm>
            <a:off x="26010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1" name="CustomShape 23"/>
          <p:cNvSpPr/>
          <p:nvPr/>
        </p:nvSpPr>
        <p:spPr>
          <a:xfrm>
            <a:off x="28875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2" name="CustomShape 24"/>
          <p:cNvSpPr/>
          <p:nvPr/>
        </p:nvSpPr>
        <p:spPr>
          <a:xfrm>
            <a:off x="31737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3" name="CustomShape 25"/>
          <p:cNvSpPr/>
          <p:nvPr/>
        </p:nvSpPr>
        <p:spPr>
          <a:xfrm>
            <a:off x="34603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4" name="CustomShape 26"/>
          <p:cNvSpPr/>
          <p:nvPr/>
        </p:nvSpPr>
        <p:spPr>
          <a:xfrm>
            <a:off x="37465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5" name="CustomShape 27"/>
          <p:cNvSpPr/>
          <p:nvPr/>
        </p:nvSpPr>
        <p:spPr>
          <a:xfrm>
            <a:off x="40330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6" name="CustomShape 28"/>
          <p:cNvSpPr/>
          <p:nvPr/>
        </p:nvSpPr>
        <p:spPr>
          <a:xfrm>
            <a:off x="43196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7" name="CustomShape 29"/>
          <p:cNvSpPr/>
          <p:nvPr/>
        </p:nvSpPr>
        <p:spPr>
          <a:xfrm>
            <a:off x="23148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8" name="CustomShape 30"/>
          <p:cNvSpPr/>
          <p:nvPr/>
        </p:nvSpPr>
        <p:spPr>
          <a:xfrm>
            <a:off x="26010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9" name="CustomShape 31"/>
          <p:cNvSpPr/>
          <p:nvPr/>
        </p:nvSpPr>
        <p:spPr>
          <a:xfrm>
            <a:off x="28875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0" name="CustomShape 32"/>
          <p:cNvSpPr/>
          <p:nvPr/>
        </p:nvSpPr>
        <p:spPr>
          <a:xfrm>
            <a:off x="31737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1" name="CustomShape 33"/>
          <p:cNvSpPr/>
          <p:nvPr/>
        </p:nvSpPr>
        <p:spPr>
          <a:xfrm>
            <a:off x="34603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2" name="CustomShape 34"/>
          <p:cNvSpPr/>
          <p:nvPr/>
        </p:nvSpPr>
        <p:spPr>
          <a:xfrm>
            <a:off x="37465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3" name="CustomShape 35"/>
          <p:cNvSpPr/>
          <p:nvPr/>
        </p:nvSpPr>
        <p:spPr>
          <a:xfrm>
            <a:off x="40330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4" name="CustomShape 36"/>
          <p:cNvSpPr/>
          <p:nvPr/>
        </p:nvSpPr>
        <p:spPr>
          <a:xfrm>
            <a:off x="43196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5" name="CustomShape 37"/>
          <p:cNvSpPr/>
          <p:nvPr/>
        </p:nvSpPr>
        <p:spPr>
          <a:xfrm>
            <a:off x="23148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6" name="CustomShape 38"/>
          <p:cNvSpPr/>
          <p:nvPr/>
        </p:nvSpPr>
        <p:spPr>
          <a:xfrm>
            <a:off x="26010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7" name="CustomShape 39"/>
          <p:cNvSpPr/>
          <p:nvPr/>
        </p:nvSpPr>
        <p:spPr>
          <a:xfrm>
            <a:off x="2887560" y="5532840"/>
            <a:ext cx="192960" cy="192960"/>
          </a:xfrm>
          <a:prstGeom prst="ellipse">
            <a:avLst/>
          </a:prstGeom>
          <a:solidFill>
            <a:schemeClr val="tx2"/>
          </a:solidFill>
          <a:ln w="12600">
            <a:noFill/>
          </a:ln>
        </p:spPr>
        <p:style>
          <a:lnRef idx="0">
            <a:scrgbClr r="0" g="0" b="0"/>
          </a:lnRef>
          <a:fillRef idx="0">
            <a:scrgbClr r="0" g="0" b="0"/>
          </a:fillRef>
          <a:effectRef idx="0">
            <a:scrgbClr r="0" g="0" b="0"/>
          </a:effectRef>
          <a:fontRef idx="minor"/>
        </p:style>
      </p:sp>
      <p:sp>
        <p:nvSpPr>
          <p:cNvPr id="1758" name="CustomShape 40"/>
          <p:cNvSpPr/>
          <p:nvPr/>
        </p:nvSpPr>
        <p:spPr>
          <a:xfrm>
            <a:off x="3173760" y="5532840"/>
            <a:ext cx="192960" cy="192960"/>
          </a:xfrm>
          <a:prstGeom prst="ellipse">
            <a:avLst/>
          </a:prstGeom>
          <a:solidFill>
            <a:schemeClr val="tx2"/>
          </a:solidFill>
          <a:ln w="12600">
            <a:noFill/>
          </a:ln>
        </p:spPr>
        <p:style>
          <a:lnRef idx="0">
            <a:scrgbClr r="0" g="0" b="0"/>
          </a:lnRef>
          <a:fillRef idx="0">
            <a:scrgbClr r="0" g="0" b="0"/>
          </a:fillRef>
          <a:effectRef idx="0">
            <a:scrgbClr r="0" g="0" b="0"/>
          </a:effectRef>
          <a:fontRef idx="minor"/>
        </p:style>
      </p:sp>
      <p:sp>
        <p:nvSpPr>
          <p:cNvPr id="1759" name="CustomShape 41"/>
          <p:cNvSpPr/>
          <p:nvPr/>
        </p:nvSpPr>
        <p:spPr>
          <a:xfrm>
            <a:off x="34603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0" name="CustomShape 42"/>
          <p:cNvSpPr/>
          <p:nvPr/>
        </p:nvSpPr>
        <p:spPr>
          <a:xfrm>
            <a:off x="37465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1" name="CustomShape 43"/>
          <p:cNvSpPr/>
          <p:nvPr/>
        </p:nvSpPr>
        <p:spPr>
          <a:xfrm>
            <a:off x="40330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2" name="CustomShape 44"/>
          <p:cNvSpPr/>
          <p:nvPr/>
        </p:nvSpPr>
        <p:spPr>
          <a:xfrm>
            <a:off x="43196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3" name="CustomShape 45"/>
          <p:cNvSpPr/>
          <p:nvPr/>
        </p:nvSpPr>
        <p:spPr>
          <a:xfrm>
            <a:off x="231480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4" name="CustomShape 46"/>
          <p:cNvSpPr/>
          <p:nvPr/>
        </p:nvSpPr>
        <p:spPr>
          <a:xfrm>
            <a:off x="260100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5" name="CustomShape 47"/>
          <p:cNvSpPr/>
          <p:nvPr/>
        </p:nvSpPr>
        <p:spPr>
          <a:xfrm>
            <a:off x="2887560" y="5785920"/>
            <a:ext cx="192960" cy="192960"/>
          </a:xfrm>
          <a:prstGeom prst="ellipse">
            <a:avLst/>
          </a:prstGeom>
          <a:solidFill>
            <a:schemeClr val="tx2"/>
          </a:solidFill>
          <a:ln w="12600">
            <a:noFill/>
          </a:ln>
        </p:spPr>
        <p:style>
          <a:lnRef idx="0">
            <a:scrgbClr r="0" g="0" b="0"/>
          </a:lnRef>
          <a:fillRef idx="0">
            <a:scrgbClr r="0" g="0" b="0"/>
          </a:fillRef>
          <a:effectRef idx="0">
            <a:scrgbClr r="0" g="0" b="0"/>
          </a:effectRef>
          <a:fontRef idx="minor"/>
        </p:style>
      </p:sp>
      <p:sp>
        <p:nvSpPr>
          <p:cNvPr id="1766" name="CustomShape 48"/>
          <p:cNvSpPr/>
          <p:nvPr/>
        </p:nvSpPr>
        <p:spPr>
          <a:xfrm>
            <a:off x="3173760" y="5785920"/>
            <a:ext cx="192960" cy="192960"/>
          </a:xfrm>
          <a:prstGeom prst="ellipse">
            <a:avLst/>
          </a:prstGeom>
          <a:solidFill>
            <a:schemeClr val="tx2"/>
          </a:solidFill>
          <a:ln w="12600">
            <a:noFill/>
          </a:ln>
        </p:spPr>
        <p:style>
          <a:lnRef idx="0">
            <a:scrgbClr r="0" g="0" b="0"/>
          </a:lnRef>
          <a:fillRef idx="0">
            <a:scrgbClr r="0" g="0" b="0"/>
          </a:fillRef>
          <a:effectRef idx="0">
            <a:scrgbClr r="0" g="0" b="0"/>
          </a:effectRef>
          <a:fontRef idx="minor"/>
        </p:style>
      </p:sp>
      <p:sp>
        <p:nvSpPr>
          <p:cNvPr id="1767" name="CustomShape 49"/>
          <p:cNvSpPr/>
          <p:nvPr/>
        </p:nvSpPr>
        <p:spPr>
          <a:xfrm>
            <a:off x="34603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8" name="CustomShape 50"/>
          <p:cNvSpPr/>
          <p:nvPr/>
        </p:nvSpPr>
        <p:spPr>
          <a:xfrm>
            <a:off x="37465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9" name="CustomShape 51"/>
          <p:cNvSpPr/>
          <p:nvPr/>
        </p:nvSpPr>
        <p:spPr>
          <a:xfrm>
            <a:off x="40330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0" name="CustomShape 52"/>
          <p:cNvSpPr/>
          <p:nvPr/>
        </p:nvSpPr>
        <p:spPr>
          <a:xfrm>
            <a:off x="43196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1" name="CustomShape 53"/>
          <p:cNvSpPr/>
          <p:nvPr/>
        </p:nvSpPr>
        <p:spPr>
          <a:xfrm>
            <a:off x="231480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2" name="CustomShape 54"/>
          <p:cNvSpPr/>
          <p:nvPr/>
        </p:nvSpPr>
        <p:spPr>
          <a:xfrm>
            <a:off x="260100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3" name="CustomShape 55"/>
          <p:cNvSpPr/>
          <p:nvPr/>
        </p:nvSpPr>
        <p:spPr>
          <a:xfrm>
            <a:off x="2887560" y="6039000"/>
            <a:ext cx="192960" cy="192960"/>
          </a:xfrm>
          <a:prstGeom prst="ellipse">
            <a:avLst/>
          </a:prstGeom>
          <a:solidFill>
            <a:schemeClr val="tx2"/>
          </a:solidFill>
          <a:ln w="12600">
            <a:noFill/>
          </a:ln>
        </p:spPr>
        <p:style>
          <a:lnRef idx="0">
            <a:scrgbClr r="0" g="0" b="0"/>
          </a:lnRef>
          <a:fillRef idx="0">
            <a:scrgbClr r="0" g="0" b="0"/>
          </a:fillRef>
          <a:effectRef idx="0">
            <a:scrgbClr r="0" g="0" b="0"/>
          </a:effectRef>
          <a:fontRef idx="minor"/>
        </p:style>
      </p:sp>
      <p:sp>
        <p:nvSpPr>
          <p:cNvPr id="1774" name="CustomShape 56"/>
          <p:cNvSpPr/>
          <p:nvPr/>
        </p:nvSpPr>
        <p:spPr>
          <a:xfrm>
            <a:off x="3173760" y="6039000"/>
            <a:ext cx="192960" cy="192960"/>
          </a:xfrm>
          <a:prstGeom prst="ellipse">
            <a:avLst/>
          </a:prstGeom>
          <a:solidFill>
            <a:schemeClr val="tx2"/>
          </a:solidFill>
          <a:ln w="12600">
            <a:noFill/>
          </a:ln>
        </p:spPr>
        <p:style>
          <a:lnRef idx="0">
            <a:scrgbClr r="0" g="0" b="0"/>
          </a:lnRef>
          <a:fillRef idx="0">
            <a:scrgbClr r="0" g="0" b="0"/>
          </a:fillRef>
          <a:effectRef idx="0">
            <a:scrgbClr r="0" g="0" b="0"/>
          </a:effectRef>
          <a:fontRef idx="minor"/>
        </p:style>
      </p:sp>
      <p:sp>
        <p:nvSpPr>
          <p:cNvPr id="1775" name="CustomShape 57"/>
          <p:cNvSpPr/>
          <p:nvPr/>
        </p:nvSpPr>
        <p:spPr>
          <a:xfrm>
            <a:off x="34603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6" name="CustomShape 58"/>
          <p:cNvSpPr/>
          <p:nvPr/>
        </p:nvSpPr>
        <p:spPr>
          <a:xfrm>
            <a:off x="37465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7" name="CustomShape 59"/>
          <p:cNvSpPr/>
          <p:nvPr/>
        </p:nvSpPr>
        <p:spPr>
          <a:xfrm>
            <a:off x="40330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8" name="CustomShape 60"/>
          <p:cNvSpPr/>
          <p:nvPr/>
        </p:nvSpPr>
        <p:spPr>
          <a:xfrm>
            <a:off x="43196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9" name="CustomShape 61"/>
          <p:cNvSpPr/>
          <p:nvPr/>
        </p:nvSpPr>
        <p:spPr>
          <a:xfrm>
            <a:off x="231480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0" name="CustomShape 62"/>
          <p:cNvSpPr/>
          <p:nvPr/>
        </p:nvSpPr>
        <p:spPr>
          <a:xfrm>
            <a:off x="260100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1" name="CustomShape 63"/>
          <p:cNvSpPr/>
          <p:nvPr/>
        </p:nvSpPr>
        <p:spPr>
          <a:xfrm>
            <a:off x="28875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2" name="CustomShape 64"/>
          <p:cNvSpPr/>
          <p:nvPr/>
        </p:nvSpPr>
        <p:spPr>
          <a:xfrm>
            <a:off x="31737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3" name="CustomShape 65"/>
          <p:cNvSpPr/>
          <p:nvPr/>
        </p:nvSpPr>
        <p:spPr>
          <a:xfrm>
            <a:off x="34603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4" name="CustomShape 66"/>
          <p:cNvSpPr/>
          <p:nvPr/>
        </p:nvSpPr>
        <p:spPr>
          <a:xfrm>
            <a:off x="37465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5" name="CustomShape 67"/>
          <p:cNvSpPr/>
          <p:nvPr/>
        </p:nvSpPr>
        <p:spPr>
          <a:xfrm>
            <a:off x="40330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6" name="CustomShape 68"/>
          <p:cNvSpPr/>
          <p:nvPr/>
        </p:nvSpPr>
        <p:spPr>
          <a:xfrm>
            <a:off x="43196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7" name="CustomShape 69"/>
          <p:cNvSpPr/>
          <p:nvPr/>
        </p:nvSpPr>
        <p:spPr>
          <a:xfrm>
            <a:off x="4602960" y="4464000"/>
            <a:ext cx="2370600" cy="210744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1788" name="CustomShape 70"/>
          <p:cNvSpPr/>
          <p:nvPr/>
        </p:nvSpPr>
        <p:spPr>
          <a:xfrm>
            <a:off x="46857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89" name="CustomShape 71"/>
          <p:cNvSpPr/>
          <p:nvPr/>
        </p:nvSpPr>
        <p:spPr>
          <a:xfrm>
            <a:off x="49723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0" name="CustomShape 72"/>
          <p:cNvSpPr/>
          <p:nvPr/>
        </p:nvSpPr>
        <p:spPr>
          <a:xfrm>
            <a:off x="52585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1" name="CustomShape 73"/>
          <p:cNvSpPr/>
          <p:nvPr/>
        </p:nvSpPr>
        <p:spPr>
          <a:xfrm>
            <a:off x="55450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2" name="CustomShape 74"/>
          <p:cNvSpPr/>
          <p:nvPr/>
        </p:nvSpPr>
        <p:spPr>
          <a:xfrm>
            <a:off x="58312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3" name="CustomShape 75"/>
          <p:cNvSpPr/>
          <p:nvPr/>
        </p:nvSpPr>
        <p:spPr>
          <a:xfrm>
            <a:off x="61178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4" name="CustomShape 76"/>
          <p:cNvSpPr/>
          <p:nvPr/>
        </p:nvSpPr>
        <p:spPr>
          <a:xfrm>
            <a:off x="64040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5" name="CustomShape 77"/>
          <p:cNvSpPr/>
          <p:nvPr/>
        </p:nvSpPr>
        <p:spPr>
          <a:xfrm>
            <a:off x="669060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6" name="CustomShape 78"/>
          <p:cNvSpPr/>
          <p:nvPr/>
        </p:nvSpPr>
        <p:spPr>
          <a:xfrm>
            <a:off x="46857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7" name="CustomShape 79"/>
          <p:cNvSpPr/>
          <p:nvPr/>
        </p:nvSpPr>
        <p:spPr>
          <a:xfrm>
            <a:off x="49723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8" name="CustomShape 80"/>
          <p:cNvSpPr/>
          <p:nvPr/>
        </p:nvSpPr>
        <p:spPr>
          <a:xfrm>
            <a:off x="52585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9" name="CustomShape 81"/>
          <p:cNvSpPr/>
          <p:nvPr/>
        </p:nvSpPr>
        <p:spPr>
          <a:xfrm>
            <a:off x="55450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0" name="CustomShape 82"/>
          <p:cNvSpPr/>
          <p:nvPr/>
        </p:nvSpPr>
        <p:spPr>
          <a:xfrm>
            <a:off x="58312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1" name="CustomShape 83"/>
          <p:cNvSpPr/>
          <p:nvPr/>
        </p:nvSpPr>
        <p:spPr>
          <a:xfrm>
            <a:off x="61178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2" name="CustomShape 84"/>
          <p:cNvSpPr/>
          <p:nvPr/>
        </p:nvSpPr>
        <p:spPr>
          <a:xfrm>
            <a:off x="64040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3" name="CustomShape 85"/>
          <p:cNvSpPr/>
          <p:nvPr/>
        </p:nvSpPr>
        <p:spPr>
          <a:xfrm>
            <a:off x="66906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4" name="CustomShape 86"/>
          <p:cNvSpPr/>
          <p:nvPr/>
        </p:nvSpPr>
        <p:spPr>
          <a:xfrm>
            <a:off x="46857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5" name="CustomShape 87"/>
          <p:cNvSpPr/>
          <p:nvPr/>
        </p:nvSpPr>
        <p:spPr>
          <a:xfrm>
            <a:off x="49723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6" name="CustomShape 88"/>
          <p:cNvSpPr/>
          <p:nvPr/>
        </p:nvSpPr>
        <p:spPr>
          <a:xfrm>
            <a:off x="52585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7" name="CustomShape 89"/>
          <p:cNvSpPr/>
          <p:nvPr/>
        </p:nvSpPr>
        <p:spPr>
          <a:xfrm>
            <a:off x="55450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8" name="CustomShape 90"/>
          <p:cNvSpPr/>
          <p:nvPr/>
        </p:nvSpPr>
        <p:spPr>
          <a:xfrm>
            <a:off x="58312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9" name="CustomShape 91"/>
          <p:cNvSpPr/>
          <p:nvPr/>
        </p:nvSpPr>
        <p:spPr>
          <a:xfrm>
            <a:off x="61178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0" name="CustomShape 92"/>
          <p:cNvSpPr/>
          <p:nvPr/>
        </p:nvSpPr>
        <p:spPr>
          <a:xfrm>
            <a:off x="64040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1" name="CustomShape 93"/>
          <p:cNvSpPr/>
          <p:nvPr/>
        </p:nvSpPr>
        <p:spPr>
          <a:xfrm>
            <a:off x="66906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2" name="CustomShape 94"/>
          <p:cNvSpPr/>
          <p:nvPr/>
        </p:nvSpPr>
        <p:spPr>
          <a:xfrm>
            <a:off x="46857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3" name="CustomShape 95"/>
          <p:cNvSpPr/>
          <p:nvPr/>
        </p:nvSpPr>
        <p:spPr>
          <a:xfrm>
            <a:off x="49723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4" name="CustomShape 96"/>
          <p:cNvSpPr/>
          <p:nvPr/>
        </p:nvSpPr>
        <p:spPr>
          <a:xfrm>
            <a:off x="52585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5" name="CustomShape 97"/>
          <p:cNvSpPr/>
          <p:nvPr/>
        </p:nvSpPr>
        <p:spPr>
          <a:xfrm>
            <a:off x="55450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6" name="CustomShape 98"/>
          <p:cNvSpPr/>
          <p:nvPr/>
        </p:nvSpPr>
        <p:spPr>
          <a:xfrm>
            <a:off x="58312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7" name="CustomShape 99"/>
          <p:cNvSpPr/>
          <p:nvPr/>
        </p:nvSpPr>
        <p:spPr>
          <a:xfrm>
            <a:off x="61178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8" name="CustomShape 100"/>
          <p:cNvSpPr/>
          <p:nvPr/>
        </p:nvSpPr>
        <p:spPr>
          <a:xfrm>
            <a:off x="64040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9" name="CustomShape 101"/>
          <p:cNvSpPr/>
          <p:nvPr/>
        </p:nvSpPr>
        <p:spPr>
          <a:xfrm>
            <a:off x="66906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0" name="CustomShape 102"/>
          <p:cNvSpPr/>
          <p:nvPr/>
        </p:nvSpPr>
        <p:spPr>
          <a:xfrm>
            <a:off x="46857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1" name="CustomShape 103"/>
          <p:cNvSpPr/>
          <p:nvPr/>
        </p:nvSpPr>
        <p:spPr>
          <a:xfrm>
            <a:off x="49723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2" name="CustomShape 104"/>
          <p:cNvSpPr/>
          <p:nvPr/>
        </p:nvSpPr>
        <p:spPr>
          <a:xfrm>
            <a:off x="52585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3" name="CustomShape 105"/>
          <p:cNvSpPr/>
          <p:nvPr/>
        </p:nvSpPr>
        <p:spPr>
          <a:xfrm>
            <a:off x="55450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4" name="CustomShape 106"/>
          <p:cNvSpPr/>
          <p:nvPr/>
        </p:nvSpPr>
        <p:spPr>
          <a:xfrm>
            <a:off x="58312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5" name="CustomShape 107"/>
          <p:cNvSpPr/>
          <p:nvPr/>
        </p:nvSpPr>
        <p:spPr>
          <a:xfrm>
            <a:off x="61178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6" name="CustomShape 108"/>
          <p:cNvSpPr/>
          <p:nvPr/>
        </p:nvSpPr>
        <p:spPr>
          <a:xfrm>
            <a:off x="64040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7" name="CustomShape 109"/>
          <p:cNvSpPr/>
          <p:nvPr/>
        </p:nvSpPr>
        <p:spPr>
          <a:xfrm>
            <a:off x="66906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8" name="CustomShape 110"/>
          <p:cNvSpPr/>
          <p:nvPr/>
        </p:nvSpPr>
        <p:spPr>
          <a:xfrm>
            <a:off x="468576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29" name="CustomShape 111"/>
          <p:cNvSpPr/>
          <p:nvPr/>
        </p:nvSpPr>
        <p:spPr>
          <a:xfrm>
            <a:off x="497232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30" name="CustomShape 112"/>
          <p:cNvSpPr/>
          <p:nvPr/>
        </p:nvSpPr>
        <p:spPr>
          <a:xfrm>
            <a:off x="52585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1" name="CustomShape 113"/>
          <p:cNvSpPr/>
          <p:nvPr/>
        </p:nvSpPr>
        <p:spPr>
          <a:xfrm>
            <a:off x="55450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2" name="CustomShape 114"/>
          <p:cNvSpPr/>
          <p:nvPr/>
        </p:nvSpPr>
        <p:spPr>
          <a:xfrm>
            <a:off x="58312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3" name="CustomShape 115"/>
          <p:cNvSpPr/>
          <p:nvPr/>
        </p:nvSpPr>
        <p:spPr>
          <a:xfrm>
            <a:off x="61178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4" name="CustomShape 116"/>
          <p:cNvSpPr/>
          <p:nvPr/>
        </p:nvSpPr>
        <p:spPr>
          <a:xfrm>
            <a:off x="640404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35" name="CustomShape 117"/>
          <p:cNvSpPr/>
          <p:nvPr/>
        </p:nvSpPr>
        <p:spPr>
          <a:xfrm>
            <a:off x="669060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36" name="CustomShape 118"/>
          <p:cNvSpPr/>
          <p:nvPr/>
        </p:nvSpPr>
        <p:spPr>
          <a:xfrm>
            <a:off x="468576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37" name="CustomShape 119"/>
          <p:cNvSpPr/>
          <p:nvPr/>
        </p:nvSpPr>
        <p:spPr>
          <a:xfrm>
            <a:off x="497232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38" name="CustomShape 120"/>
          <p:cNvSpPr/>
          <p:nvPr/>
        </p:nvSpPr>
        <p:spPr>
          <a:xfrm>
            <a:off x="52585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9" name="CustomShape 121"/>
          <p:cNvSpPr/>
          <p:nvPr/>
        </p:nvSpPr>
        <p:spPr>
          <a:xfrm>
            <a:off x="55450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40" name="CustomShape 122"/>
          <p:cNvSpPr/>
          <p:nvPr/>
        </p:nvSpPr>
        <p:spPr>
          <a:xfrm>
            <a:off x="58312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41" name="CustomShape 123"/>
          <p:cNvSpPr/>
          <p:nvPr/>
        </p:nvSpPr>
        <p:spPr>
          <a:xfrm>
            <a:off x="61178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42" name="CustomShape 124"/>
          <p:cNvSpPr/>
          <p:nvPr/>
        </p:nvSpPr>
        <p:spPr>
          <a:xfrm>
            <a:off x="640404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43" name="CustomShape 125"/>
          <p:cNvSpPr/>
          <p:nvPr/>
        </p:nvSpPr>
        <p:spPr>
          <a:xfrm>
            <a:off x="669060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44" name="CustomShape 126"/>
          <p:cNvSpPr/>
          <p:nvPr/>
        </p:nvSpPr>
        <p:spPr>
          <a:xfrm>
            <a:off x="46857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5" name="CustomShape 127"/>
          <p:cNvSpPr/>
          <p:nvPr/>
        </p:nvSpPr>
        <p:spPr>
          <a:xfrm>
            <a:off x="49723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6" name="CustomShape 128"/>
          <p:cNvSpPr/>
          <p:nvPr/>
        </p:nvSpPr>
        <p:spPr>
          <a:xfrm>
            <a:off x="52585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7" name="CustomShape 129"/>
          <p:cNvSpPr/>
          <p:nvPr/>
        </p:nvSpPr>
        <p:spPr>
          <a:xfrm>
            <a:off x="55450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8" name="CustomShape 130"/>
          <p:cNvSpPr/>
          <p:nvPr/>
        </p:nvSpPr>
        <p:spPr>
          <a:xfrm>
            <a:off x="58312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9" name="CustomShape 131"/>
          <p:cNvSpPr/>
          <p:nvPr/>
        </p:nvSpPr>
        <p:spPr>
          <a:xfrm>
            <a:off x="61178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50" name="CustomShape 132"/>
          <p:cNvSpPr/>
          <p:nvPr/>
        </p:nvSpPr>
        <p:spPr>
          <a:xfrm>
            <a:off x="64040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51" name="CustomShape 133"/>
          <p:cNvSpPr/>
          <p:nvPr/>
        </p:nvSpPr>
        <p:spPr>
          <a:xfrm>
            <a:off x="669060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52" name="CustomShape 134"/>
          <p:cNvSpPr/>
          <p:nvPr/>
        </p:nvSpPr>
        <p:spPr>
          <a:xfrm>
            <a:off x="6973560" y="4464000"/>
            <a:ext cx="2370600" cy="210744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1853" name="CustomShape 135"/>
          <p:cNvSpPr/>
          <p:nvPr/>
        </p:nvSpPr>
        <p:spPr>
          <a:xfrm>
            <a:off x="70567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4" name="CustomShape 136"/>
          <p:cNvSpPr/>
          <p:nvPr/>
        </p:nvSpPr>
        <p:spPr>
          <a:xfrm>
            <a:off x="73432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5" name="CustomShape 137"/>
          <p:cNvSpPr/>
          <p:nvPr/>
        </p:nvSpPr>
        <p:spPr>
          <a:xfrm>
            <a:off x="76294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6" name="CustomShape 138"/>
          <p:cNvSpPr/>
          <p:nvPr/>
        </p:nvSpPr>
        <p:spPr>
          <a:xfrm>
            <a:off x="79160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7" name="CustomShape 139"/>
          <p:cNvSpPr/>
          <p:nvPr/>
        </p:nvSpPr>
        <p:spPr>
          <a:xfrm>
            <a:off x="82022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8" name="CustomShape 140"/>
          <p:cNvSpPr/>
          <p:nvPr/>
        </p:nvSpPr>
        <p:spPr>
          <a:xfrm>
            <a:off x="848880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9" name="CustomShape 141"/>
          <p:cNvSpPr/>
          <p:nvPr/>
        </p:nvSpPr>
        <p:spPr>
          <a:xfrm>
            <a:off x="87753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0" name="CustomShape 142"/>
          <p:cNvSpPr/>
          <p:nvPr/>
        </p:nvSpPr>
        <p:spPr>
          <a:xfrm>
            <a:off x="90615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1" name="CustomShape 143"/>
          <p:cNvSpPr/>
          <p:nvPr/>
        </p:nvSpPr>
        <p:spPr>
          <a:xfrm>
            <a:off x="70567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2" name="CustomShape 144"/>
          <p:cNvSpPr/>
          <p:nvPr/>
        </p:nvSpPr>
        <p:spPr>
          <a:xfrm>
            <a:off x="73432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3" name="CustomShape 145"/>
          <p:cNvSpPr/>
          <p:nvPr/>
        </p:nvSpPr>
        <p:spPr>
          <a:xfrm>
            <a:off x="76294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4" name="CustomShape 146"/>
          <p:cNvSpPr/>
          <p:nvPr/>
        </p:nvSpPr>
        <p:spPr>
          <a:xfrm>
            <a:off x="79160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5" name="CustomShape 147"/>
          <p:cNvSpPr/>
          <p:nvPr/>
        </p:nvSpPr>
        <p:spPr>
          <a:xfrm>
            <a:off x="82022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6" name="CustomShape 148"/>
          <p:cNvSpPr/>
          <p:nvPr/>
        </p:nvSpPr>
        <p:spPr>
          <a:xfrm>
            <a:off x="84888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7" name="CustomShape 149"/>
          <p:cNvSpPr/>
          <p:nvPr/>
        </p:nvSpPr>
        <p:spPr>
          <a:xfrm>
            <a:off x="87753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8" name="CustomShape 150"/>
          <p:cNvSpPr/>
          <p:nvPr/>
        </p:nvSpPr>
        <p:spPr>
          <a:xfrm>
            <a:off x="90615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9" name="CustomShape 151"/>
          <p:cNvSpPr/>
          <p:nvPr/>
        </p:nvSpPr>
        <p:spPr>
          <a:xfrm>
            <a:off x="70567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0" name="CustomShape 152"/>
          <p:cNvSpPr/>
          <p:nvPr/>
        </p:nvSpPr>
        <p:spPr>
          <a:xfrm>
            <a:off x="73432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1" name="CustomShape 153"/>
          <p:cNvSpPr/>
          <p:nvPr/>
        </p:nvSpPr>
        <p:spPr>
          <a:xfrm>
            <a:off x="76294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2" name="CustomShape 154"/>
          <p:cNvSpPr/>
          <p:nvPr/>
        </p:nvSpPr>
        <p:spPr>
          <a:xfrm>
            <a:off x="79160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3" name="CustomShape 155"/>
          <p:cNvSpPr/>
          <p:nvPr/>
        </p:nvSpPr>
        <p:spPr>
          <a:xfrm>
            <a:off x="82022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4" name="CustomShape 156"/>
          <p:cNvSpPr/>
          <p:nvPr/>
        </p:nvSpPr>
        <p:spPr>
          <a:xfrm>
            <a:off x="84888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5" name="CustomShape 157"/>
          <p:cNvSpPr/>
          <p:nvPr/>
        </p:nvSpPr>
        <p:spPr>
          <a:xfrm>
            <a:off x="87753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6" name="CustomShape 158"/>
          <p:cNvSpPr/>
          <p:nvPr/>
        </p:nvSpPr>
        <p:spPr>
          <a:xfrm>
            <a:off x="90615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7" name="CustomShape 159"/>
          <p:cNvSpPr/>
          <p:nvPr/>
        </p:nvSpPr>
        <p:spPr>
          <a:xfrm>
            <a:off x="70567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8" name="CustomShape 160"/>
          <p:cNvSpPr/>
          <p:nvPr/>
        </p:nvSpPr>
        <p:spPr>
          <a:xfrm>
            <a:off x="73432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9" name="CustomShape 161"/>
          <p:cNvSpPr/>
          <p:nvPr/>
        </p:nvSpPr>
        <p:spPr>
          <a:xfrm>
            <a:off x="76294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0" name="CustomShape 162"/>
          <p:cNvSpPr/>
          <p:nvPr/>
        </p:nvSpPr>
        <p:spPr>
          <a:xfrm>
            <a:off x="79160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1" name="CustomShape 163"/>
          <p:cNvSpPr/>
          <p:nvPr/>
        </p:nvSpPr>
        <p:spPr>
          <a:xfrm>
            <a:off x="82022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2" name="CustomShape 164"/>
          <p:cNvSpPr/>
          <p:nvPr/>
        </p:nvSpPr>
        <p:spPr>
          <a:xfrm>
            <a:off x="84888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3" name="CustomShape 165"/>
          <p:cNvSpPr/>
          <p:nvPr/>
        </p:nvSpPr>
        <p:spPr>
          <a:xfrm>
            <a:off x="87753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4" name="CustomShape 166"/>
          <p:cNvSpPr/>
          <p:nvPr/>
        </p:nvSpPr>
        <p:spPr>
          <a:xfrm>
            <a:off x="90615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5" name="CustomShape 167"/>
          <p:cNvSpPr/>
          <p:nvPr/>
        </p:nvSpPr>
        <p:spPr>
          <a:xfrm>
            <a:off x="70567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6" name="CustomShape 168"/>
          <p:cNvSpPr/>
          <p:nvPr/>
        </p:nvSpPr>
        <p:spPr>
          <a:xfrm>
            <a:off x="73432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7" name="CustomShape 169"/>
          <p:cNvSpPr/>
          <p:nvPr/>
        </p:nvSpPr>
        <p:spPr>
          <a:xfrm>
            <a:off x="76294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8" name="CustomShape 170"/>
          <p:cNvSpPr/>
          <p:nvPr/>
        </p:nvSpPr>
        <p:spPr>
          <a:xfrm>
            <a:off x="79160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9" name="CustomShape 171"/>
          <p:cNvSpPr/>
          <p:nvPr/>
        </p:nvSpPr>
        <p:spPr>
          <a:xfrm>
            <a:off x="82022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0" name="CustomShape 172"/>
          <p:cNvSpPr/>
          <p:nvPr/>
        </p:nvSpPr>
        <p:spPr>
          <a:xfrm>
            <a:off x="84888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1" name="CustomShape 173"/>
          <p:cNvSpPr/>
          <p:nvPr/>
        </p:nvSpPr>
        <p:spPr>
          <a:xfrm>
            <a:off x="87753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2" name="CustomShape 174"/>
          <p:cNvSpPr/>
          <p:nvPr/>
        </p:nvSpPr>
        <p:spPr>
          <a:xfrm>
            <a:off x="90615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3" name="CustomShape 175"/>
          <p:cNvSpPr/>
          <p:nvPr/>
        </p:nvSpPr>
        <p:spPr>
          <a:xfrm>
            <a:off x="70567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4" name="CustomShape 176"/>
          <p:cNvSpPr/>
          <p:nvPr/>
        </p:nvSpPr>
        <p:spPr>
          <a:xfrm>
            <a:off x="73432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5" name="CustomShape 177"/>
          <p:cNvSpPr/>
          <p:nvPr/>
        </p:nvSpPr>
        <p:spPr>
          <a:xfrm>
            <a:off x="76294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6" name="CustomShape 178"/>
          <p:cNvSpPr/>
          <p:nvPr/>
        </p:nvSpPr>
        <p:spPr>
          <a:xfrm>
            <a:off x="79160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7" name="CustomShape 179"/>
          <p:cNvSpPr/>
          <p:nvPr/>
        </p:nvSpPr>
        <p:spPr>
          <a:xfrm>
            <a:off x="82022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8" name="CustomShape 180"/>
          <p:cNvSpPr/>
          <p:nvPr/>
        </p:nvSpPr>
        <p:spPr>
          <a:xfrm>
            <a:off x="848880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9" name="CustomShape 181"/>
          <p:cNvSpPr/>
          <p:nvPr/>
        </p:nvSpPr>
        <p:spPr>
          <a:xfrm>
            <a:off x="877536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900" name="CustomShape 182"/>
          <p:cNvSpPr/>
          <p:nvPr/>
        </p:nvSpPr>
        <p:spPr>
          <a:xfrm>
            <a:off x="906156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901" name="CustomShape 183"/>
          <p:cNvSpPr/>
          <p:nvPr/>
        </p:nvSpPr>
        <p:spPr>
          <a:xfrm>
            <a:off x="70567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2" name="CustomShape 184"/>
          <p:cNvSpPr/>
          <p:nvPr/>
        </p:nvSpPr>
        <p:spPr>
          <a:xfrm>
            <a:off x="73432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3" name="CustomShape 185"/>
          <p:cNvSpPr/>
          <p:nvPr/>
        </p:nvSpPr>
        <p:spPr>
          <a:xfrm>
            <a:off x="76294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4" name="CustomShape 186"/>
          <p:cNvSpPr/>
          <p:nvPr/>
        </p:nvSpPr>
        <p:spPr>
          <a:xfrm>
            <a:off x="79160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5" name="CustomShape 187"/>
          <p:cNvSpPr/>
          <p:nvPr/>
        </p:nvSpPr>
        <p:spPr>
          <a:xfrm>
            <a:off x="82022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6" name="CustomShape 188"/>
          <p:cNvSpPr/>
          <p:nvPr/>
        </p:nvSpPr>
        <p:spPr>
          <a:xfrm>
            <a:off x="848880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7" name="CustomShape 189"/>
          <p:cNvSpPr/>
          <p:nvPr/>
        </p:nvSpPr>
        <p:spPr>
          <a:xfrm>
            <a:off x="877536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908" name="CustomShape 190"/>
          <p:cNvSpPr/>
          <p:nvPr/>
        </p:nvSpPr>
        <p:spPr>
          <a:xfrm>
            <a:off x="906156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909" name="CustomShape 191"/>
          <p:cNvSpPr/>
          <p:nvPr/>
        </p:nvSpPr>
        <p:spPr>
          <a:xfrm>
            <a:off x="70567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0" name="CustomShape 192"/>
          <p:cNvSpPr/>
          <p:nvPr/>
        </p:nvSpPr>
        <p:spPr>
          <a:xfrm>
            <a:off x="73432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1" name="CustomShape 193"/>
          <p:cNvSpPr/>
          <p:nvPr/>
        </p:nvSpPr>
        <p:spPr>
          <a:xfrm>
            <a:off x="76294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2" name="CustomShape 194"/>
          <p:cNvSpPr/>
          <p:nvPr/>
        </p:nvSpPr>
        <p:spPr>
          <a:xfrm>
            <a:off x="79160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3" name="CustomShape 195"/>
          <p:cNvSpPr/>
          <p:nvPr/>
        </p:nvSpPr>
        <p:spPr>
          <a:xfrm>
            <a:off x="82022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4" name="CustomShape 196"/>
          <p:cNvSpPr/>
          <p:nvPr/>
        </p:nvSpPr>
        <p:spPr>
          <a:xfrm>
            <a:off x="848880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5" name="CustomShape 197"/>
          <p:cNvSpPr/>
          <p:nvPr/>
        </p:nvSpPr>
        <p:spPr>
          <a:xfrm>
            <a:off x="87753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6" name="CustomShape 198"/>
          <p:cNvSpPr/>
          <p:nvPr/>
        </p:nvSpPr>
        <p:spPr>
          <a:xfrm>
            <a:off x="90615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201" name="Rectangle 200">
            <a:extLst>
              <a:ext uri="{FF2B5EF4-FFF2-40B4-BE49-F238E27FC236}">
                <a16:creationId xmlns:a16="http://schemas.microsoft.com/office/drawing/2014/main" id="{3E4AEA8D-533C-45FE-BFFB-3E8133B8641B}"/>
              </a:ext>
            </a:extLst>
          </p:cNvPr>
          <p:cNvSpPr/>
          <p:nvPr/>
        </p:nvSpPr>
        <p:spPr>
          <a:xfrm>
            <a:off x="11277600" y="309217"/>
            <a:ext cx="649357" cy="592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2255173003"/>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718" name="Picture 7"/>
          <p:cNvPicPr/>
          <p:nvPr/>
        </p:nvPicPr>
        <p:blipFill>
          <a:blip r:embed="rId2"/>
          <a:stretch/>
        </p:blipFill>
        <p:spPr>
          <a:xfrm>
            <a:off x="6129360" y="1566720"/>
            <a:ext cx="5304960" cy="1802880"/>
          </a:xfrm>
          <a:prstGeom prst="rect">
            <a:avLst/>
          </a:prstGeom>
          <a:ln>
            <a:solidFill>
              <a:schemeClr val="tx1"/>
            </a:solidFill>
          </a:ln>
        </p:spPr>
      </p:pic>
      <p:sp>
        <p:nvSpPr>
          <p:cNvPr id="1719" name="CustomShape 1"/>
          <p:cNvSpPr/>
          <p:nvPr/>
        </p:nvSpPr>
        <p:spPr>
          <a:xfrm>
            <a:off x="479520" y="1566720"/>
            <a:ext cx="5471640" cy="5151600"/>
          </a:xfrm>
          <a:prstGeom prst="rect">
            <a:avLst/>
          </a:prstGeom>
          <a:noFill/>
          <a:ln>
            <a:noFill/>
          </a:ln>
        </p:spPr>
        <p:style>
          <a:lnRef idx="0">
            <a:scrgbClr r="0" g="0" b="0"/>
          </a:lnRef>
          <a:fillRef idx="0">
            <a:scrgbClr r="0" g="0" b="0"/>
          </a:fillRef>
          <a:effectRef idx="0">
            <a:scrgbClr r="0" g="0" b="0"/>
          </a:effectRef>
          <a:fontRef idx="minor"/>
        </p:style>
        <p:txBody>
          <a:bodyPr lIns="72000" tIns="36000" rIns="72000" bIns="36000"/>
          <a:lstStyle/>
          <a:p>
            <a:pPr>
              <a:lnSpc>
                <a:spcPct val="100000"/>
              </a:lnSpc>
              <a:spcBef>
                <a:spcPts val="799"/>
              </a:spcBef>
            </a:pPr>
            <a:r>
              <a:rPr lang="sv-SE" sz="1200" b="0" strike="noStrike" spc="-29">
                <a:solidFill>
                  <a:srgbClr val="181818"/>
                </a:solidFill>
                <a:uFill>
                  <a:solidFill>
                    <a:srgbClr val="FFFFFF"/>
                  </a:solidFill>
                </a:uFill>
                <a:latin typeface="Ericsson Hilda"/>
              </a:rPr>
              <a:t>Deployment</a:t>
            </a:r>
            <a:endParaRPr lang="sv-SE" sz="1200" b="0" strike="noStrike" spc="-1">
              <a:solidFill>
                <a:srgbClr val="000000"/>
              </a:solidFill>
              <a:uFill>
                <a:solidFill>
                  <a:srgbClr val="FFFFFF"/>
                </a:solidFill>
              </a:uFill>
              <a:latin typeface="Arial"/>
            </a:endParaRPr>
          </a:p>
          <a:p>
            <a:pPr>
              <a:lnSpc>
                <a:spcPct val="100000"/>
              </a:lnSpc>
              <a:spcBef>
                <a:spcPts val="799"/>
              </a:spcBef>
            </a:pP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r>
              <a:rPr lang="sv-SE" sz="1200" b="0" strike="noStrike" spc="-29">
                <a:solidFill>
                  <a:srgbClr val="181818"/>
                </a:solidFill>
                <a:uFill>
                  <a:solidFill>
                    <a:srgbClr val="FFFFFF"/>
                  </a:solidFill>
                </a:uFill>
                <a:latin typeface="Ericsson Hilda"/>
              </a:rPr>
              <a:t>Relevant information för varje pixel finns I VRAM</a:t>
            </a: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r>
              <a:rPr lang="sv-SE" sz="1200" b="0" strike="noStrike" spc="-29">
                <a:solidFill>
                  <a:srgbClr val="181818"/>
                </a:solidFill>
                <a:uFill>
                  <a:solidFill>
                    <a:srgbClr val="FFFFFF"/>
                  </a:solidFill>
                </a:uFill>
                <a:latin typeface="Ericsson Hilda"/>
              </a:rPr>
              <a:t>Addressering</a:t>
            </a: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r>
              <a:rPr lang="sv-SE" sz="1200" b="0" strike="noStrike" spc="-29">
                <a:solidFill>
                  <a:srgbClr val="181818"/>
                </a:solidFill>
                <a:uFill>
                  <a:solidFill>
                    <a:srgbClr val="FFFFFF"/>
                  </a:solidFill>
                </a:uFill>
                <a:latin typeface="Ericsson Hilda"/>
              </a:rPr>
              <a:t>Verkställande arbete </a:t>
            </a:r>
            <a:endParaRPr lang="sv-SE" sz="1200" b="0" strike="noStrike" spc="-1">
              <a:solidFill>
                <a:srgbClr val="000000"/>
              </a:solidFill>
              <a:uFill>
                <a:solidFill>
                  <a:srgbClr val="FFFFFF"/>
                </a:solidFill>
              </a:uFill>
              <a:latin typeface="Arial"/>
            </a:endParaRPr>
          </a:p>
          <a:p>
            <a:pPr>
              <a:lnSpc>
                <a:spcPct val="100000"/>
              </a:lnSpc>
              <a:spcBef>
                <a:spcPts val="799"/>
              </a:spcBef>
            </a:pPr>
            <a:endParaRPr lang="sv-SE" sz="1200" b="0" strike="noStrike" spc="-1">
              <a:solidFill>
                <a:srgbClr val="000000"/>
              </a:solidFill>
              <a:uFill>
                <a:solidFill>
                  <a:srgbClr val="FFFFFF"/>
                </a:solidFill>
              </a:uFill>
              <a:latin typeface="Arial"/>
            </a:endParaRPr>
          </a:p>
        </p:txBody>
      </p:sp>
      <p:sp>
        <p:nvSpPr>
          <p:cNvPr id="1720" name="TextShape 2"/>
          <p:cNvSpPr txBox="1"/>
          <p:nvPr/>
        </p:nvSpPr>
        <p:spPr>
          <a:xfrm>
            <a:off x="479520" y="476280"/>
            <a:ext cx="5471640" cy="716400"/>
          </a:xfrm>
          <a:prstGeom prst="rect">
            <a:avLst/>
          </a:prstGeom>
          <a:noFill/>
          <a:ln w="9360">
            <a:noFill/>
          </a:ln>
        </p:spPr>
        <p:txBody>
          <a:bodyPr lIns="72000" tIns="36000" rIns="73080" bIns="36720">
            <a:normAutofit/>
          </a:bodyPr>
          <a:lstStyle/>
          <a:p>
            <a:pPr>
              <a:lnSpc>
                <a:spcPct val="100000"/>
              </a:lnSpc>
              <a:spcBef>
                <a:spcPts val="300"/>
              </a:spcBef>
            </a:pPr>
            <a:r>
              <a:rPr lang="en-US" sz="4000" b="0" strike="noStrike" spc="-157">
                <a:solidFill>
                  <a:srgbClr val="181818"/>
                </a:solidFill>
                <a:uFill>
                  <a:solidFill>
                    <a:srgbClr val="FFFFFF"/>
                  </a:solidFill>
                </a:uFill>
                <a:latin typeface="Ericsson Hilda Light"/>
              </a:rPr>
              <a:t>Addressering av pixlar</a:t>
            </a:r>
            <a:endParaRPr lang="en-US" sz="4000" b="0" strike="noStrike" spc="-1">
              <a:solidFill>
                <a:srgbClr val="181818"/>
              </a:solidFill>
              <a:uFill>
                <a:solidFill>
                  <a:srgbClr val="FFFFFF"/>
                </a:solidFill>
              </a:uFill>
              <a:latin typeface="Ericsson Hilda"/>
            </a:endParaRPr>
          </a:p>
        </p:txBody>
      </p:sp>
      <p:sp>
        <p:nvSpPr>
          <p:cNvPr id="1721" name="CustomShape 3"/>
          <p:cNvSpPr/>
          <p:nvPr/>
        </p:nvSpPr>
        <p:spPr>
          <a:xfrm>
            <a:off x="8286840" y="1109520"/>
            <a:ext cx="914040" cy="914040"/>
          </a:xfrm>
          <a:prstGeom prst="rect">
            <a:avLst/>
          </a:prstGeom>
          <a:noFill/>
          <a:ln w="12600">
            <a:noFill/>
          </a:ln>
        </p:spPr>
        <p:style>
          <a:lnRef idx="0">
            <a:scrgbClr r="0" g="0" b="0"/>
          </a:lnRef>
          <a:fillRef idx="0">
            <a:scrgbClr r="0" g="0" b="0"/>
          </a:fillRef>
          <a:effectRef idx="0">
            <a:scrgbClr r="0" g="0" b="0"/>
          </a:effectRef>
          <a:fontRef idx="minor"/>
        </p:style>
        <p:txBody>
          <a:bodyPr wrap="none" lIns="72000" tIns="36000" rIns="73080" bIns="36720"/>
          <a:lstStyle/>
          <a:p>
            <a:pPr>
              <a:lnSpc>
                <a:spcPct val="100000"/>
              </a:lnSpc>
            </a:pPr>
            <a:r>
              <a:rPr lang="sv-SE" sz="2000" b="0" strike="noStrike" spc="-1">
                <a:solidFill>
                  <a:srgbClr val="181818"/>
                </a:solidFill>
                <a:uFill>
                  <a:solidFill>
                    <a:srgbClr val="FFFFFF"/>
                  </a:solidFill>
                </a:uFill>
                <a:latin typeface="Ericsson Hilda"/>
              </a:rPr>
              <a:t>VRAM</a:t>
            </a:r>
            <a:endParaRPr lang="sv-SE" sz="2000" b="0" strike="noStrike" spc="-1">
              <a:solidFill>
                <a:srgbClr val="000000"/>
              </a:solidFill>
              <a:uFill>
                <a:solidFill>
                  <a:srgbClr val="FFFFFF"/>
                </a:solidFill>
              </a:uFill>
              <a:latin typeface="Arial"/>
            </a:endParaRPr>
          </a:p>
        </p:txBody>
      </p:sp>
      <p:sp>
        <p:nvSpPr>
          <p:cNvPr id="1722" name="CustomShape 4"/>
          <p:cNvSpPr/>
          <p:nvPr/>
        </p:nvSpPr>
        <p:spPr>
          <a:xfrm>
            <a:off x="2232000" y="4464000"/>
            <a:ext cx="2370600" cy="210744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1723" name="CustomShape 5"/>
          <p:cNvSpPr/>
          <p:nvPr/>
        </p:nvSpPr>
        <p:spPr>
          <a:xfrm>
            <a:off x="231480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4" name="CustomShape 6"/>
          <p:cNvSpPr/>
          <p:nvPr/>
        </p:nvSpPr>
        <p:spPr>
          <a:xfrm>
            <a:off x="2559240" y="4497480"/>
            <a:ext cx="234720" cy="21600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5" name="CustomShape 7"/>
          <p:cNvSpPr/>
          <p:nvPr/>
        </p:nvSpPr>
        <p:spPr>
          <a:xfrm>
            <a:off x="28875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6" name="CustomShape 8"/>
          <p:cNvSpPr/>
          <p:nvPr/>
        </p:nvSpPr>
        <p:spPr>
          <a:xfrm>
            <a:off x="31737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7" name="CustomShape 9"/>
          <p:cNvSpPr/>
          <p:nvPr/>
        </p:nvSpPr>
        <p:spPr>
          <a:xfrm>
            <a:off x="34603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8" name="CustomShape 10"/>
          <p:cNvSpPr/>
          <p:nvPr/>
        </p:nvSpPr>
        <p:spPr>
          <a:xfrm>
            <a:off x="37465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9" name="CustomShape 11"/>
          <p:cNvSpPr/>
          <p:nvPr/>
        </p:nvSpPr>
        <p:spPr>
          <a:xfrm>
            <a:off x="40330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0" name="CustomShape 12"/>
          <p:cNvSpPr/>
          <p:nvPr/>
        </p:nvSpPr>
        <p:spPr>
          <a:xfrm>
            <a:off x="43196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1" name="CustomShape 13"/>
          <p:cNvSpPr/>
          <p:nvPr/>
        </p:nvSpPr>
        <p:spPr>
          <a:xfrm>
            <a:off x="23148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2" name="CustomShape 14"/>
          <p:cNvSpPr/>
          <p:nvPr/>
        </p:nvSpPr>
        <p:spPr>
          <a:xfrm>
            <a:off x="26010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3" name="CustomShape 15"/>
          <p:cNvSpPr/>
          <p:nvPr/>
        </p:nvSpPr>
        <p:spPr>
          <a:xfrm>
            <a:off x="28875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4" name="CustomShape 16"/>
          <p:cNvSpPr/>
          <p:nvPr/>
        </p:nvSpPr>
        <p:spPr>
          <a:xfrm>
            <a:off x="31737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5" name="CustomShape 17"/>
          <p:cNvSpPr/>
          <p:nvPr/>
        </p:nvSpPr>
        <p:spPr>
          <a:xfrm>
            <a:off x="34603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6" name="CustomShape 18"/>
          <p:cNvSpPr/>
          <p:nvPr/>
        </p:nvSpPr>
        <p:spPr>
          <a:xfrm>
            <a:off x="37465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7" name="CustomShape 19"/>
          <p:cNvSpPr/>
          <p:nvPr/>
        </p:nvSpPr>
        <p:spPr>
          <a:xfrm>
            <a:off x="40330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8" name="CustomShape 20"/>
          <p:cNvSpPr/>
          <p:nvPr/>
        </p:nvSpPr>
        <p:spPr>
          <a:xfrm>
            <a:off x="43196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9" name="CustomShape 21"/>
          <p:cNvSpPr/>
          <p:nvPr/>
        </p:nvSpPr>
        <p:spPr>
          <a:xfrm>
            <a:off x="23148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0" name="CustomShape 22"/>
          <p:cNvSpPr/>
          <p:nvPr/>
        </p:nvSpPr>
        <p:spPr>
          <a:xfrm>
            <a:off x="26010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1" name="CustomShape 23"/>
          <p:cNvSpPr/>
          <p:nvPr/>
        </p:nvSpPr>
        <p:spPr>
          <a:xfrm>
            <a:off x="28875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2" name="CustomShape 24"/>
          <p:cNvSpPr/>
          <p:nvPr/>
        </p:nvSpPr>
        <p:spPr>
          <a:xfrm>
            <a:off x="31737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3" name="CustomShape 25"/>
          <p:cNvSpPr/>
          <p:nvPr/>
        </p:nvSpPr>
        <p:spPr>
          <a:xfrm>
            <a:off x="34603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4" name="CustomShape 26"/>
          <p:cNvSpPr/>
          <p:nvPr/>
        </p:nvSpPr>
        <p:spPr>
          <a:xfrm>
            <a:off x="37465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5" name="CustomShape 27"/>
          <p:cNvSpPr/>
          <p:nvPr/>
        </p:nvSpPr>
        <p:spPr>
          <a:xfrm>
            <a:off x="40330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6" name="CustomShape 28"/>
          <p:cNvSpPr/>
          <p:nvPr/>
        </p:nvSpPr>
        <p:spPr>
          <a:xfrm>
            <a:off x="43196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7" name="CustomShape 29"/>
          <p:cNvSpPr/>
          <p:nvPr/>
        </p:nvSpPr>
        <p:spPr>
          <a:xfrm>
            <a:off x="23148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8" name="CustomShape 30"/>
          <p:cNvSpPr/>
          <p:nvPr/>
        </p:nvSpPr>
        <p:spPr>
          <a:xfrm>
            <a:off x="26010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9" name="CustomShape 31"/>
          <p:cNvSpPr/>
          <p:nvPr/>
        </p:nvSpPr>
        <p:spPr>
          <a:xfrm>
            <a:off x="28875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0" name="CustomShape 32"/>
          <p:cNvSpPr/>
          <p:nvPr/>
        </p:nvSpPr>
        <p:spPr>
          <a:xfrm>
            <a:off x="31737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1" name="CustomShape 33"/>
          <p:cNvSpPr/>
          <p:nvPr/>
        </p:nvSpPr>
        <p:spPr>
          <a:xfrm>
            <a:off x="34603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2" name="CustomShape 34"/>
          <p:cNvSpPr/>
          <p:nvPr/>
        </p:nvSpPr>
        <p:spPr>
          <a:xfrm>
            <a:off x="37465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3" name="CustomShape 35"/>
          <p:cNvSpPr/>
          <p:nvPr/>
        </p:nvSpPr>
        <p:spPr>
          <a:xfrm>
            <a:off x="40330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4" name="CustomShape 36"/>
          <p:cNvSpPr/>
          <p:nvPr/>
        </p:nvSpPr>
        <p:spPr>
          <a:xfrm>
            <a:off x="43196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5" name="CustomShape 37"/>
          <p:cNvSpPr/>
          <p:nvPr/>
        </p:nvSpPr>
        <p:spPr>
          <a:xfrm>
            <a:off x="23148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6" name="CustomShape 38"/>
          <p:cNvSpPr/>
          <p:nvPr/>
        </p:nvSpPr>
        <p:spPr>
          <a:xfrm>
            <a:off x="26010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7" name="CustomShape 39"/>
          <p:cNvSpPr/>
          <p:nvPr/>
        </p:nvSpPr>
        <p:spPr>
          <a:xfrm>
            <a:off x="2887560" y="5532840"/>
            <a:ext cx="192960" cy="192960"/>
          </a:xfrm>
          <a:prstGeom prst="ellipse">
            <a:avLst/>
          </a:prstGeom>
          <a:solidFill>
            <a:schemeClr val="tx2"/>
          </a:solidFill>
          <a:ln w="12600">
            <a:noFill/>
          </a:ln>
        </p:spPr>
        <p:style>
          <a:lnRef idx="0">
            <a:scrgbClr r="0" g="0" b="0"/>
          </a:lnRef>
          <a:fillRef idx="0">
            <a:scrgbClr r="0" g="0" b="0"/>
          </a:fillRef>
          <a:effectRef idx="0">
            <a:scrgbClr r="0" g="0" b="0"/>
          </a:effectRef>
          <a:fontRef idx="minor"/>
        </p:style>
      </p:sp>
      <p:sp>
        <p:nvSpPr>
          <p:cNvPr id="1758" name="CustomShape 40"/>
          <p:cNvSpPr/>
          <p:nvPr/>
        </p:nvSpPr>
        <p:spPr>
          <a:xfrm>
            <a:off x="3173760" y="5532840"/>
            <a:ext cx="192960" cy="192960"/>
          </a:xfrm>
          <a:prstGeom prst="ellipse">
            <a:avLst/>
          </a:prstGeom>
          <a:solidFill>
            <a:schemeClr val="tx2"/>
          </a:solidFill>
          <a:ln w="12600">
            <a:noFill/>
          </a:ln>
        </p:spPr>
        <p:style>
          <a:lnRef idx="0">
            <a:scrgbClr r="0" g="0" b="0"/>
          </a:lnRef>
          <a:fillRef idx="0">
            <a:scrgbClr r="0" g="0" b="0"/>
          </a:fillRef>
          <a:effectRef idx="0">
            <a:scrgbClr r="0" g="0" b="0"/>
          </a:effectRef>
          <a:fontRef idx="minor"/>
        </p:style>
      </p:sp>
      <p:sp>
        <p:nvSpPr>
          <p:cNvPr id="1759" name="CustomShape 41"/>
          <p:cNvSpPr/>
          <p:nvPr/>
        </p:nvSpPr>
        <p:spPr>
          <a:xfrm>
            <a:off x="34603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0" name="CustomShape 42"/>
          <p:cNvSpPr/>
          <p:nvPr/>
        </p:nvSpPr>
        <p:spPr>
          <a:xfrm>
            <a:off x="37465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1" name="CustomShape 43"/>
          <p:cNvSpPr/>
          <p:nvPr/>
        </p:nvSpPr>
        <p:spPr>
          <a:xfrm>
            <a:off x="40330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2" name="CustomShape 44"/>
          <p:cNvSpPr/>
          <p:nvPr/>
        </p:nvSpPr>
        <p:spPr>
          <a:xfrm>
            <a:off x="43196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3" name="CustomShape 45"/>
          <p:cNvSpPr/>
          <p:nvPr/>
        </p:nvSpPr>
        <p:spPr>
          <a:xfrm>
            <a:off x="231480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4" name="CustomShape 46"/>
          <p:cNvSpPr/>
          <p:nvPr/>
        </p:nvSpPr>
        <p:spPr>
          <a:xfrm>
            <a:off x="260100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5" name="CustomShape 47"/>
          <p:cNvSpPr/>
          <p:nvPr/>
        </p:nvSpPr>
        <p:spPr>
          <a:xfrm>
            <a:off x="2887560" y="5785920"/>
            <a:ext cx="192960" cy="192960"/>
          </a:xfrm>
          <a:prstGeom prst="ellipse">
            <a:avLst/>
          </a:prstGeom>
          <a:solidFill>
            <a:schemeClr val="tx2"/>
          </a:solidFill>
          <a:ln w="12600">
            <a:noFill/>
          </a:ln>
        </p:spPr>
        <p:style>
          <a:lnRef idx="0">
            <a:scrgbClr r="0" g="0" b="0"/>
          </a:lnRef>
          <a:fillRef idx="0">
            <a:scrgbClr r="0" g="0" b="0"/>
          </a:fillRef>
          <a:effectRef idx="0">
            <a:scrgbClr r="0" g="0" b="0"/>
          </a:effectRef>
          <a:fontRef idx="minor"/>
        </p:style>
      </p:sp>
      <p:sp>
        <p:nvSpPr>
          <p:cNvPr id="1766" name="CustomShape 48"/>
          <p:cNvSpPr/>
          <p:nvPr/>
        </p:nvSpPr>
        <p:spPr>
          <a:xfrm>
            <a:off x="3173760" y="5785920"/>
            <a:ext cx="192960" cy="192960"/>
          </a:xfrm>
          <a:prstGeom prst="ellipse">
            <a:avLst/>
          </a:prstGeom>
          <a:solidFill>
            <a:schemeClr val="tx2"/>
          </a:solidFill>
          <a:ln w="12600">
            <a:noFill/>
          </a:ln>
        </p:spPr>
        <p:style>
          <a:lnRef idx="0">
            <a:scrgbClr r="0" g="0" b="0"/>
          </a:lnRef>
          <a:fillRef idx="0">
            <a:scrgbClr r="0" g="0" b="0"/>
          </a:fillRef>
          <a:effectRef idx="0">
            <a:scrgbClr r="0" g="0" b="0"/>
          </a:effectRef>
          <a:fontRef idx="minor"/>
        </p:style>
      </p:sp>
      <p:sp>
        <p:nvSpPr>
          <p:cNvPr id="1767" name="CustomShape 49"/>
          <p:cNvSpPr/>
          <p:nvPr/>
        </p:nvSpPr>
        <p:spPr>
          <a:xfrm>
            <a:off x="34603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8" name="CustomShape 50"/>
          <p:cNvSpPr/>
          <p:nvPr/>
        </p:nvSpPr>
        <p:spPr>
          <a:xfrm>
            <a:off x="374652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769" name="CustomShape 51"/>
          <p:cNvSpPr/>
          <p:nvPr/>
        </p:nvSpPr>
        <p:spPr>
          <a:xfrm>
            <a:off x="403308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770" name="CustomShape 52"/>
          <p:cNvSpPr/>
          <p:nvPr/>
        </p:nvSpPr>
        <p:spPr>
          <a:xfrm>
            <a:off x="43196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1" name="CustomShape 53"/>
          <p:cNvSpPr/>
          <p:nvPr/>
        </p:nvSpPr>
        <p:spPr>
          <a:xfrm>
            <a:off x="231480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2" name="CustomShape 54"/>
          <p:cNvSpPr/>
          <p:nvPr/>
        </p:nvSpPr>
        <p:spPr>
          <a:xfrm>
            <a:off x="260100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3" name="CustomShape 55"/>
          <p:cNvSpPr/>
          <p:nvPr/>
        </p:nvSpPr>
        <p:spPr>
          <a:xfrm>
            <a:off x="2887560" y="6039000"/>
            <a:ext cx="192960" cy="192960"/>
          </a:xfrm>
          <a:prstGeom prst="ellipse">
            <a:avLst/>
          </a:prstGeom>
          <a:solidFill>
            <a:schemeClr val="tx2"/>
          </a:solidFill>
          <a:ln w="12600">
            <a:noFill/>
          </a:ln>
        </p:spPr>
        <p:style>
          <a:lnRef idx="0">
            <a:scrgbClr r="0" g="0" b="0"/>
          </a:lnRef>
          <a:fillRef idx="0">
            <a:scrgbClr r="0" g="0" b="0"/>
          </a:fillRef>
          <a:effectRef idx="0">
            <a:scrgbClr r="0" g="0" b="0"/>
          </a:effectRef>
          <a:fontRef idx="minor"/>
        </p:style>
      </p:sp>
      <p:sp>
        <p:nvSpPr>
          <p:cNvPr id="1774" name="CustomShape 56"/>
          <p:cNvSpPr/>
          <p:nvPr/>
        </p:nvSpPr>
        <p:spPr>
          <a:xfrm>
            <a:off x="3173760" y="6039000"/>
            <a:ext cx="192960" cy="192960"/>
          </a:xfrm>
          <a:prstGeom prst="ellipse">
            <a:avLst/>
          </a:prstGeom>
          <a:solidFill>
            <a:schemeClr val="tx2"/>
          </a:solidFill>
          <a:ln w="12600">
            <a:noFill/>
          </a:ln>
        </p:spPr>
        <p:style>
          <a:lnRef idx="0">
            <a:scrgbClr r="0" g="0" b="0"/>
          </a:lnRef>
          <a:fillRef idx="0">
            <a:scrgbClr r="0" g="0" b="0"/>
          </a:fillRef>
          <a:effectRef idx="0">
            <a:scrgbClr r="0" g="0" b="0"/>
          </a:effectRef>
          <a:fontRef idx="minor"/>
        </p:style>
      </p:sp>
      <p:sp>
        <p:nvSpPr>
          <p:cNvPr id="1775" name="CustomShape 57"/>
          <p:cNvSpPr/>
          <p:nvPr/>
        </p:nvSpPr>
        <p:spPr>
          <a:xfrm>
            <a:off x="34603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6" name="CustomShape 58"/>
          <p:cNvSpPr/>
          <p:nvPr/>
        </p:nvSpPr>
        <p:spPr>
          <a:xfrm>
            <a:off x="374652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777" name="CustomShape 59"/>
          <p:cNvSpPr/>
          <p:nvPr/>
        </p:nvSpPr>
        <p:spPr>
          <a:xfrm>
            <a:off x="403308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778" name="CustomShape 60"/>
          <p:cNvSpPr/>
          <p:nvPr/>
        </p:nvSpPr>
        <p:spPr>
          <a:xfrm>
            <a:off x="43196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9" name="CustomShape 61"/>
          <p:cNvSpPr/>
          <p:nvPr/>
        </p:nvSpPr>
        <p:spPr>
          <a:xfrm>
            <a:off x="231480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0" name="CustomShape 62"/>
          <p:cNvSpPr/>
          <p:nvPr/>
        </p:nvSpPr>
        <p:spPr>
          <a:xfrm>
            <a:off x="260100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1" name="CustomShape 63"/>
          <p:cNvSpPr/>
          <p:nvPr/>
        </p:nvSpPr>
        <p:spPr>
          <a:xfrm>
            <a:off x="28875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2" name="CustomShape 64"/>
          <p:cNvSpPr/>
          <p:nvPr/>
        </p:nvSpPr>
        <p:spPr>
          <a:xfrm>
            <a:off x="31737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3" name="CustomShape 65"/>
          <p:cNvSpPr/>
          <p:nvPr/>
        </p:nvSpPr>
        <p:spPr>
          <a:xfrm>
            <a:off x="34603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4" name="CustomShape 66"/>
          <p:cNvSpPr/>
          <p:nvPr/>
        </p:nvSpPr>
        <p:spPr>
          <a:xfrm>
            <a:off x="37465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5" name="CustomShape 67"/>
          <p:cNvSpPr/>
          <p:nvPr/>
        </p:nvSpPr>
        <p:spPr>
          <a:xfrm>
            <a:off x="40330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6" name="CustomShape 68"/>
          <p:cNvSpPr/>
          <p:nvPr/>
        </p:nvSpPr>
        <p:spPr>
          <a:xfrm>
            <a:off x="43196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7" name="CustomShape 69"/>
          <p:cNvSpPr/>
          <p:nvPr/>
        </p:nvSpPr>
        <p:spPr>
          <a:xfrm>
            <a:off x="4602960" y="4464000"/>
            <a:ext cx="2370600" cy="210744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1788" name="CustomShape 70"/>
          <p:cNvSpPr/>
          <p:nvPr/>
        </p:nvSpPr>
        <p:spPr>
          <a:xfrm>
            <a:off x="46857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89" name="CustomShape 71"/>
          <p:cNvSpPr/>
          <p:nvPr/>
        </p:nvSpPr>
        <p:spPr>
          <a:xfrm>
            <a:off x="49723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0" name="CustomShape 72"/>
          <p:cNvSpPr/>
          <p:nvPr/>
        </p:nvSpPr>
        <p:spPr>
          <a:xfrm>
            <a:off x="52585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1" name="CustomShape 73"/>
          <p:cNvSpPr/>
          <p:nvPr/>
        </p:nvSpPr>
        <p:spPr>
          <a:xfrm>
            <a:off x="55450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2" name="CustomShape 74"/>
          <p:cNvSpPr/>
          <p:nvPr/>
        </p:nvSpPr>
        <p:spPr>
          <a:xfrm>
            <a:off x="58312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3" name="CustomShape 75"/>
          <p:cNvSpPr/>
          <p:nvPr/>
        </p:nvSpPr>
        <p:spPr>
          <a:xfrm>
            <a:off x="61178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4" name="CustomShape 76"/>
          <p:cNvSpPr/>
          <p:nvPr/>
        </p:nvSpPr>
        <p:spPr>
          <a:xfrm>
            <a:off x="64040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5" name="CustomShape 77"/>
          <p:cNvSpPr/>
          <p:nvPr/>
        </p:nvSpPr>
        <p:spPr>
          <a:xfrm>
            <a:off x="669060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6" name="CustomShape 78"/>
          <p:cNvSpPr/>
          <p:nvPr/>
        </p:nvSpPr>
        <p:spPr>
          <a:xfrm>
            <a:off x="46857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7" name="CustomShape 79"/>
          <p:cNvSpPr/>
          <p:nvPr/>
        </p:nvSpPr>
        <p:spPr>
          <a:xfrm>
            <a:off x="49723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8" name="CustomShape 80"/>
          <p:cNvSpPr/>
          <p:nvPr/>
        </p:nvSpPr>
        <p:spPr>
          <a:xfrm>
            <a:off x="52585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9" name="CustomShape 81"/>
          <p:cNvSpPr/>
          <p:nvPr/>
        </p:nvSpPr>
        <p:spPr>
          <a:xfrm>
            <a:off x="55450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0" name="CustomShape 82"/>
          <p:cNvSpPr/>
          <p:nvPr/>
        </p:nvSpPr>
        <p:spPr>
          <a:xfrm>
            <a:off x="58312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1" name="CustomShape 83"/>
          <p:cNvSpPr/>
          <p:nvPr/>
        </p:nvSpPr>
        <p:spPr>
          <a:xfrm>
            <a:off x="61178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2" name="CustomShape 84"/>
          <p:cNvSpPr/>
          <p:nvPr/>
        </p:nvSpPr>
        <p:spPr>
          <a:xfrm>
            <a:off x="64040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3" name="CustomShape 85"/>
          <p:cNvSpPr/>
          <p:nvPr/>
        </p:nvSpPr>
        <p:spPr>
          <a:xfrm>
            <a:off x="66906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4" name="CustomShape 86"/>
          <p:cNvSpPr/>
          <p:nvPr/>
        </p:nvSpPr>
        <p:spPr>
          <a:xfrm>
            <a:off x="46857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5" name="CustomShape 87"/>
          <p:cNvSpPr/>
          <p:nvPr/>
        </p:nvSpPr>
        <p:spPr>
          <a:xfrm>
            <a:off x="49723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6" name="CustomShape 88"/>
          <p:cNvSpPr/>
          <p:nvPr/>
        </p:nvSpPr>
        <p:spPr>
          <a:xfrm>
            <a:off x="52585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7" name="CustomShape 89"/>
          <p:cNvSpPr/>
          <p:nvPr/>
        </p:nvSpPr>
        <p:spPr>
          <a:xfrm>
            <a:off x="55450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8" name="CustomShape 90"/>
          <p:cNvSpPr/>
          <p:nvPr/>
        </p:nvSpPr>
        <p:spPr>
          <a:xfrm>
            <a:off x="58312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9" name="CustomShape 91"/>
          <p:cNvSpPr/>
          <p:nvPr/>
        </p:nvSpPr>
        <p:spPr>
          <a:xfrm>
            <a:off x="61178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0" name="CustomShape 92"/>
          <p:cNvSpPr/>
          <p:nvPr/>
        </p:nvSpPr>
        <p:spPr>
          <a:xfrm>
            <a:off x="64040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1" name="CustomShape 93"/>
          <p:cNvSpPr/>
          <p:nvPr/>
        </p:nvSpPr>
        <p:spPr>
          <a:xfrm>
            <a:off x="66906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2" name="CustomShape 94"/>
          <p:cNvSpPr/>
          <p:nvPr/>
        </p:nvSpPr>
        <p:spPr>
          <a:xfrm>
            <a:off x="46857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3" name="CustomShape 95"/>
          <p:cNvSpPr/>
          <p:nvPr/>
        </p:nvSpPr>
        <p:spPr>
          <a:xfrm>
            <a:off x="49723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4" name="CustomShape 96"/>
          <p:cNvSpPr/>
          <p:nvPr/>
        </p:nvSpPr>
        <p:spPr>
          <a:xfrm>
            <a:off x="52585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5" name="CustomShape 97"/>
          <p:cNvSpPr/>
          <p:nvPr/>
        </p:nvSpPr>
        <p:spPr>
          <a:xfrm>
            <a:off x="55450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6" name="CustomShape 98"/>
          <p:cNvSpPr/>
          <p:nvPr/>
        </p:nvSpPr>
        <p:spPr>
          <a:xfrm>
            <a:off x="58312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7" name="CustomShape 99"/>
          <p:cNvSpPr/>
          <p:nvPr/>
        </p:nvSpPr>
        <p:spPr>
          <a:xfrm>
            <a:off x="61178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8" name="CustomShape 100"/>
          <p:cNvSpPr/>
          <p:nvPr/>
        </p:nvSpPr>
        <p:spPr>
          <a:xfrm>
            <a:off x="64040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9" name="CustomShape 101"/>
          <p:cNvSpPr/>
          <p:nvPr/>
        </p:nvSpPr>
        <p:spPr>
          <a:xfrm>
            <a:off x="66906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0" name="CustomShape 102"/>
          <p:cNvSpPr/>
          <p:nvPr/>
        </p:nvSpPr>
        <p:spPr>
          <a:xfrm>
            <a:off x="46857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1" name="CustomShape 103"/>
          <p:cNvSpPr/>
          <p:nvPr/>
        </p:nvSpPr>
        <p:spPr>
          <a:xfrm>
            <a:off x="49723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2" name="CustomShape 104"/>
          <p:cNvSpPr/>
          <p:nvPr/>
        </p:nvSpPr>
        <p:spPr>
          <a:xfrm>
            <a:off x="52585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3" name="CustomShape 105"/>
          <p:cNvSpPr/>
          <p:nvPr/>
        </p:nvSpPr>
        <p:spPr>
          <a:xfrm>
            <a:off x="55450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4" name="CustomShape 106"/>
          <p:cNvSpPr/>
          <p:nvPr/>
        </p:nvSpPr>
        <p:spPr>
          <a:xfrm>
            <a:off x="58312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5" name="CustomShape 107"/>
          <p:cNvSpPr/>
          <p:nvPr/>
        </p:nvSpPr>
        <p:spPr>
          <a:xfrm>
            <a:off x="61178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6" name="CustomShape 108"/>
          <p:cNvSpPr/>
          <p:nvPr/>
        </p:nvSpPr>
        <p:spPr>
          <a:xfrm>
            <a:off x="64040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7" name="CustomShape 109"/>
          <p:cNvSpPr/>
          <p:nvPr/>
        </p:nvSpPr>
        <p:spPr>
          <a:xfrm>
            <a:off x="66906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8" name="CustomShape 110"/>
          <p:cNvSpPr/>
          <p:nvPr/>
        </p:nvSpPr>
        <p:spPr>
          <a:xfrm>
            <a:off x="468576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9" name="CustomShape 111"/>
          <p:cNvSpPr/>
          <p:nvPr/>
        </p:nvSpPr>
        <p:spPr>
          <a:xfrm>
            <a:off x="49723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0" name="CustomShape 112"/>
          <p:cNvSpPr/>
          <p:nvPr/>
        </p:nvSpPr>
        <p:spPr>
          <a:xfrm>
            <a:off x="52585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1" name="CustomShape 113"/>
          <p:cNvSpPr/>
          <p:nvPr/>
        </p:nvSpPr>
        <p:spPr>
          <a:xfrm>
            <a:off x="55450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2" name="CustomShape 114"/>
          <p:cNvSpPr/>
          <p:nvPr/>
        </p:nvSpPr>
        <p:spPr>
          <a:xfrm>
            <a:off x="58312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3" name="CustomShape 115"/>
          <p:cNvSpPr/>
          <p:nvPr/>
        </p:nvSpPr>
        <p:spPr>
          <a:xfrm>
            <a:off x="61178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4" name="CustomShape 116"/>
          <p:cNvSpPr/>
          <p:nvPr/>
        </p:nvSpPr>
        <p:spPr>
          <a:xfrm>
            <a:off x="640404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35" name="CustomShape 117"/>
          <p:cNvSpPr/>
          <p:nvPr/>
        </p:nvSpPr>
        <p:spPr>
          <a:xfrm>
            <a:off x="669060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36" name="CustomShape 118"/>
          <p:cNvSpPr/>
          <p:nvPr/>
        </p:nvSpPr>
        <p:spPr>
          <a:xfrm>
            <a:off x="468576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7" name="CustomShape 119"/>
          <p:cNvSpPr/>
          <p:nvPr/>
        </p:nvSpPr>
        <p:spPr>
          <a:xfrm>
            <a:off x="49723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8" name="CustomShape 120"/>
          <p:cNvSpPr/>
          <p:nvPr/>
        </p:nvSpPr>
        <p:spPr>
          <a:xfrm>
            <a:off x="52585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9" name="CustomShape 121"/>
          <p:cNvSpPr/>
          <p:nvPr/>
        </p:nvSpPr>
        <p:spPr>
          <a:xfrm>
            <a:off x="55450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40" name="CustomShape 122"/>
          <p:cNvSpPr/>
          <p:nvPr/>
        </p:nvSpPr>
        <p:spPr>
          <a:xfrm>
            <a:off x="58312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41" name="CustomShape 123"/>
          <p:cNvSpPr/>
          <p:nvPr/>
        </p:nvSpPr>
        <p:spPr>
          <a:xfrm>
            <a:off x="61178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42" name="CustomShape 124"/>
          <p:cNvSpPr/>
          <p:nvPr/>
        </p:nvSpPr>
        <p:spPr>
          <a:xfrm>
            <a:off x="640404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43" name="CustomShape 125"/>
          <p:cNvSpPr/>
          <p:nvPr/>
        </p:nvSpPr>
        <p:spPr>
          <a:xfrm>
            <a:off x="669060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44" name="CustomShape 126"/>
          <p:cNvSpPr/>
          <p:nvPr/>
        </p:nvSpPr>
        <p:spPr>
          <a:xfrm>
            <a:off x="46857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5" name="CustomShape 127"/>
          <p:cNvSpPr/>
          <p:nvPr/>
        </p:nvSpPr>
        <p:spPr>
          <a:xfrm>
            <a:off x="49723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6" name="CustomShape 128"/>
          <p:cNvSpPr/>
          <p:nvPr/>
        </p:nvSpPr>
        <p:spPr>
          <a:xfrm>
            <a:off x="52585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7" name="CustomShape 129"/>
          <p:cNvSpPr/>
          <p:nvPr/>
        </p:nvSpPr>
        <p:spPr>
          <a:xfrm>
            <a:off x="55450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8" name="CustomShape 130"/>
          <p:cNvSpPr/>
          <p:nvPr/>
        </p:nvSpPr>
        <p:spPr>
          <a:xfrm>
            <a:off x="58312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9" name="CustomShape 131"/>
          <p:cNvSpPr/>
          <p:nvPr/>
        </p:nvSpPr>
        <p:spPr>
          <a:xfrm>
            <a:off x="61178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50" name="CustomShape 132"/>
          <p:cNvSpPr/>
          <p:nvPr/>
        </p:nvSpPr>
        <p:spPr>
          <a:xfrm>
            <a:off x="64040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51" name="CustomShape 133"/>
          <p:cNvSpPr/>
          <p:nvPr/>
        </p:nvSpPr>
        <p:spPr>
          <a:xfrm>
            <a:off x="669060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52" name="CustomShape 134"/>
          <p:cNvSpPr/>
          <p:nvPr/>
        </p:nvSpPr>
        <p:spPr>
          <a:xfrm>
            <a:off x="6973560" y="4464000"/>
            <a:ext cx="2370600" cy="210744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1853" name="CustomShape 135"/>
          <p:cNvSpPr/>
          <p:nvPr/>
        </p:nvSpPr>
        <p:spPr>
          <a:xfrm>
            <a:off x="70567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4" name="CustomShape 136"/>
          <p:cNvSpPr/>
          <p:nvPr/>
        </p:nvSpPr>
        <p:spPr>
          <a:xfrm>
            <a:off x="73432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5" name="CustomShape 137"/>
          <p:cNvSpPr/>
          <p:nvPr/>
        </p:nvSpPr>
        <p:spPr>
          <a:xfrm>
            <a:off x="76294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6" name="CustomShape 138"/>
          <p:cNvSpPr/>
          <p:nvPr/>
        </p:nvSpPr>
        <p:spPr>
          <a:xfrm>
            <a:off x="79160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7" name="CustomShape 139"/>
          <p:cNvSpPr/>
          <p:nvPr/>
        </p:nvSpPr>
        <p:spPr>
          <a:xfrm>
            <a:off x="82022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8" name="CustomShape 140"/>
          <p:cNvSpPr/>
          <p:nvPr/>
        </p:nvSpPr>
        <p:spPr>
          <a:xfrm>
            <a:off x="848880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9" name="CustomShape 141"/>
          <p:cNvSpPr/>
          <p:nvPr/>
        </p:nvSpPr>
        <p:spPr>
          <a:xfrm>
            <a:off x="87753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0" name="CustomShape 142"/>
          <p:cNvSpPr/>
          <p:nvPr/>
        </p:nvSpPr>
        <p:spPr>
          <a:xfrm>
            <a:off x="90615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1" name="CustomShape 143"/>
          <p:cNvSpPr/>
          <p:nvPr/>
        </p:nvSpPr>
        <p:spPr>
          <a:xfrm>
            <a:off x="70567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2" name="CustomShape 144"/>
          <p:cNvSpPr/>
          <p:nvPr/>
        </p:nvSpPr>
        <p:spPr>
          <a:xfrm>
            <a:off x="73432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3" name="CustomShape 145"/>
          <p:cNvSpPr/>
          <p:nvPr/>
        </p:nvSpPr>
        <p:spPr>
          <a:xfrm>
            <a:off x="76294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4" name="CustomShape 146"/>
          <p:cNvSpPr/>
          <p:nvPr/>
        </p:nvSpPr>
        <p:spPr>
          <a:xfrm>
            <a:off x="79160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5" name="CustomShape 147"/>
          <p:cNvSpPr/>
          <p:nvPr/>
        </p:nvSpPr>
        <p:spPr>
          <a:xfrm>
            <a:off x="82022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6" name="CustomShape 148"/>
          <p:cNvSpPr/>
          <p:nvPr/>
        </p:nvSpPr>
        <p:spPr>
          <a:xfrm>
            <a:off x="84888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7" name="CustomShape 149"/>
          <p:cNvSpPr/>
          <p:nvPr/>
        </p:nvSpPr>
        <p:spPr>
          <a:xfrm>
            <a:off x="87753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8" name="CustomShape 150"/>
          <p:cNvSpPr/>
          <p:nvPr/>
        </p:nvSpPr>
        <p:spPr>
          <a:xfrm>
            <a:off x="90615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9" name="CustomShape 151"/>
          <p:cNvSpPr/>
          <p:nvPr/>
        </p:nvSpPr>
        <p:spPr>
          <a:xfrm>
            <a:off x="70567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0" name="CustomShape 152"/>
          <p:cNvSpPr/>
          <p:nvPr/>
        </p:nvSpPr>
        <p:spPr>
          <a:xfrm>
            <a:off x="73432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1" name="CustomShape 153"/>
          <p:cNvSpPr/>
          <p:nvPr/>
        </p:nvSpPr>
        <p:spPr>
          <a:xfrm>
            <a:off x="76294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2" name="CustomShape 154"/>
          <p:cNvSpPr/>
          <p:nvPr/>
        </p:nvSpPr>
        <p:spPr>
          <a:xfrm>
            <a:off x="79160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3" name="CustomShape 155"/>
          <p:cNvSpPr/>
          <p:nvPr/>
        </p:nvSpPr>
        <p:spPr>
          <a:xfrm>
            <a:off x="82022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4" name="CustomShape 156"/>
          <p:cNvSpPr/>
          <p:nvPr/>
        </p:nvSpPr>
        <p:spPr>
          <a:xfrm>
            <a:off x="84888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5" name="CustomShape 157"/>
          <p:cNvSpPr/>
          <p:nvPr/>
        </p:nvSpPr>
        <p:spPr>
          <a:xfrm>
            <a:off x="87753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6" name="CustomShape 158"/>
          <p:cNvSpPr/>
          <p:nvPr/>
        </p:nvSpPr>
        <p:spPr>
          <a:xfrm>
            <a:off x="90615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7" name="CustomShape 159"/>
          <p:cNvSpPr/>
          <p:nvPr/>
        </p:nvSpPr>
        <p:spPr>
          <a:xfrm>
            <a:off x="70567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8" name="CustomShape 160"/>
          <p:cNvSpPr/>
          <p:nvPr/>
        </p:nvSpPr>
        <p:spPr>
          <a:xfrm>
            <a:off x="73432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9" name="CustomShape 161"/>
          <p:cNvSpPr/>
          <p:nvPr/>
        </p:nvSpPr>
        <p:spPr>
          <a:xfrm>
            <a:off x="76294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0" name="CustomShape 162"/>
          <p:cNvSpPr/>
          <p:nvPr/>
        </p:nvSpPr>
        <p:spPr>
          <a:xfrm>
            <a:off x="79160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1" name="CustomShape 163"/>
          <p:cNvSpPr/>
          <p:nvPr/>
        </p:nvSpPr>
        <p:spPr>
          <a:xfrm>
            <a:off x="82022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2" name="CustomShape 164"/>
          <p:cNvSpPr/>
          <p:nvPr/>
        </p:nvSpPr>
        <p:spPr>
          <a:xfrm>
            <a:off x="84888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3" name="CustomShape 165"/>
          <p:cNvSpPr/>
          <p:nvPr/>
        </p:nvSpPr>
        <p:spPr>
          <a:xfrm>
            <a:off x="87753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4" name="CustomShape 166"/>
          <p:cNvSpPr/>
          <p:nvPr/>
        </p:nvSpPr>
        <p:spPr>
          <a:xfrm>
            <a:off x="90615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5" name="CustomShape 167"/>
          <p:cNvSpPr/>
          <p:nvPr/>
        </p:nvSpPr>
        <p:spPr>
          <a:xfrm>
            <a:off x="70567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6" name="CustomShape 168"/>
          <p:cNvSpPr/>
          <p:nvPr/>
        </p:nvSpPr>
        <p:spPr>
          <a:xfrm>
            <a:off x="73432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7" name="CustomShape 169"/>
          <p:cNvSpPr/>
          <p:nvPr/>
        </p:nvSpPr>
        <p:spPr>
          <a:xfrm>
            <a:off x="76294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8" name="CustomShape 170"/>
          <p:cNvSpPr/>
          <p:nvPr/>
        </p:nvSpPr>
        <p:spPr>
          <a:xfrm>
            <a:off x="79160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9" name="CustomShape 171"/>
          <p:cNvSpPr/>
          <p:nvPr/>
        </p:nvSpPr>
        <p:spPr>
          <a:xfrm>
            <a:off x="82022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0" name="CustomShape 172"/>
          <p:cNvSpPr/>
          <p:nvPr/>
        </p:nvSpPr>
        <p:spPr>
          <a:xfrm>
            <a:off x="84888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1" name="CustomShape 173"/>
          <p:cNvSpPr/>
          <p:nvPr/>
        </p:nvSpPr>
        <p:spPr>
          <a:xfrm>
            <a:off x="87753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2" name="CustomShape 174"/>
          <p:cNvSpPr/>
          <p:nvPr/>
        </p:nvSpPr>
        <p:spPr>
          <a:xfrm>
            <a:off x="90615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3" name="CustomShape 175"/>
          <p:cNvSpPr/>
          <p:nvPr/>
        </p:nvSpPr>
        <p:spPr>
          <a:xfrm>
            <a:off x="70567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4" name="CustomShape 176"/>
          <p:cNvSpPr/>
          <p:nvPr/>
        </p:nvSpPr>
        <p:spPr>
          <a:xfrm>
            <a:off x="73432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5" name="CustomShape 177"/>
          <p:cNvSpPr/>
          <p:nvPr/>
        </p:nvSpPr>
        <p:spPr>
          <a:xfrm>
            <a:off x="76294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6" name="CustomShape 178"/>
          <p:cNvSpPr/>
          <p:nvPr/>
        </p:nvSpPr>
        <p:spPr>
          <a:xfrm>
            <a:off x="79160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7" name="CustomShape 179"/>
          <p:cNvSpPr/>
          <p:nvPr/>
        </p:nvSpPr>
        <p:spPr>
          <a:xfrm>
            <a:off x="82022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8" name="CustomShape 180"/>
          <p:cNvSpPr/>
          <p:nvPr/>
        </p:nvSpPr>
        <p:spPr>
          <a:xfrm>
            <a:off x="848880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9" name="CustomShape 181"/>
          <p:cNvSpPr/>
          <p:nvPr/>
        </p:nvSpPr>
        <p:spPr>
          <a:xfrm>
            <a:off x="877536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900" name="CustomShape 182"/>
          <p:cNvSpPr/>
          <p:nvPr/>
        </p:nvSpPr>
        <p:spPr>
          <a:xfrm>
            <a:off x="906156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901" name="CustomShape 183"/>
          <p:cNvSpPr/>
          <p:nvPr/>
        </p:nvSpPr>
        <p:spPr>
          <a:xfrm>
            <a:off x="70567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2" name="CustomShape 184"/>
          <p:cNvSpPr/>
          <p:nvPr/>
        </p:nvSpPr>
        <p:spPr>
          <a:xfrm>
            <a:off x="73432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3" name="CustomShape 185"/>
          <p:cNvSpPr/>
          <p:nvPr/>
        </p:nvSpPr>
        <p:spPr>
          <a:xfrm>
            <a:off x="76294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4" name="CustomShape 186"/>
          <p:cNvSpPr/>
          <p:nvPr/>
        </p:nvSpPr>
        <p:spPr>
          <a:xfrm>
            <a:off x="79160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5" name="CustomShape 187"/>
          <p:cNvSpPr/>
          <p:nvPr/>
        </p:nvSpPr>
        <p:spPr>
          <a:xfrm>
            <a:off x="82022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6" name="CustomShape 188"/>
          <p:cNvSpPr/>
          <p:nvPr/>
        </p:nvSpPr>
        <p:spPr>
          <a:xfrm>
            <a:off x="848880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7" name="CustomShape 189"/>
          <p:cNvSpPr/>
          <p:nvPr/>
        </p:nvSpPr>
        <p:spPr>
          <a:xfrm>
            <a:off x="877536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908" name="CustomShape 190"/>
          <p:cNvSpPr/>
          <p:nvPr/>
        </p:nvSpPr>
        <p:spPr>
          <a:xfrm>
            <a:off x="906156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909" name="CustomShape 191"/>
          <p:cNvSpPr/>
          <p:nvPr/>
        </p:nvSpPr>
        <p:spPr>
          <a:xfrm>
            <a:off x="70567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0" name="CustomShape 192"/>
          <p:cNvSpPr/>
          <p:nvPr/>
        </p:nvSpPr>
        <p:spPr>
          <a:xfrm>
            <a:off x="73432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1" name="CustomShape 193"/>
          <p:cNvSpPr/>
          <p:nvPr/>
        </p:nvSpPr>
        <p:spPr>
          <a:xfrm>
            <a:off x="76294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2" name="CustomShape 194"/>
          <p:cNvSpPr/>
          <p:nvPr/>
        </p:nvSpPr>
        <p:spPr>
          <a:xfrm>
            <a:off x="79160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3" name="CustomShape 195"/>
          <p:cNvSpPr/>
          <p:nvPr/>
        </p:nvSpPr>
        <p:spPr>
          <a:xfrm>
            <a:off x="82022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4" name="CustomShape 196"/>
          <p:cNvSpPr/>
          <p:nvPr/>
        </p:nvSpPr>
        <p:spPr>
          <a:xfrm>
            <a:off x="848880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5" name="CustomShape 197"/>
          <p:cNvSpPr/>
          <p:nvPr/>
        </p:nvSpPr>
        <p:spPr>
          <a:xfrm>
            <a:off x="87753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6" name="CustomShape 198"/>
          <p:cNvSpPr/>
          <p:nvPr/>
        </p:nvSpPr>
        <p:spPr>
          <a:xfrm>
            <a:off x="90615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201" name="Rectangle 200">
            <a:extLst>
              <a:ext uri="{FF2B5EF4-FFF2-40B4-BE49-F238E27FC236}">
                <a16:creationId xmlns:a16="http://schemas.microsoft.com/office/drawing/2014/main" id="{3E4AEA8D-533C-45FE-BFFB-3E8133B8641B}"/>
              </a:ext>
            </a:extLst>
          </p:cNvPr>
          <p:cNvSpPr/>
          <p:nvPr/>
        </p:nvSpPr>
        <p:spPr>
          <a:xfrm>
            <a:off x="11277600" y="309217"/>
            <a:ext cx="649357" cy="592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2499674548"/>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718" name="Picture 7"/>
          <p:cNvPicPr/>
          <p:nvPr/>
        </p:nvPicPr>
        <p:blipFill>
          <a:blip r:embed="rId2"/>
          <a:stretch/>
        </p:blipFill>
        <p:spPr>
          <a:xfrm>
            <a:off x="6129360" y="1566720"/>
            <a:ext cx="5304960" cy="1802880"/>
          </a:xfrm>
          <a:prstGeom prst="rect">
            <a:avLst/>
          </a:prstGeom>
          <a:ln>
            <a:solidFill>
              <a:schemeClr val="tx1"/>
            </a:solidFill>
          </a:ln>
        </p:spPr>
      </p:pic>
      <p:sp>
        <p:nvSpPr>
          <p:cNvPr id="1719" name="CustomShape 1"/>
          <p:cNvSpPr/>
          <p:nvPr/>
        </p:nvSpPr>
        <p:spPr>
          <a:xfrm>
            <a:off x="479520" y="1566720"/>
            <a:ext cx="5471640" cy="5151600"/>
          </a:xfrm>
          <a:prstGeom prst="rect">
            <a:avLst/>
          </a:prstGeom>
          <a:noFill/>
          <a:ln>
            <a:noFill/>
          </a:ln>
        </p:spPr>
        <p:style>
          <a:lnRef idx="0">
            <a:scrgbClr r="0" g="0" b="0"/>
          </a:lnRef>
          <a:fillRef idx="0">
            <a:scrgbClr r="0" g="0" b="0"/>
          </a:fillRef>
          <a:effectRef idx="0">
            <a:scrgbClr r="0" g="0" b="0"/>
          </a:effectRef>
          <a:fontRef idx="minor"/>
        </p:style>
        <p:txBody>
          <a:bodyPr lIns="72000" tIns="36000" rIns="72000" bIns="36000"/>
          <a:lstStyle/>
          <a:p>
            <a:pPr>
              <a:lnSpc>
                <a:spcPct val="100000"/>
              </a:lnSpc>
              <a:spcBef>
                <a:spcPts val="799"/>
              </a:spcBef>
            </a:pPr>
            <a:r>
              <a:rPr lang="sv-SE" sz="1200" b="0" strike="noStrike" spc="-29">
                <a:solidFill>
                  <a:srgbClr val="181818"/>
                </a:solidFill>
                <a:uFill>
                  <a:solidFill>
                    <a:srgbClr val="FFFFFF"/>
                  </a:solidFill>
                </a:uFill>
                <a:latin typeface="Ericsson Hilda"/>
              </a:rPr>
              <a:t>Deployment</a:t>
            </a:r>
            <a:endParaRPr lang="sv-SE" sz="1200" b="0" strike="noStrike" spc="-1">
              <a:solidFill>
                <a:srgbClr val="000000"/>
              </a:solidFill>
              <a:uFill>
                <a:solidFill>
                  <a:srgbClr val="FFFFFF"/>
                </a:solidFill>
              </a:uFill>
              <a:latin typeface="Arial"/>
            </a:endParaRPr>
          </a:p>
          <a:p>
            <a:pPr>
              <a:lnSpc>
                <a:spcPct val="100000"/>
              </a:lnSpc>
              <a:spcBef>
                <a:spcPts val="799"/>
              </a:spcBef>
            </a:pP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r>
              <a:rPr lang="sv-SE" sz="1200" b="0" strike="noStrike" spc="-29">
                <a:solidFill>
                  <a:srgbClr val="181818"/>
                </a:solidFill>
                <a:uFill>
                  <a:solidFill>
                    <a:srgbClr val="FFFFFF"/>
                  </a:solidFill>
                </a:uFill>
                <a:latin typeface="Ericsson Hilda"/>
              </a:rPr>
              <a:t>Relevant information för varje pixel finns I VRAM</a:t>
            </a: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r>
              <a:rPr lang="sv-SE" sz="1200" b="0" strike="noStrike" spc="-29">
                <a:solidFill>
                  <a:srgbClr val="181818"/>
                </a:solidFill>
                <a:uFill>
                  <a:solidFill>
                    <a:srgbClr val="FFFFFF"/>
                  </a:solidFill>
                </a:uFill>
                <a:latin typeface="Ericsson Hilda"/>
              </a:rPr>
              <a:t>Addressering</a:t>
            </a: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r>
              <a:rPr lang="sv-SE" sz="1200" b="0" strike="noStrike" spc="-29">
                <a:solidFill>
                  <a:srgbClr val="181818"/>
                </a:solidFill>
                <a:uFill>
                  <a:solidFill>
                    <a:srgbClr val="FFFFFF"/>
                  </a:solidFill>
                </a:uFill>
                <a:latin typeface="Ericsson Hilda"/>
              </a:rPr>
              <a:t>Verkställande arbete </a:t>
            </a:r>
            <a:endParaRPr lang="sv-SE" sz="1200" b="0" strike="noStrike" spc="-1">
              <a:solidFill>
                <a:srgbClr val="000000"/>
              </a:solidFill>
              <a:uFill>
                <a:solidFill>
                  <a:srgbClr val="FFFFFF"/>
                </a:solidFill>
              </a:uFill>
              <a:latin typeface="Arial"/>
            </a:endParaRPr>
          </a:p>
          <a:p>
            <a:pPr>
              <a:lnSpc>
                <a:spcPct val="100000"/>
              </a:lnSpc>
              <a:spcBef>
                <a:spcPts val="799"/>
              </a:spcBef>
            </a:pPr>
            <a:endParaRPr lang="sv-SE" sz="1200" b="0" strike="noStrike" spc="-1">
              <a:solidFill>
                <a:srgbClr val="000000"/>
              </a:solidFill>
              <a:uFill>
                <a:solidFill>
                  <a:srgbClr val="FFFFFF"/>
                </a:solidFill>
              </a:uFill>
              <a:latin typeface="Arial"/>
            </a:endParaRPr>
          </a:p>
        </p:txBody>
      </p:sp>
      <p:sp>
        <p:nvSpPr>
          <p:cNvPr id="1720" name="TextShape 2"/>
          <p:cNvSpPr txBox="1"/>
          <p:nvPr/>
        </p:nvSpPr>
        <p:spPr>
          <a:xfrm>
            <a:off x="479520" y="476280"/>
            <a:ext cx="5471640" cy="716400"/>
          </a:xfrm>
          <a:prstGeom prst="rect">
            <a:avLst/>
          </a:prstGeom>
          <a:noFill/>
          <a:ln w="9360">
            <a:noFill/>
          </a:ln>
        </p:spPr>
        <p:txBody>
          <a:bodyPr lIns="72000" tIns="36000" rIns="73080" bIns="36720">
            <a:normAutofit/>
          </a:bodyPr>
          <a:lstStyle/>
          <a:p>
            <a:pPr>
              <a:lnSpc>
                <a:spcPct val="100000"/>
              </a:lnSpc>
              <a:spcBef>
                <a:spcPts val="300"/>
              </a:spcBef>
            </a:pPr>
            <a:r>
              <a:rPr lang="en-US" sz="4000" b="0" strike="noStrike" spc="-157">
                <a:solidFill>
                  <a:srgbClr val="181818"/>
                </a:solidFill>
                <a:uFill>
                  <a:solidFill>
                    <a:srgbClr val="FFFFFF"/>
                  </a:solidFill>
                </a:uFill>
                <a:latin typeface="Ericsson Hilda Light"/>
              </a:rPr>
              <a:t>Addressering av pixlar</a:t>
            </a:r>
            <a:endParaRPr lang="en-US" sz="4000" b="0" strike="noStrike" spc="-1">
              <a:solidFill>
                <a:srgbClr val="181818"/>
              </a:solidFill>
              <a:uFill>
                <a:solidFill>
                  <a:srgbClr val="FFFFFF"/>
                </a:solidFill>
              </a:uFill>
              <a:latin typeface="Ericsson Hilda"/>
            </a:endParaRPr>
          </a:p>
        </p:txBody>
      </p:sp>
      <p:sp>
        <p:nvSpPr>
          <p:cNvPr id="1721" name="CustomShape 3"/>
          <p:cNvSpPr/>
          <p:nvPr/>
        </p:nvSpPr>
        <p:spPr>
          <a:xfrm>
            <a:off x="8286840" y="1109520"/>
            <a:ext cx="914040" cy="914040"/>
          </a:xfrm>
          <a:prstGeom prst="rect">
            <a:avLst/>
          </a:prstGeom>
          <a:noFill/>
          <a:ln w="12600">
            <a:noFill/>
          </a:ln>
        </p:spPr>
        <p:style>
          <a:lnRef idx="0">
            <a:scrgbClr r="0" g="0" b="0"/>
          </a:lnRef>
          <a:fillRef idx="0">
            <a:scrgbClr r="0" g="0" b="0"/>
          </a:fillRef>
          <a:effectRef idx="0">
            <a:scrgbClr r="0" g="0" b="0"/>
          </a:effectRef>
          <a:fontRef idx="minor"/>
        </p:style>
        <p:txBody>
          <a:bodyPr wrap="none" lIns="72000" tIns="36000" rIns="73080" bIns="36720"/>
          <a:lstStyle/>
          <a:p>
            <a:pPr>
              <a:lnSpc>
                <a:spcPct val="100000"/>
              </a:lnSpc>
            </a:pPr>
            <a:r>
              <a:rPr lang="sv-SE" sz="2000" b="0" strike="noStrike" spc="-1">
                <a:solidFill>
                  <a:srgbClr val="181818"/>
                </a:solidFill>
                <a:uFill>
                  <a:solidFill>
                    <a:srgbClr val="FFFFFF"/>
                  </a:solidFill>
                </a:uFill>
                <a:latin typeface="Ericsson Hilda"/>
              </a:rPr>
              <a:t>VRAM</a:t>
            </a:r>
            <a:endParaRPr lang="sv-SE" sz="2000" b="0" strike="noStrike" spc="-1">
              <a:solidFill>
                <a:srgbClr val="000000"/>
              </a:solidFill>
              <a:uFill>
                <a:solidFill>
                  <a:srgbClr val="FFFFFF"/>
                </a:solidFill>
              </a:uFill>
              <a:latin typeface="Arial"/>
            </a:endParaRPr>
          </a:p>
        </p:txBody>
      </p:sp>
      <p:sp>
        <p:nvSpPr>
          <p:cNvPr id="1722" name="CustomShape 4"/>
          <p:cNvSpPr/>
          <p:nvPr/>
        </p:nvSpPr>
        <p:spPr>
          <a:xfrm>
            <a:off x="2232000" y="4464000"/>
            <a:ext cx="2370600" cy="210744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1723" name="CustomShape 5"/>
          <p:cNvSpPr/>
          <p:nvPr/>
        </p:nvSpPr>
        <p:spPr>
          <a:xfrm>
            <a:off x="231480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4" name="CustomShape 6"/>
          <p:cNvSpPr/>
          <p:nvPr/>
        </p:nvSpPr>
        <p:spPr>
          <a:xfrm>
            <a:off x="2559240" y="4497480"/>
            <a:ext cx="234720" cy="21600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5" name="CustomShape 7"/>
          <p:cNvSpPr/>
          <p:nvPr/>
        </p:nvSpPr>
        <p:spPr>
          <a:xfrm>
            <a:off x="28875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6" name="CustomShape 8"/>
          <p:cNvSpPr/>
          <p:nvPr/>
        </p:nvSpPr>
        <p:spPr>
          <a:xfrm>
            <a:off x="31737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7" name="CustomShape 9"/>
          <p:cNvSpPr/>
          <p:nvPr/>
        </p:nvSpPr>
        <p:spPr>
          <a:xfrm>
            <a:off x="34603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8" name="CustomShape 10"/>
          <p:cNvSpPr/>
          <p:nvPr/>
        </p:nvSpPr>
        <p:spPr>
          <a:xfrm>
            <a:off x="37465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9" name="CustomShape 11"/>
          <p:cNvSpPr/>
          <p:nvPr/>
        </p:nvSpPr>
        <p:spPr>
          <a:xfrm>
            <a:off x="40330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0" name="CustomShape 12"/>
          <p:cNvSpPr/>
          <p:nvPr/>
        </p:nvSpPr>
        <p:spPr>
          <a:xfrm>
            <a:off x="43196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1" name="CustomShape 13"/>
          <p:cNvSpPr/>
          <p:nvPr/>
        </p:nvSpPr>
        <p:spPr>
          <a:xfrm>
            <a:off x="23148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2" name="CustomShape 14"/>
          <p:cNvSpPr/>
          <p:nvPr/>
        </p:nvSpPr>
        <p:spPr>
          <a:xfrm>
            <a:off x="26010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3" name="CustomShape 15"/>
          <p:cNvSpPr/>
          <p:nvPr/>
        </p:nvSpPr>
        <p:spPr>
          <a:xfrm>
            <a:off x="2887560" y="4773600"/>
            <a:ext cx="192960" cy="19296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734" name="CustomShape 16"/>
          <p:cNvSpPr/>
          <p:nvPr/>
        </p:nvSpPr>
        <p:spPr>
          <a:xfrm>
            <a:off x="3173760" y="4773600"/>
            <a:ext cx="192960" cy="19296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735" name="CustomShape 17"/>
          <p:cNvSpPr/>
          <p:nvPr/>
        </p:nvSpPr>
        <p:spPr>
          <a:xfrm>
            <a:off x="34603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6" name="CustomShape 18"/>
          <p:cNvSpPr/>
          <p:nvPr/>
        </p:nvSpPr>
        <p:spPr>
          <a:xfrm>
            <a:off x="37465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7" name="CustomShape 19"/>
          <p:cNvSpPr/>
          <p:nvPr/>
        </p:nvSpPr>
        <p:spPr>
          <a:xfrm>
            <a:off x="40330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8" name="CustomShape 20"/>
          <p:cNvSpPr/>
          <p:nvPr/>
        </p:nvSpPr>
        <p:spPr>
          <a:xfrm>
            <a:off x="43196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9" name="CustomShape 21"/>
          <p:cNvSpPr/>
          <p:nvPr/>
        </p:nvSpPr>
        <p:spPr>
          <a:xfrm>
            <a:off x="23148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0" name="CustomShape 22"/>
          <p:cNvSpPr/>
          <p:nvPr/>
        </p:nvSpPr>
        <p:spPr>
          <a:xfrm>
            <a:off x="26010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1" name="CustomShape 23"/>
          <p:cNvSpPr/>
          <p:nvPr/>
        </p:nvSpPr>
        <p:spPr>
          <a:xfrm>
            <a:off x="2887560" y="5026680"/>
            <a:ext cx="192960" cy="19296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742" name="CustomShape 24"/>
          <p:cNvSpPr/>
          <p:nvPr/>
        </p:nvSpPr>
        <p:spPr>
          <a:xfrm>
            <a:off x="3173760" y="5026680"/>
            <a:ext cx="192960" cy="19296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743" name="CustomShape 25"/>
          <p:cNvSpPr/>
          <p:nvPr/>
        </p:nvSpPr>
        <p:spPr>
          <a:xfrm>
            <a:off x="34603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4" name="CustomShape 26"/>
          <p:cNvSpPr/>
          <p:nvPr/>
        </p:nvSpPr>
        <p:spPr>
          <a:xfrm>
            <a:off x="37465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5" name="CustomShape 27"/>
          <p:cNvSpPr/>
          <p:nvPr/>
        </p:nvSpPr>
        <p:spPr>
          <a:xfrm>
            <a:off x="40330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6" name="CustomShape 28"/>
          <p:cNvSpPr/>
          <p:nvPr/>
        </p:nvSpPr>
        <p:spPr>
          <a:xfrm>
            <a:off x="43196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7" name="CustomShape 29"/>
          <p:cNvSpPr/>
          <p:nvPr/>
        </p:nvSpPr>
        <p:spPr>
          <a:xfrm>
            <a:off x="23148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8" name="CustomShape 30"/>
          <p:cNvSpPr/>
          <p:nvPr/>
        </p:nvSpPr>
        <p:spPr>
          <a:xfrm>
            <a:off x="26010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9" name="CustomShape 31"/>
          <p:cNvSpPr/>
          <p:nvPr/>
        </p:nvSpPr>
        <p:spPr>
          <a:xfrm>
            <a:off x="2887560" y="5279760"/>
            <a:ext cx="192960" cy="19296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750" name="CustomShape 32"/>
          <p:cNvSpPr/>
          <p:nvPr/>
        </p:nvSpPr>
        <p:spPr>
          <a:xfrm>
            <a:off x="3173760" y="5279760"/>
            <a:ext cx="192960" cy="19296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751" name="CustomShape 33"/>
          <p:cNvSpPr/>
          <p:nvPr/>
        </p:nvSpPr>
        <p:spPr>
          <a:xfrm>
            <a:off x="34603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2" name="CustomShape 34"/>
          <p:cNvSpPr/>
          <p:nvPr/>
        </p:nvSpPr>
        <p:spPr>
          <a:xfrm>
            <a:off x="37465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3" name="CustomShape 35"/>
          <p:cNvSpPr/>
          <p:nvPr/>
        </p:nvSpPr>
        <p:spPr>
          <a:xfrm>
            <a:off x="40330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4" name="CustomShape 36"/>
          <p:cNvSpPr/>
          <p:nvPr/>
        </p:nvSpPr>
        <p:spPr>
          <a:xfrm>
            <a:off x="43196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5" name="CustomShape 37"/>
          <p:cNvSpPr/>
          <p:nvPr/>
        </p:nvSpPr>
        <p:spPr>
          <a:xfrm>
            <a:off x="23148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6" name="CustomShape 38"/>
          <p:cNvSpPr/>
          <p:nvPr/>
        </p:nvSpPr>
        <p:spPr>
          <a:xfrm>
            <a:off x="26010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7" name="CustomShape 39"/>
          <p:cNvSpPr/>
          <p:nvPr/>
        </p:nvSpPr>
        <p:spPr>
          <a:xfrm>
            <a:off x="28875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8" name="CustomShape 40"/>
          <p:cNvSpPr/>
          <p:nvPr/>
        </p:nvSpPr>
        <p:spPr>
          <a:xfrm>
            <a:off x="31737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9" name="CustomShape 41"/>
          <p:cNvSpPr/>
          <p:nvPr/>
        </p:nvSpPr>
        <p:spPr>
          <a:xfrm>
            <a:off x="34603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0" name="CustomShape 42"/>
          <p:cNvSpPr/>
          <p:nvPr/>
        </p:nvSpPr>
        <p:spPr>
          <a:xfrm>
            <a:off x="37465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1" name="CustomShape 43"/>
          <p:cNvSpPr/>
          <p:nvPr/>
        </p:nvSpPr>
        <p:spPr>
          <a:xfrm>
            <a:off x="40330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2" name="CustomShape 44"/>
          <p:cNvSpPr/>
          <p:nvPr/>
        </p:nvSpPr>
        <p:spPr>
          <a:xfrm>
            <a:off x="43196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3" name="CustomShape 45"/>
          <p:cNvSpPr/>
          <p:nvPr/>
        </p:nvSpPr>
        <p:spPr>
          <a:xfrm>
            <a:off x="231480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4" name="CustomShape 46"/>
          <p:cNvSpPr/>
          <p:nvPr/>
        </p:nvSpPr>
        <p:spPr>
          <a:xfrm>
            <a:off x="260100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5" name="CustomShape 47"/>
          <p:cNvSpPr/>
          <p:nvPr/>
        </p:nvSpPr>
        <p:spPr>
          <a:xfrm>
            <a:off x="288756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766" name="CustomShape 48"/>
          <p:cNvSpPr/>
          <p:nvPr/>
        </p:nvSpPr>
        <p:spPr>
          <a:xfrm>
            <a:off x="317376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767" name="CustomShape 49"/>
          <p:cNvSpPr/>
          <p:nvPr/>
        </p:nvSpPr>
        <p:spPr>
          <a:xfrm>
            <a:off x="34603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8" name="CustomShape 50"/>
          <p:cNvSpPr/>
          <p:nvPr/>
        </p:nvSpPr>
        <p:spPr>
          <a:xfrm>
            <a:off x="37465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9" name="CustomShape 51"/>
          <p:cNvSpPr/>
          <p:nvPr/>
        </p:nvSpPr>
        <p:spPr>
          <a:xfrm>
            <a:off x="40330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0" name="CustomShape 52"/>
          <p:cNvSpPr/>
          <p:nvPr/>
        </p:nvSpPr>
        <p:spPr>
          <a:xfrm>
            <a:off x="43196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1" name="CustomShape 53"/>
          <p:cNvSpPr/>
          <p:nvPr/>
        </p:nvSpPr>
        <p:spPr>
          <a:xfrm>
            <a:off x="231480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2" name="CustomShape 54"/>
          <p:cNvSpPr/>
          <p:nvPr/>
        </p:nvSpPr>
        <p:spPr>
          <a:xfrm>
            <a:off x="260100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3" name="CustomShape 55"/>
          <p:cNvSpPr/>
          <p:nvPr/>
        </p:nvSpPr>
        <p:spPr>
          <a:xfrm>
            <a:off x="288756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774" name="CustomShape 56"/>
          <p:cNvSpPr/>
          <p:nvPr/>
        </p:nvSpPr>
        <p:spPr>
          <a:xfrm>
            <a:off x="317376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775" name="CustomShape 57"/>
          <p:cNvSpPr/>
          <p:nvPr/>
        </p:nvSpPr>
        <p:spPr>
          <a:xfrm>
            <a:off x="34603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6" name="CustomShape 58"/>
          <p:cNvSpPr/>
          <p:nvPr/>
        </p:nvSpPr>
        <p:spPr>
          <a:xfrm>
            <a:off x="37465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7" name="CustomShape 59"/>
          <p:cNvSpPr/>
          <p:nvPr/>
        </p:nvSpPr>
        <p:spPr>
          <a:xfrm>
            <a:off x="40330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8" name="CustomShape 60"/>
          <p:cNvSpPr/>
          <p:nvPr/>
        </p:nvSpPr>
        <p:spPr>
          <a:xfrm>
            <a:off x="43196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9" name="CustomShape 61"/>
          <p:cNvSpPr/>
          <p:nvPr/>
        </p:nvSpPr>
        <p:spPr>
          <a:xfrm>
            <a:off x="231480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0" name="CustomShape 62"/>
          <p:cNvSpPr/>
          <p:nvPr/>
        </p:nvSpPr>
        <p:spPr>
          <a:xfrm>
            <a:off x="260100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1" name="CustomShape 63"/>
          <p:cNvSpPr/>
          <p:nvPr/>
        </p:nvSpPr>
        <p:spPr>
          <a:xfrm>
            <a:off x="28875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2" name="CustomShape 64"/>
          <p:cNvSpPr/>
          <p:nvPr/>
        </p:nvSpPr>
        <p:spPr>
          <a:xfrm>
            <a:off x="31737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3" name="CustomShape 65"/>
          <p:cNvSpPr/>
          <p:nvPr/>
        </p:nvSpPr>
        <p:spPr>
          <a:xfrm>
            <a:off x="34603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4" name="CustomShape 66"/>
          <p:cNvSpPr/>
          <p:nvPr/>
        </p:nvSpPr>
        <p:spPr>
          <a:xfrm>
            <a:off x="37465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5" name="CustomShape 67"/>
          <p:cNvSpPr/>
          <p:nvPr/>
        </p:nvSpPr>
        <p:spPr>
          <a:xfrm>
            <a:off x="40330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6" name="CustomShape 68"/>
          <p:cNvSpPr/>
          <p:nvPr/>
        </p:nvSpPr>
        <p:spPr>
          <a:xfrm>
            <a:off x="43196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7" name="CustomShape 69"/>
          <p:cNvSpPr/>
          <p:nvPr/>
        </p:nvSpPr>
        <p:spPr>
          <a:xfrm>
            <a:off x="4602960" y="4464000"/>
            <a:ext cx="2370600" cy="210744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1788" name="CustomShape 70"/>
          <p:cNvSpPr/>
          <p:nvPr/>
        </p:nvSpPr>
        <p:spPr>
          <a:xfrm>
            <a:off x="46857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89" name="CustomShape 71"/>
          <p:cNvSpPr/>
          <p:nvPr/>
        </p:nvSpPr>
        <p:spPr>
          <a:xfrm>
            <a:off x="49723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0" name="CustomShape 72"/>
          <p:cNvSpPr/>
          <p:nvPr/>
        </p:nvSpPr>
        <p:spPr>
          <a:xfrm>
            <a:off x="52585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1" name="CustomShape 73"/>
          <p:cNvSpPr/>
          <p:nvPr/>
        </p:nvSpPr>
        <p:spPr>
          <a:xfrm>
            <a:off x="55450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2" name="CustomShape 74"/>
          <p:cNvSpPr/>
          <p:nvPr/>
        </p:nvSpPr>
        <p:spPr>
          <a:xfrm>
            <a:off x="58312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3" name="CustomShape 75"/>
          <p:cNvSpPr/>
          <p:nvPr/>
        </p:nvSpPr>
        <p:spPr>
          <a:xfrm>
            <a:off x="61178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4" name="CustomShape 76"/>
          <p:cNvSpPr/>
          <p:nvPr/>
        </p:nvSpPr>
        <p:spPr>
          <a:xfrm>
            <a:off x="64040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5" name="CustomShape 77"/>
          <p:cNvSpPr/>
          <p:nvPr/>
        </p:nvSpPr>
        <p:spPr>
          <a:xfrm>
            <a:off x="669060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6" name="CustomShape 78"/>
          <p:cNvSpPr/>
          <p:nvPr/>
        </p:nvSpPr>
        <p:spPr>
          <a:xfrm>
            <a:off x="46857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7" name="CustomShape 79"/>
          <p:cNvSpPr/>
          <p:nvPr/>
        </p:nvSpPr>
        <p:spPr>
          <a:xfrm>
            <a:off x="49723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8" name="CustomShape 80"/>
          <p:cNvSpPr/>
          <p:nvPr/>
        </p:nvSpPr>
        <p:spPr>
          <a:xfrm>
            <a:off x="52585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9" name="CustomShape 81"/>
          <p:cNvSpPr/>
          <p:nvPr/>
        </p:nvSpPr>
        <p:spPr>
          <a:xfrm>
            <a:off x="55450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0" name="CustomShape 82"/>
          <p:cNvSpPr/>
          <p:nvPr/>
        </p:nvSpPr>
        <p:spPr>
          <a:xfrm>
            <a:off x="58312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1" name="CustomShape 83"/>
          <p:cNvSpPr/>
          <p:nvPr/>
        </p:nvSpPr>
        <p:spPr>
          <a:xfrm>
            <a:off x="61178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2" name="CustomShape 84"/>
          <p:cNvSpPr/>
          <p:nvPr/>
        </p:nvSpPr>
        <p:spPr>
          <a:xfrm>
            <a:off x="64040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3" name="CustomShape 85"/>
          <p:cNvSpPr/>
          <p:nvPr/>
        </p:nvSpPr>
        <p:spPr>
          <a:xfrm>
            <a:off x="66906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4" name="CustomShape 86"/>
          <p:cNvSpPr/>
          <p:nvPr/>
        </p:nvSpPr>
        <p:spPr>
          <a:xfrm>
            <a:off x="46857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5" name="CustomShape 87"/>
          <p:cNvSpPr/>
          <p:nvPr/>
        </p:nvSpPr>
        <p:spPr>
          <a:xfrm>
            <a:off x="49723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6" name="CustomShape 88"/>
          <p:cNvSpPr/>
          <p:nvPr/>
        </p:nvSpPr>
        <p:spPr>
          <a:xfrm>
            <a:off x="52585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7" name="CustomShape 89"/>
          <p:cNvSpPr/>
          <p:nvPr/>
        </p:nvSpPr>
        <p:spPr>
          <a:xfrm>
            <a:off x="55450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8" name="CustomShape 90"/>
          <p:cNvSpPr/>
          <p:nvPr/>
        </p:nvSpPr>
        <p:spPr>
          <a:xfrm>
            <a:off x="58312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9" name="CustomShape 91"/>
          <p:cNvSpPr/>
          <p:nvPr/>
        </p:nvSpPr>
        <p:spPr>
          <a:xfrm>
            <a:off x="61178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0" name="CustomShape 92"/>
          <p:cNvSpPr/>
          <p:nvPr/>
        </p:nvSpPr>
        <p:spPr>
          <a:xfrm>
            <a:off x="64040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1" name="CustomShape 93"/>
          <p:cNvSpPr/>
          <p:nvPr/>
        </p:nvSpPr>
        <p:spPr>
          <a:xfrm>
            <a:off x="66906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2" name="CustomShape 94"/>
          <p:cNvSpPr/>
          <p:nvPr/>
        </p:nvSpPr>
        <p:spPr>
          <a:xfrm>
            <a:off x="46857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3" name="CustomShape 95"/>
          <p:cNvSpPr/>
          <p:nvPr/>
        </p:nvSpPr>
        <p:spPr>
          <a:xfrm>
            <a:off x="49723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4" name="CustomShape 96"/>
          <p:cNvSpPr/>
          <p:nvPr/>
        </p:nvSpPr>
        <p:spPr>
          <a:xfrm>
            <a:off x="52585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5" name="CustomShape 97"/>
          <p:cNvSpPr/>
          <p:nvPr/>
        </p:nvSpPr>
        <p:spPr>
          <a:xfrm>
            <a:off x="55450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6" name="CustomShape 98"/>
          <p:cNvSpPr/>
          <p:nvPr/>
        </p:nvSpPr>
        <p:spPr>
          <a:xfrm>
            <a:off x="58312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7" name="CustomShape 99"/>
          <p:cNvSpPr/>
          <p:nvPr/>
        </p:nvSpPr>
        <p:spPr>
          <a:xfrm>
            <a:off x="61178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8" name="CustomShape 100"/>
          <p:cNvSpPr/>
          <p:nvPr/>
        </p:nvSpPr>
        <p:spPr>
          <a:xfrm>
            <a:off x="64040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9" name="CustomShape 101"/>
          <p:cNvSpPr/>
          <p:nvPr/>
        </p:nvSpPr>
        <p:spPr>
          <a:xfrm>
            <a:off x="66906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0" name="CustomShape 102"/>
          <p:cNvSpPr/>
          <p:nvPr/>
        </p:nvSpPr>
        <p:spPr>
          <a:xfrm>
            <a:off x="46857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1" name="CustomShape 103"/>
          <p:cNvSpPr/>
          <p:nvPr/>
        </p:nvSpPr>
        <p:spPr>
          <a:xfrm>
            <a:off x="49723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2" name="CustomShape 104"/>
          <p:cNvSpPr/>
          <p:nvPr/>
        </p:nvSpPr>
        <p:spPr>
          <a:xfrm>
            <a:off x="52585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3" name="CustomShape 105"/>
          <p:cNvSpPr/>
          <p:nvPr/>
        </p:nvSpPr>
        <p:spPr>
          <a:xfrm>
            <a:off x="55450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4" name="CustomShape 106"/>
          <p:cNvSpPr/>
          <p:nvPr/>
        </p:nvSpPr>
        <p:spPr>
          <a:xfrm>
            <a:off x="58312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5" name="CustomShape 107"/>
          <p:cNvSpPr/>
          <p:nvPr/>
        </p:nvSpPr>
        <p:spPr>
          <a:xfrm>
            <a:off x="61178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6" name="CustomShape 108"/>
          <p:cNvSpPr/>
          <p:nvPr/>
        </p:nvSpPr>
        <p:spPr>
          <a:xfrm>
            <a:off x="64040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7" name="CustomShape 109"/>
          <p:cNvSpPr/>
          <p:nvPr/>
        </p:nvSpPr>
        <p:spPr>
          <a:xfrm>
            <a:off x="66906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8" name="CustomShape 110"/>
          <p:cNvSpPr/>
          <p:nvPr/>
        </p:nvSpPr>
        <p:spPr>
          <a:xfrm>
            <a:off x="468576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9" name="CustomShape 111"/>
          <p:cNvSpPr/>
          <p:nvPr/>
        </p:nvSpPr>
        <p:spPr>
          <a:xfrm>
            <a:off x="49723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0" name="CustomShape 112"/>
          <p:cNvSpPr/>
          <p:nvPr/>
        </p:nvSpPr>
        <p:spPr>
          <a:xfrm>
            <a:off x="52585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1" name="CustomShape 113"/>
          <p:cNvSpPr/>
          <p:nvPr/>
        </p:nvSpPr>
        <p:spPr>
          <a:xfrm>
            <a:off x="55450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2" name="CustomShape 114"/>
          <p:cNvSpPr/>
          <p:nvPr/>
        </p:nvSpPr>
        <p:spPr>
          <a:xfrm>
            <a:off x="58312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3" name="CustomShape 115"/>
          <p:cNvSpPr/>
          <p:nvPr/>
        </p:nvSpPr>
        <p:spPr>
          <a:xfrm>
            <a:off x="61178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4" name="CustomShape 116"/>
          <p:cNvSpPr/>
          <p:nvPr/>
        </p:nvSpPr>
        <p:spPr>
          <a:xfrm>
            <a:off x="640404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35" name="CustomShape 117"/>
          <p:cNvSpPr/>
          <p:nvPr/>
        </p:nvSpPr>
        <p:spPr>
          <a:xfrm>
            <a:off x="669060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36" name="CustomShape 118"/>
          <p:cNvSpPr/>
          <p:nvPr/>
        </p:nvSpPr>
        <p:spPr>
          <a:xfrm>
            <a:off x="468576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7" name="CustomShape 119"/>
          <p:cNvSpPr/>
          <p:nvPr/>
        </p:nvSpPr>
        <p:spPr>
          <a:xfrm>
            <a:off x="49723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8" name="CustomShape 120"/>
          <p:cNvSpPr/>
          <p:nvPr/>
        </p:nvSpPr>
        <p:spPr>
          <a:xfrm>
            <a:off x="52585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9" name="CustomShape 121"/>
          <p:cNvSpPr/>
          <p:nvPr/>
        </p:nvSpPr>
        <p:spPr>
          <a:xfrm>
            <a:off x="55450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40" name="CustomShape 122"/>
          <p:cNvSpPr/>
          <p:nvPr/>
        </p:nvSpPr>
        <p:spPr>
          <a:xfrm>
            <a:off x="58312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41" name="CustomShape 123"/>
          <p:cNvSpPr/>
          <p:nvPr/>
        </p:nvSpPr>
        <p:spPr>
          <a:xfrm>
            <a:off x="61178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42" name="CustomShape 124"/>
          <p:cNvSpPr/>
          <p:nvPr/>
        </p:nvSpPr>
        <p:spPr>
          <a:xfrm>
            <a:off x="640404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43" name="CustomShape 125"/>
          <p:cNvSpPr/>
          <p:nvPr/>
        </p:nvSpPr>
        <p:spPr>
          <a:xfrm>
            <a:off x="669060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44" name="CustomShape 126"/>
          <p:cNvSpPr/>
          <p:nvPr/>
        </p:nvSpPr>
        <p:spPr>
          <a:xfrm>
            <a:off x="46857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5" name="CustomShape 127"/>
          <p:cNvSpPr/>
          <p:nvPr/>
        </p:nvSpPr>
        <p:spPr>
          <a:xfrm>
            <a:off x="49723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6" name="CustomShape 128"/>
          <p:cNvSpPr/>
          <p:nvPr/>
        </p:nvSpPr>
        <p:spPr>
          <a:xfrm>
            <a:off x="52585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7" name="CustomShape 129"/>
          <p:cNvSpPr/>
          <p:nvPr/>
        </p:nvSpPr>
        <p:spPr>
          <a:xfrm>
            <a:off x="55450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8" name="CustomShape 130"/>
          <p:cNvSpPr/>
          <p:nvPr/>
        </p:nvSpPr>
        <p:spPr>
          <a:xfrm>
            <a:off x="58312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9" name="CustomShape 131"/>
          <p:cNvSpPr/>
          <p:nvPr/>
        </p:nvSpPr>
        <p:spPr>
          <a:xfrm>
            <a:off x="61178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50" name="CustomShape 132"/>
          <p:cNvSpPr/>
          <p:nvPr/>
        </p:nvSpPr>
        <p:spPr>
          <a:xfrm>
            <a:off x="64040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51" name="CustomShape 133"/>
          <p:cNvSpPr/>
          <p:nvPr/>
        </p:nvSpPr>
        <p:spPr>
          <a:xfrm>
            <a:off x="669060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52" name="CustomShape 134"/>
          <p:cNvSpPr/>
          <p:nvPr/>
        </p:nvSpPr>
        <p:spPr>
          <a:xfrm>
            <a:off x="6973560" y="4464000"/>
            <a:ext cx="2370600" cy="210744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1853" name="CustomShape 135"/>
          <p:cNvSpPr/>
          <p:nvPr/>
        </p:nvSpPr>
        <p:spPr>
          <a:xfrm>
            <a:off x="70567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4" name="CustomShape 136"/>
          <p:cNvSpPr/>
          <p:nvPr/>
        </p:nvSpPr>
        <p:spPr>
          <a:xfrm>
            <a:off x="73432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5" name="CustomShape 137"/>
          <p:cNvSpPr/>
          <p:nvPr/>
        </p:nvSpPr>
        <p:spPr>
          <a:xfrm>
            <a:off x="76294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6" name="CustomShape 138"/>
          <p:cNvSpPr/>
          <p:nvPr/>
        </p:nvSpPr>
        <p:spPr>
          <a:xfrm>
            <a:off x="79160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7" name="CustomShape 139"/>
          <p:cNvSpPr/>
          <p:nvPr/>
        </p:nvSpPr>
        <p:spPr>
          <a:xfrm>
            <a:off x="82022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8" name="CustomShape 140"/>
          <p:cNvSpPr/>
          <p:nvPr/>
        </p:nvSpPr>
        <p:spPr>
          <a:xfrm>
            <a:off x="848880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9" name="CustomShape 141"/>
          <p:cNvSpPr/>
          <p:nvPr/>
        </p:nvSpPr>
        <p:spPr>
          <a:xfrm>
            <a:off x="87753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0" name="CustomShape 142"/>
          <p:cNvSpPr/>
          <p:nvPr/>
        </p:nvSpPr>
        <p:spPr>
          <a:xfrm>
            <a:off x="90615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1" name="CustomShape 143"/>
          <p:cNvSpPr/>
          <p:nvPr/>
        </p:nvSpPr>
        <p:spPr>
          <a:xfrm>
            <a:off x="70567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2" name="CustomShape 144"/>
          <p:cNvSpPr/>
          <p:nvPr/>
        </p:nvSpPr>
        <p:spPr>
          <a:xfrm>
            <a:off x="73432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3" name="CustomShape 145"/>
          <p:cNvSpPr/>
          <p:nvPr/>
        </p:nvSpPr>
        <p:spPr>
          <a:xfrm>
            <a:off x="76294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4" name="CustomShape 146"/>
          <p:cNvSpPr/>
          <p:nvPr/>
        </p:nvSpPr>
        <p:spPr>
          <a:xfrm>
            <a:off x="79160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5" name="CustomShape 147"/>
          <p:cNvSpPr/>
          <p:nvPr/>
        </p:nvSpPr>
        <p:spPr>
          <a:xfrm>
            <a:off x="82022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6" name="CustomShape 148"/>
          <p:cNvSpPr/>
          <p:nvPr/>
        </p:nvSpPr>
        <p:spPr>
          <a:xfrm>
            <a:off x="84888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7" name="CustomShape 149"/>
          <p:cNvSpPr/>
          <p:nvPr/>
        </p:nvSpPr>
        <p:spPr>
          <a:xfrm>
            <a:off x="87753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8" name="CustomShape 150"/>
          <p:cNvSpPr/>
          <p:nvPr/>
        </p:nvSpPr>
        <p:spPr>
          <a:xfrm>
            <a:off x="90615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9" name="CustomShape 151"/>
          <p:cNvSpPr/>
          <p:nvPr/>
        </p:nvSpPr>
        <p:spPr>
          <a:xfrm>
            <a:off x="70567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0" name="CustomShape 152"/>
          <p:cNvSpPr/>
          <p:nvPr/>
        </p:nvSpPr>
        <p:spPr>
          <a:xfrm>
            <a:off x="73432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1" name="CustomShape 153"/>
          <p:cNvSpPr/>
          <p:nvPr/>
        </p:nvSpPr>
        <p:spPr>
          <a:xfrm>
            <a:off x="76294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2" name="CustomShape 154"/>
          <p:cNvSpPr/>
          <p:nvPr/>
        </p:nvSpPr>
        <p:spPr>
          <a:xfrm>
            <a:off x="79160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3" name="CustomShape 155"/>
          <p:cNvSpPr/>
          <p:nvPr/>
        </p:nvSpPr>
        <p:spPr>
          <a:xfrm>
            <a:off x="82022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4" name="CustomShape 156"/>
          <p:cNvSpPr/>
          <p:nvPr/>
        </p:nvSpPr>
        <p:spPr>
          <a:xfrm>
            <a:off x="84888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5" name="CustomShape 157"/>
          <p:cNvSpPr/>
          <p:nvPr/>
        </p:nvSpPr>
        <p:spPr>
          <a:xfrm>
            <a:off x="87753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6" name="CustomShape 158"/>
          <p:cNvSpPr/>
          <p:nvPr/>
        </p:nvSpPr>
        <p:spPr>
          <a:xfrm>
            <a:off x="90615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7" name="CustomShape 159"/>
          <p:cNvSpPr/>
          <p:nvPr/>
        </p:nvSpPr>
        <p:spPr>
          <a:xfrm>
            <a:off x="70567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8" name="CustomShape 160"/>
          <p:cNvSpPr/>
          <p:nvPr/>
        </p:nvSpPr>
        <p:spPr>
          <a:xfrm>
            <a:off x="73432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9" name="CustomShape 161"/>
          <p:cNvSpPr/>
          <p:nvPr/>
        </p:nvSpPr>
        <p:spPr>
          <a:xfrm>
            <a:off x="76294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0" name="CustomShape 162"/>
          <p:cNvSpPr/>
          <p:nvPr/>
        </p:nvSpPr>
        <p:spPr>
          <a:xfrm>
            <a:off x="79160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1" name="CustomShape 163"/>
          <p:cNvSpPr/>
          <p:nvPr/>
        </p:nvSpPr>
        <p:spPr>
          <a:xfrm>
            <a:off x="82022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2" name="CustomShape 164"/>
          <p:cNvSpPr/>
          <p:nvPr/>
        </p:nvSpPr>
        <p:spPr>
          <a:xfrm>
            <a:off x="84888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3" name="CustomShape 165"/>
          <p:cNvSpPr/>
          <p:nvPr/>
        </p:nvSpPr>
        <p:spPr>
          <a:xfrm>
            <a:off x="87753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4" name="CustomShape 166"/>
          <p:cNvSpPr/>
          <p:nvPr/>
        </p:nvSpPr>
        <p:spPr>
          <a:xfrm>
            <a:off x="90615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5" name="CustomShape 167"/>
          <p:cNvSpPr/>
          <p:nvPr/>
        </p:nvSpPr>
        <p:spPr>
          <a:xfrm>
            <a:off x="70567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6" name="CustomShape 168"/>
          <p:cNvSpPr/>
          <p:nvPr/>
        </p:nvSpPr>
        <p:spPr>
          <a:xfrm>
            <a:off x="73432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7" name="CustomShape 169"/>
          <p:cNvSpPr/>
          <p:nvPr/>
        </p:nvSpPr>
        <p:spPr>
          <a:xfrm>
            <a:off x="76294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8" name="CustomShape 170"/>
          <p:cNvSpPr/>
          <p:nvPr/>
        </p:nvSpPr>
        <p:spPr>
          <a:xfrm>
            <a:off x="79160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9" name="CustomShape 171"/>
          <p:cNvSpPr/>
          <p:nvPr/>
        </p:nvSpPr>
        <p:spPr>
          <a:xfrm>
            <a:off x="82022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0" name="CustomShape 172"/>
          <p:cNvSpPr/>
          <p:nvPr/>
        </p:nvSpPr>
        <p:spPr>
          <a:xfrm>
            <a:off x="84888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1" name="CustomShape 173"/>
          <p:cNvSpPr/>
          <p:nvPr/>
        </p:nvSpPr>
        <p:spPr>
          <a:xfrm>
            <a:off x="87753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2" name="CustomShape 174"/>
          <p:cNvSpPr/>
          <p:nvPr/>
        </p:nvSpPr>
        <p:spPr>
          <a:xfrm>
            <a:off x="90615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3" name="CustomShape 175"/>
          <p:cNvSpPr/>
          <p:nvPr/>
        </p:nvSpPr>
        <p:spPr>
          <a:xfrm>
            <a:off x="70567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4" name="CustomShape 176"/>
          <p:cNvSpPr/>
          <p:nvPr/>
        </p:nvSpPr>
        <p:spPr>
          <a:xfrm>
            <a:off x="73432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5" name="CustomShape 177"/>
          <p:cNvSpPr/>
          <p:nvPr/>
        </p:nvSpPr>
        <p:spPr>
          <a:xfrm>
            <a:off x="76294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6" name="CustomShape 178"/>
          <p:cNvSpPr/>
          <p:nvPr/>
        </p:nvSpPr>
        <p:spPr>
          <a:xfrm>
            <a:off x="79160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7" name="CustomShape 179"/>
          <p:cNvSpPr/>
          <p:nvPr/>
        </p:nvSpPr>
        <p:spPr>
          <a:xfrm>
            <a:off x="82022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8" name="CustomShape 180"/>
          <p:cNvSpPr/>
          <p:nvPr/>
        </p:nvSpPr>
        <p:spPr>
          <a:xfrm>
            <a:off x="848880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9" name="CustomShape 181"/>
          <p:cNvSpPr/>
          <p:nvPr/>
        </p:nvSpPr>
        <p:spPr>
          <a:xfrm>
            <a:off x="877536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900" name="CustomShape 182"/>
          <p:cNvSpPr/>
          <p:nvPr/>
        </p:nvSpPr>
        <p:spPr>
          <a:xfrm>
            <a:off x="906156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901" name="CustomShape 183"/>
          <p:cNvSpPr/>
          <p:nvPr/>
        </p:nvSpPr>
        <p:spPr>
          <a:xfrm>
            <a:off x="70567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2" name="CustomShape 184"/>
          <p:cNvSpPr/>
          <p:nvPr/>
        </p:nvSpPr>
        <p:spPr>
          <a:xfrm>
            <a:off x="73432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3" name="CustomShape 185"/>
          <p:cNvSpPr/>
          <p:nvPr/>
        </p:nvSpPr>
        <p:spPr>
          <a:xfrm>
            <a:off x="76294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4" name="CustomShape 186"/>
          <p:cNvSpPr/>
          <p:nvPr/>
        </p:nvSpPr>
        <p:spPr>
          <a:xfrm>
            <a:off x="79160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5" name="CustomShape 187"/>
          <p:cNvSpPr/>
          <p:nvPr/>
        </p:nvSpPr>
        <p:spPr>
          <a:xfrm>
            <a:off x="82022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6" name="CustomShape 188"/>
          <p:cNvSpPr/>
          <p:nvPr/>
        </p:nvSpPr>
        <p:spPr>
          <a:xfrm>
            <a:off x="848880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7" name="CustomShape 189"/>
          <p:cNvSpPr/>
          <p:nvPr/>
        </p:nvSpPr>
        <p:spPr>
          <a:xfrm>
            <a:off x="877536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908" name="CustomShape 190"/>
          <p:cNvSpPr/>
          <p:nvPr/>
        </p:nvSpPr>
        <p:spPr>
          <a:xfrm>
            <a:off x="906156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909" name="CustomShape 191"/>
          <p:cNvSpPr/>
          <p:nvPr/>
        </p:nvSpPr>
        <p:spPr>
          <a:xfrm>
            <a:off x="70567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0" name="CustomShape 192"/>
          <p:cNvSpPr/>
          <p:nvPr/>
        </p:nvSpPr>
        <p:spPr>
          <a:xfrm>
            <a:off x="73432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1" name="CustomShape 193"/>
          <p:cNvSpPr/>
          <p:nvPr/>
        </p:nvSpPr>
        <p:spPr>
          <a:xfrm>
            <a:off x="76294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2" name="CustomShape 194"/>
          <p:cNvSpPr/>
          <p:nvPr/>
        </p:nvSpPr>
        <p:spPr>
          <a:xfrm>
            <a:off x="79160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3" name="CustomShape 195"/>
          <p:cNvSpPr/>
          <p:nvPr/>
        </p:nvSpPr>
        <p:spPr>
          <a:xfrm>
            <a:off x="82022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4" name="CustomShape 196"/>
          <p:cNvSpPr/>
          <p:nvPr/>
        </p:nvSpPr>
        <p:spPr>
          <a:xfrm>
            <a:off x="848880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5" name="CustomShape 197"/>
          <p:cNvSpPr/>
          <p:nvPr/>
        </p:nvSpPr>
        <p:spPr>
          <a:xfrm>
            <a:off x="87753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6" name="CustomShape 198"/>
          <p:cNvSpPr/>
          <p:nvPr/>
        </p:nvSpPr>
        <p:spPr>
          <a:xfrm>
            <a:off x="90615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201" name="Rectangle 200">
            <a:extLst>
              <a:ext uri="{FF2B5EF4-FFF2-40B4-BE49-F238E27FC236}">
                <a16:creationId xmlns:a16="http://schemas.microsoft.com/office/drawing/2014/main" id="{3E4AEA8D-533C-45FE-BFFB-3E8133B8641B}"/>
              </a:ext>
            </a:extLst>
          </p:cNvPr>
          <p:cNvSpPr/>
          <p:nvPr/>
        </p:nvSpPr>
        <p:spPr>
          <a:xfrm>
            <a:off x="11277600" y="309217"/>
            <a:ext cx="649357" cy="592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2580212704"/>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718" name="Picture 7"/>
          <p:cNvPicPr/>
          <p:nvPr/>
        </p:nvPicPr>
        <p:blipFill>
          <a:blip r:embed="rId2"/>
          <a:stretch/>
        </p:blipFill>
        <p:spPr>
          <a:xfrm>
            <a:off x="6129360" y="1566720"/>
            <a:ext cx="5304960" cy="1802880"/>
          </a:xfrm>
          <a:prstGeom prst="rect">
            <a:avLst/>
          </a:prstGeom>
          <a:ln>
            <a:solidFill>
              <a:schemeClr val="tx1"/>
            </a:solidFill>
          </a:ln>
        </p:spPr>
      </p:pic>
      <p:sp>
        <p:nvSpPr>
          <p:cNvPr id="1719" name="CustomShape 1"/>
          <p:cNvSpPr/>
          <p:nvPr/>
        </p:nvSpPr>
        <p:spPr>
          <a:xfrm>
            <a:off x="479520" y="1566720"/>
            <a:ext cx="5471640" cy="5151600"/>
          </a:xfrm>
          <a:prstGeom prst="rect">
            <a:avLst/>
          </a:prstGeom>
          <a:noFill/>
          <a:ln>
            <a:noFill/>
          </a:ln>
        </p:spPr>
        <p:style>
          <a:lnRef idx="0">
            <a:scrgbClr r="0" g="0" b="0"/>
          </a:lnRef>
          <a:fillRef idx="0">
            <a:scrgbClr r="0" g="0" b="0"/>
          </a:fillRef>
          <a:effectRef idx="0">
            <a:scrgbClr r="0" g="0" b="0"/>
          </a:effectRef>
          <a:fontRef idx="minor"/>
        </p:style>
        <p:txBody>
          <a:bodyPr lIns="72000" tIns="36000" rIns="72000" bIns="36000"/>
          <a:lstStyle/>
          <a:p>
            <a:pPr>
              <a:lnSpc>
                <a:spcPct val="100000"/>
              </a:lnSpc>
              <a:spcBef>
                <a:spcPts val="799"/>
              </a:spcBef>
            </a:pPr>
            <a:r>
              <a:rPr lang="sv-SE" sz="1200" b="0" strike="noStrike" spc="-29">
                <a:solidFill>
                  <a:srgbClr val="181818"/>
                </a:solidFill>
                <a:uFill>
                  <a:solidFill>
                    <a:srgbClr val="FFFFFF"/>
                  </a:solidFill>
                </a:uFill>
                <a:latin typeface="Ericsson Hilda"/>
              </a:rPr>
              <a:t>Deployment</a:t>
            </a:r>
            <a:endParaRPr lang="sv-SE" sz="1200" b="0" strike="noStrike" spc="-1">
              <a:solidFill>
                <a:srgbClr val="000000"/>
              </a:solidFill>
              <a:uFill>
                <a:solidFill>
                  <a:srgbClr val="FFFFFF"/>
                </a:solidFill>
              </a:uFill>
              <a:latin typeface="Arial"/>
            </a:endParaRPr>
          </a:p>
          <a:p>
            <a:pPr>
              <a:lnSpc>
                <a:spcPct val="100000"/>
              </a:lnSpc>
              <a:spcBef>
                <a:spcPts val="799"/>
              </a:spcBef>
            </a:pP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r>
              <a:rPr lang="sv-SE" sz="1200" b="0" strike="noStrike" spc="-29">
                <a:solidFill>
                  <a:srgbClr val="181818"/>
                </a:solidFill>
                <a:uFill>
                  <a:solidFill>
                    <a:srgbClr val="FFFFFF"/>
                  </a:solidFill>
                </a:uFill>
                <a:latin typeface="Ericsson Hilda"/>
              </a:rPr>
              <a:t>Relevant information för varje pixel finns I VRAM</a:t>
            </a: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r>
              <a:rPr lang="sv-SE" sz="1200" b="0" strike="noStrike" spc="-29">
                <a:solidFill>
                  <a:srgbClr val="181818"/>
                </a:solidFill>
                <a:uFill>
                  <a:solidFill>
                    <a:srgbClr val="FFFFFF"/>
                  </a:solidFill>
                </a:uFill>
                <a:latin typeface="Ericsson Hilda"/>
              </a:rPr>
              <a:t>Addressering</a:t>
            </a: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r>
              <a:rPr lang="sv-SE" sz="1200" b="0" strike="noStrike" spc="-29">
                <a:solidFill>
                  <a:srgbClr val="181818"/>
                </a:solidFill>
                <a:uFill>
                  <a:solidFill>
                    <a:srgbClr val="FFFFFF"/>
                  </a:solidFill>
                </a:uFill>
                <a:latin typeface="Ericsson Hilda"/>
              </a:rPr>
              <a:t>Verkställande arbete </a:t>
            </a:r>
            <a:endParaRPr lang="sv-SE" sz="1200" b="0" strike="noStrike" spc="-1">
              <a:solidFill>
                <a:srgbClr val="000000"/>
              </a:solidFill>
              <a:uFill>
                <a:solidFill>
                  <a:srgbClr val="FFFFFF"/>
                </a:solidFill>
              </a:uFill>
              <a:latin typeface="Arial"/>
            </a:endParaRPr>
          </a:p>
          <a:p>
            <a:pPr>
              <a:lnSpc>
                <a:spcPct val="100000"/>
              </a:lnSpc>
              <a:spcBef>
                <a:spcPts val="799"/>
              </a:spcBef>
            </a:pPr>
            <a:endParaRPr lang="sv-SE" sz="1200" b="0" strike="noStrike" spc="-1">
              <a:solidFill>
                <a:srgbClr val="000000"/>
              </a:solidFill>
              <a:uFill>
                <a:solidFill>
                  <a:srgbClr val="FFFFFF"/>
                </a:solidFill>
              </a:uFill>
              <a:latin typeface="Arial"/>
            </a:endParaRPr>
          </a:p>
        </p:txBody>
      </p:sp>
      <p:sp>
        <p:nvSpPr>
          <p:cNvPr id="1720" name="TextShape 2"/>
          <p:cNvSpPr txBox="1"/>
          <p:nvPr/>
        </p:nvSpPr>
        <p:spPr>
          <a:xfrm>
            <a:off x="479520" y="476280"/>
            <a:ext cx="5471640" cy="716400"/>
          </a:xfrm>
          <a:prstGeom prst="rect">
            <a:avLst/>
          </a:prstGeom>
          <a:noFill/>
          <a:ln w="9360">
            <a:noFill/>
          </a:ln>
        </p:spPr>
        <p:txBody>
          <a:bodyPr lIns="72000" tIns="36000" rIns="73080" bIns="36720">
            <a:normAutofit/>
          </a:bodyPr>
          <a:lstStyle/>
          <a:p>
            <a:pPr>
              <a:lnSpc>
                <a:spcPct val="100000"/>
              </a:lnSpc>
              <a:spcBef>
                <a:spcPts val="300"/>
              </a:spcBef>
            </a:pPr>
            <a:r>
              <a:rPr lang="en-US" sz="4000" b="0" strike="noStrike" spc="-157">
                <a:solidFill>
                  <a:srgbClr val="181818"/>
                </a:solidFill>
                <a:uFill>
                  <a:solidFill>
                    <a:srgbClr val="FFFFFF"/>
                  </a:solidFill>
                </a:uFill>
                <a:latin typeface="Ericsson Hilda Light"/>
              </a:rPr>
              <a:t>Addressering av pixlar</a:t>
            </a:r>
            <a:endParaRPr lang="en-US" sz="4000" b="0" strike="noStrike" spc="-1">
              <a:solidFill>
                <a:srgbClr val="181818"/>
              </a:solidFill>
              <a:uFill>
                <a:solidFill>
                  <a:srgbClr val="FFFFFF"/>
                </a:solidFill>
              </a:uFill>
              <a:latin typeface="Ericsson Hilda"/>
            </a:endParaRPr>
          </a:p>
        </p:txBody>
      </p:sp>
      <p:sp>
        <p:nvSpPr>
          <p:cNvPr id="1721" name="CustomShape 3"/>
          <p:cNvSpPr/>
          <p:nvPr/>
        </p:nvSpPr>
        <p:spPr>
          <a:xfrm>
            <a:off x="8286840" y="1109520"/>
            <a:ext cx="914040" cy="914040"/>
          </a:xfrm>
          <a:prstGeom prst="rect">
            <a:avLst/>
          </a:prstGeom>
          <a:noFill/>
          <a:ln w="12600">
            <a:noFill/>
          </a:ln>
        </p:spPr>
        <p:style>
          <a:lnRef idx="0">
            <a:scrgbClr r="0" g="0" b="0"/>
          </a:lnRef>
          <a:fillRef idx="0">
            <a:scrgbClr r="0" g="0" b="0"/>
          </a:fillRef>
          <a:effectRef idx="0">
            <a:scrgbClr r="0" g="0" b="0"/>
          </a:effectRef>
          <a:fontRef idx="minor"/>
        </p:style>
        <p:txBody>
          <a:bodyPr wrap="none" lIns="72000" tIns="36000" rIns="73080" bIns="36720"/>
          <a:lstStyle/>
          <a:p>
            <a:pPr>
              <a:lnSpc>
                <a:spcPct val="100000"/>
              </a:lnSpc>
            </a:pPr>
            <a:r>
              <a:rPr lang="sv-SE" sz="2000" b="0" strike="noStrike" spc="-1">
                <a:solidFill>
                  <a:srgbClr val="181818"/>
                </a:solidFill>
                <a:uFill>
                  <a:solidFill>
                    <a:srgbClr val="FFFFFF"/>
                  </a:solidFill>
                </a:uFill>
                <a:latin typeface="Ericsson Hilda"/>
              </a:rPr>
              <a:t>VRAM</a:t>
            </a:r>
            <a:endParaRPr lang="sv-SE" sz="2000" b="0" strike="noStrike" spc="-1">
              <a:solidFill>
                <a:srgbClr val="000000"/>
              </a:solidFill>
              <a:uFill>
                <a:solidFill>
                  <a:srgbClr val="FFFFFF"/>
                </a:solidFill>
              </a:uFill>
              <a:latin typeface="Arial"/>
            </a:endParaRPr>
          </a:p>
        </p:txBody>
      </p:sp>
      <p:sp>
        <p:nvSpPr>
          <p:cNvPr id="1722" name="CustomShape 4"/>
          <p:cNvSpPr/>
          <p:nvPr/>
        </p:nvSpPr>
        <p:spPr>
          <a:xfrm>
            <a:off x="2232000" y="4464000"/>
            <a:ext cx="2370600" cy="210744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1723" name="CustomShape 5"/>
          <p:cNvSpPr/>
          <p:nvPr/>
        </p:nvSpPr>
        <p:spPr>
          <a:xfrm>
            <a:off x="231480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4" name="CustomShape 6"/>
          <p:cNvSpPr/>
          <p:nvPr/>
        </p:nvSpPr>
        <p:spPr>
          <a:xfrm>
            <a:off x="2559240" y="4497480"/>
            <a:ext cx="234720" cy="21600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5" name="CustomShape 7"/>
          <p:cNvSpPr/>
          <p:nvPr/>
        </p:nvSpPr>
        <p:spPr>
          <a:xfrm>
            <a:off x="28875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6" name="CustomShape 8"/>
          <p:cNvSpPr/>
          <p:nvPr/>
        </p:nvSpPr>
        <p:spPr>
          <a:xfrm>
            <a:off x="31737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7" name="CustomShape 9"/>
          <p:cNvSpPr/>
          <p:nvPr/>
        </p:nvSpPr>
        <p:spPr>
          <a:xfrm>
            <a:off x="34603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8" name="CustomShape 10"/>
          <p:cNvSpPr/>
          <p:nvPr/>
        </p:nvSpPr>
        <p:spPr>
          <a:xfrm>
            <a:off x="37465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9" name="CustomShape 11"/>
          <p:cNvSpPr/>
          <p:nvPr/>
        </p:nvSpPr>
        <p:spPr>
          <a:xfrm>
            <a:off x="40330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0" name="CustomShape 12"/>
          <p:cNvSpPr/>
          <p:nvPr/>
        </p:nvSpPr>
        <p:spPr>
          <a:xfrm>
            <a:off x="43196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1" name="CustomShape 13"/>
          <p:cNvSpPr/>
          <p:nvPr/>
        </p:nvSpPr>
        <p:spPr>
          <a:xfrm>
            <a:off x="23148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2" name="CustomShape 14"/>
          <p:cNvSpPr/>
          <p:nvPr/>
        </p:nvSpPr>
        <p:spPr>
          <a:xfrm>
            <a:off x="26010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3" name="CustomShape 15"/>
          <p:cNvSpPr/>
          <p:nvPr/>
        </p:nvSpPr>
        <p:spPr>
          <a:xfrm>
            <a:off x="2887560" y="4773600"/>
            <a:ext cx="192960" cy="19296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734" name="CustomShape 16"/>
          <p:cNvSpPr/>
          <p:nvPr/>
        </p:nvSpPr>
        <p:spPr>
          <a:xfrm>
            <a:off x="3173760" y="4773600"/>
            <a:ext cx="192960" cy="19296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735" name="CustomShape 17"/>
          <p:cNvSpPr/>
          <p:nvPr/>
        </p:nvSpPr>
        <p:spPr>
          <a:xfrm>
            <a:off x="34603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6" name="CustomShape 18"/>
          <p:cNvSpPr/>
          <p:nvPr/>
        </p:nvSpPr>
        <p:spPr>
          <a:xfrm>
            <a:off x="37465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7" name="CustomShape 19"/>
          <p:cNvSpPr/>
          <p:nvPr/>
        </p:nvSpPr>
        <p:spPr>
          <a:xfrm>
            <a:off x="40330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8" name="CustomShape 20"/>
          <p:cNvSpPr/>
          <p:nvPr/>
        </p:nvSpPr>
        <p:spPr>
          <a:xfrm>
            <a:off x="43196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9" name="CustomShape 21"/>
          <p:cNvSpPr/>
          <p:nvPr/>
        </p:nvSpPr>
        <p:spPr>
          <a:xfrm>
            <a:off x="23148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0" name="CustomShape 22"/>
          <p:cNvSpPr/>
          <p:nvPr/>
        </p:nvSpPr>
        <p:spPr>
          <a:xfrm>
            <a:off x="26010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1" name="CustomShape 23"/>
          <p:cNvSpPr/>
          <p:nvPr/>
        </p:nvSpPr>
        <p:spPr>
          <a:xfrm>
            <a:off x="2887560" y="5026680"/>
            <a:ext cx="192960" cy="19296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742" name="CustomShape 24"/>
          <p:cNvSpPr/>
          <p:nvPr/>
        </p:nvSpPr>
        <p:spPr>
          <a:xfrm>
            <a:off x="3173760" y="5026680"/>
            <a:ext cx="192960" cy="19296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743" name="CustomShape 25"/>
          <p:cNvSpPr/>
          <p:nvPr/>
        </p:nvSpPr>
        <p:spPr>
          <a:xfrm>
            <a:off x="34603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4" name="CustomShape 26"/>
          <p:cNvSpPr/>
          <p:nvPr/>
        </p:nvSpPr>
        <p:spPr>
          <a:xfrm>
            <a:off x="37465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5" name="CustomShape 27"/>
          <p:cNvSpPr/>
          <p:nvPr/>
        </p:nvSpPr>
        <p:spPr>
          <a:xfrm>
            <a:off x="40330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6" name="CustomShape 28"/>
          <p:cNvSpPr/>
          <p:nvPr/>
        </p:nvSpPr>
        <p:spPr>
          <a:xfrm>
            <a:off x="43196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7" name="CustomShape 29"/>
          <p:cNvSpPr/>
          <p:nvPr/>
        </p:nvSpPr>
        <p:spPr>
          <a:xfrm>
            <a:off x="23148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8" name="CustomShape 30"/>
          <p:cNvSpPr/>
          <p:nvPr/>
        </p:nvSpPr>
        <p:spPr>
          <a:xfrm>
            <a:off x="26010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9" name="CustomShape 31"/>
          <p:cNvSpPr/>
          <p:nvPr/>
        </p:nvSpPr>
        <p:spPr>
          <a:xfrm>
            <a:off x="2887560" y="5279760"/>
            <a:ext cx="192960" cy="19296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750" name="CustomShape 32"/>
          <p:cNvSpPr/>
          <p:nvPr/>
        </p:nvSpPr>
        <p:spPr>
          <a:xfrm>
            <a:off x="3173760" y="5279760"/>
            <a:ext cx="192960" cy="19296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751" name="CustomShape 33"/>
          <p:cNvSpPr/>
          <p:nvPr/>
        </p:nvSpPr>
        <p:spPr>
          <a:xfrm>
            <a:off x="34603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2" name="CustomShape 34"/>
          <p:cNvSpPr/>
          <p:nvPr/>
        </p:nvSpPr>
        <p:spPr>
          <a:xfrm>
            <a:off x="37465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3" name="CustomShape 35"/>
          <p:cNvSpPr/>
          <p:nvPr/>
        </p:nvSpPr>
        <p:spPr>
          <a:xfrm>
            <a:off x="40330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4" name="CustomShape 36"/>
          <p:cNvSpPr/>
          <p:nvPr/>
        </p:nvSpPr>
        <p:spPr>
          <a:xfrm>
            <a:off x="43196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5" name="CustomShape 37"/>
          <p:cNvSpPr/>
          <p:nvPr/>
        </p:nvSpPr>
        <p:spPr>
          <a:xfrm>
            <a:off x="23148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6" name="CustomShape 38"/>
          <p:cNvSpPr/>
          <p:nvPr/>
        </p:nvSpPr>
        <p:spPr>
          <a:xfrm>
            <a:off x="26010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7" name="CustomShape 39"/>
          <p:cNvSpPr/>
          <p:nvPr/>
        </p:nvSpPr>
        <p:spPr>
          <a:xfrm>
            <a:off x="28875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8" name="CustomShape 40"/>
          <p:cNvSpPr/>
          <p:nvPr/>
        </p:nvSpPr>
        <p:spPr>
          <a:xfrm>
            <a:off x="31737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9" name="CustomShape 41"/>
          <p:cNvSpPr/>
          <p:nvPr/>
        </p:nvSpPr>
        <p:spPr>
          <a:xfrm>
            <a:off x="34603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0" name="CustomShape 42"/>
          <p:cNvSpPr/>
          <p:nvPr/>
        </p:nvSpPr>
        <p:spPr>
          <a:xfrm>
            <a:off x="37465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1" name="CustomShape 43"/>
          <p:cNvSpPr/>
          <p:nvPr/>
        </p:nvSpPr>
        <p:spPr>
          <a:xfrm>
            <a:off x="40330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2" name="CustomShape 44"/>
          <p:cNvSpPr/>
          <p:nvPr/>
        </p:nvSpPr>
        <p:spPr>
          <a:xfrm>
            <a:off x="43196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3" name="CustomShape 45"/>
          <p:cNvSpPr/>
          <p:nvPr/>
        </p:nvSpPr>
        <p:spPr>
          <a:xfrm>
            <a:off x="231480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764" name="CustomShape 46"/>
          <p:cNvSpPr/>
          <p:nvPr/>
        </p:nvSpPr>
        <p:spPr>
          <a:xfrm>
            <a:off x="260100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765" name="CustomShape 47"/>
          <p:cNvSpPr/>
          <p:nvPr/>
        </p:nvSpPr>
        <p:spPr>
          <a:xfrm>
            <a:off x="288756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6" name="CustomShape 48"/>
          <p:cNvSpPr/>
          <p:nvPr/>
        </p:nvSpPr>
        <p:spPr>
          <a:xfrm>
            <a:off x="317376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7" name="CustomShape 49"/>
          <p:cNvSpPr/>
          <p:nvPr/>
        </p:nvSpPr>
        <p:spPr>
          <a:xfrm>
            <a:off x="34603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8" name="CustomShape 50"/>
          <p:cNvSpPr/>
          <p:nvPr/>
        </p:nvSpPr>
        <p:spPr>
          <a:xfrm>
            <a:off x="37465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9" name="CustomShape 51"/>
          <p:cNvSpPr/>
          <p:nvPr/>
        </p:nvSpPr>
        <p:spPr>
          <a:xfrm>
            <a:off x="40330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0" name="CustomShape 52"/>
          <p:cNvSpPr/>
          <p:nvPr/>
        </p:nvSpPr>
        <p:spPr>
          <a:xfrm>
            <a:off x="43196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1" name="CustomShape 53"/>
          <p:cNvSpPr/>
          <p:nvPr/>
        </p:nvSpPr>
        <p:spPr>
          <a:xfrm>
            <a:off x="231480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772" name="CustomShape 54"/>
          <p:cNvSpPr/>
          <p:nvPr/>
        </p:nvSpPr>
        <p:spPr>
          <a:xfrm>
            <a:off x="260100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773" name="CustomShape 55"/>
          <p:cNvSpPr/>
          <p:nvPr/>
        </p:nvSpPr>
        <p:spPr>
          <a:xfrm>
            <a:off x="288756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4" name="CustomShape 56"/>
          <p:cNvSpPr/>
          <p:nvPr/>
        </p:nvSpPr>
        <p:spPr>
          <a:xfrm>
            <a:off x="317376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5" name="CustomShape 57"/>
          <p:cNvSpPr/>
          <p:nvPr/>
        </p:nvSpPr>
        <p:spPr>
          <a:xfrm>
            <a:off x="34603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6" name="CustomShape 58"/>
          <p:cNvSpPr/>
          <p:nvPr/>
        </p:nvSpPr>
        <p:spPr>
          <a:xfrm>
            <a:off x="37465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7" name="CustomShape 59"/>
          <p:cNvSpPr/>
          <p:nvPr/>
        </p:nvSpPr>
        <p:spPr>
          <a:xfrm>
            <a:off x="40330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8" name="CustomShape 60"/>
          <p:cNvSpPr/>
          <p:nvPr/>
        </p:nvSpPr>
        <p:spPr>
          <a:xfrm>
            <a:off x="43196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9" name="CustomShape 61"/>
          <p:cNvSpPr/>
          <p:nvPr/>
        </p:nvSpPr>
        <p:spPr>
          <a:xfrm>
            <a:off x="231480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0" name="CustomShape 62"/>
          <p:cNvSpPr/>
          <p:nvPr/>
        </p:nvSpPr>
        <p:spPr>
          <a:xfrm>
            <a:off x="260100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1" name="CustomShape 63"/>
          <p:cNvSpPr/>
          <p:nvPr/>
        </p:nvSpPr>
        <p:spPr>
          <a:xfrm>
            <a:off x="28875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2" name="CustomShape 64"/>
          <p:cNvSpPr/>
          <p:nvPr/>
        </p:nvSpPr>
        <p:spPr>
          <a:xfrm>
            <a:off x="31737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3" name="CustomShape 65"/>
          <p:cNvSpPr/>
          <p:nvPr/>
        </p:nvSpPr>
        <p:spPr>
          <a:xfrm>
            <a:off x="34603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4" name="CustomShape 66"/>
          <p:cNvSpPr/>
          <p:nvPr/>
        </p:nvSpPr>
        <p:spPr>
          <a:xfrm>
            <a:off x="37465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5" name="CustomShape 67"/>
          <p:cNvSpPr/>
          <p:nvPr/>
        </p:nvSpPr>
        <p:spPr>
          <a:xfrm>
            <a:off x="40330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6" name="CustomShape 68"/>
          <p:cNvSpPr/>
          <p:nvPr/>
        </p:nvSpPr>
        <p:spPr>
          <a:xfrm>
            <a:off x="43196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7" name="CustomShape 69"/>
          <p:cNvSpPr/>
          <p:nvPr/>
        </p:nvSpPr>
        <p:spPr>
          <a:xfrm>
            <a:off x="4602960" y="4464000"/>
            <a:ext cx="2370600" cy="210744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1788" name="CustomShape 70"/>
          <p:cNvSpPr/>
          <p:nvPr/>
        </p:nvSpPr>
        <p:spPr>
          <a:xfrm>
            <a:off x="46857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89" name="CustomShape 71"/>
          <p:cNvSpPr/>
          <p:nvPr/>
        </p:nvSpPr>
        <p:spPr>
          <a:xfrm>
            <a:off x="49723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0" name="CustomShape 72"/>
          <p:cNvSpPr/>
          <p:nvPr/>
        </p:nvSpPr>
        <p:spPr>
          <a:xfrm>
            <a:off x="52585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1" name="CustomShape 73"/>
          <p:cNvSpPr/>
          <p:nvPr/>
        </p:nvSpPr>
        <p:spPr>
          <a:xfrm>
            <a:off x="55450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2" name="CustomShape 74"/>
          <p:cNvSpPr/>
          <p:nvPr/>
        </p:nvSpPr>
        <p:spPr>
          <a:xfrm>
            <a:off x="58312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3" name="CustomShape 75"/>
          <p:cNvSpPr/>
          <p:nvPr/>
        </p:nvSpPr>
        <p:spPr>
          <a:xfrm>
            <a:off x="61178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4" name="CustomShape 76"/>
          <p:cNvSpPr/>
          <p:nvPr/>
        </p:nvSpPr>
        <p:spPr>
          <a:xfrm>
            <a:off x="64040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5" name="CustomShape 77"/>
          <p:cNvSpPr/>
          <p:nvPr/>
        </p:nvSpPr>
        <p:spPr>
          <a:xfrm>
            <a:off x="669060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6" name="CustomShape 78"/>
          <p:cNvSpPr/>
          <p:nvPr/>
        </p:nvSpPr>
        <p:spPr>
          <a:xfrm>
            <a:off x="46857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7" name="CustomShape 79"/>
          <p:cNvSpPr/>
          <p:nvPr/>
        </p:nvSpPr>
        <p:spPr>
          <a:xfrm>
            <a:off x="49723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8" name="CustomShape 80"/>
          <p:cNvSpPr/>
          <p:nvPr/>
        </p:nvSpPr>
        <p:spPr>
          <a:xfrm>
            <a:off x="52585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9" name="CustomShape 81"/>
          <p:cNvSpPr/>
          <p:nvPr/>
        </p:nvSpPr>
        <p:spPr>
          <a:xfrm>
            <a:off x="55450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0" name="CustomShape 82"/>
          <p:cNvSpPr/>
          <p:nvPr/>
        </p:nvSpPr>
        <p:spPr>
          <a:xfrm>
            <a:off x="58312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1" name="CustomShape 83"/>
          <p:cNvSpPr/>
          <p:nvPr/>
        </p:nvSpPr>
        <p:spPr>
          <a:xfrm>
            <a:off x="61178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2" name="CustomShape 84"/>
          <p:cNvSpPr/>
          <p:nvPr/>
        </p:nvSpPr>
        <p:spPr>
          <a:xfrm>
            <a:off x="64040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3" name="CustomShape 85"/>
          <p:cNvSpPr/>
          <p:nvPr/>
        </p:nvSpPr>
        <p:spPr>
          <a:xfrm>
            <a:off x="66906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4" name="CustomShape 86"/>
          <p:cNvSpPr/>
          <p:nvPr/>
        </p:nvSpPr>
        <p:spPr>
          <a:xfrm>
            <a:off x="46857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5" name="CustomShape 87"/>
          <p:cNvSpPr/>
          <p:nvPr/>
        </p:nvSpPr>
        <p:spPr>
          <a:xfrm>
            <a:off x="49723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6" name="CustomShape 88"/>
          <p:cNvSpPr/>
          <p:nvPr/>
        </p:nvSpPr>
        <p:spPr>
          <a:xfrm>
            <a:off x="52585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7" name="CustomShape 89"/>
          <p:cNvSpPr/>
          <p:nvPr/>
        </p:nvSpPr>
        <p:spPr>
          <a:xfrm>
            <a:off x="55450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8" name="CustomShape 90"/>
          <p:cNvSpPr/>
          <p:nvPr/>
        </p:nvSpPr>
        <p:spPr>
          <a:xfrm>
            <a:off x="58312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9" name="CustomShape 91"/>
          <p:cNvSpPr/>
          <p:nvPr/>
        </p:nvSpPr>
        <p:spPr>
          <a:xfrm>
            <a:off x="61178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0" name="CustomShape 92"/>
          <p:cNvSpPr/>
          <p:nvPr/>
        </p:nvSpPr>
        <p:spPr>
          <a:xfrm>
            <a:off x="64040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1" name="CustomShape 93"/>
          <p:cNvSpPr/>
          <p:nvPr/>
        </p:nvSpPr>
        <p:spPr>
          <a:xfrm>
            <a:off x="66906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2" name="CustomShape 94"/>
          <p:cNvSpPr/>
          <p:nvPr/>
        </p:nvSpPr>
        <p:spPr>
          <a:xfrm>
            <a:off x="46857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3" name="CustomShape 95"/>
          <p:cNvSpPr/>
          <p:nvPr/>
        </p:nvSpPr>
        <p:spPr>
          <a:xfrm>
            <a:off x="49723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4" name="CustomShape 96"/>
          <p:cNvSpPr/>
          <p:nvPr/>
        </p:nvSpPr>
        <p:spPr>
          <a:xfrm>
            <a:off x="52585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5" name="CustomShape 97"/>
          <p:cNvSpPr/>
          <p:nvPr/>
        </p:nvSpPr>
        <p:spPr>
          <a:xfrm>
            <a:off x="55450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6" name="CustomShape 98"/>
          <p:cNvSpPr/>
          <p:nvPr/>
        </p:nvSpPr>
        <p:spPr>
          <a:xfrm>
            <a:off x="58312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7" name="CustomShape 99"/>
          <p:cNvSpPr/>
          <p:nvPr/>
        </p:nvSpPr>
        <p:spPr>
          <a:xfrm>
            <a:off x="61178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8" name="CustomShape 100"/>
          <p:cNvSpPr/>
          <p:nvPr/>
        </p:nvSpPr>
        <p:spPr>
          <a:xfrm>
            <a:off x="64040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9" name="CustomShape 101"/>
          <p:cNvSpPr/>
          <p:nvPr/>
        </p:nvSpPr>
        <p:spPr>
          <a:xfrm>
            <a:off x="66906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0" name="CustomShape 102"/>
          <p:cNvSpPr/>
          <p:nvPr/>
        </p:nvSpPr>
        <p:spPr>
          <a:xfrm>
            <a:off x="46857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1" name="CustomShape 103"/>
          <p:cNvSpPr/>
          <p:nvPr/>
        </p:nvSpPr>
        <p:spPr>
          <a:xfrm>
            <a:off x="49723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2" name="CustomShape 104"/>
          <p:cNvSpPr/>
          <p:nvPr/>
        </p:nvSpPr>
        <p:spPr>
          <a:xfrm>
            <a:off x="52585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3" name="CustomShape 105"/>
          <p:cNvSpPr/>
          <p:nvPr/>
        </p:nvSpPr>
        <p:spPr>
          <a:xfrm>
            <a:off x="55450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4" name="CustomShape 106"/>
          <p:cNvSpPr/>
          <p:nvPr/>
        </p:nvSpPr>
        <p:spPr>
          <a:xfrm>
            <a:off x="58312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5" name="CustomShape 107"/>
          <p:cNvSpPr/>
          <p:nvPr/>
        </p:nvSpPr>
        <p:spPr>
          <a:xfrm>
            <a:off x="61178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6" name="CustomShape 108"/>
          <p:cNvSpPr/>
          <p:nvPr/>
        </p:nvSpPr>
        <p:spPr>
          <a:xfrm>
            <a:off x="64040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7" name="CustomShape 109"/>
          <p:cNvSpPr/>
          <p:nvPr/>
        </p:nvSpPr>
        <p:spPr>
          <a:xfrm>
            <a:off x="66906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8" name="CustomShape 110"/>
          <p:cNvSpPr/>
          <p:nvPr/>
        </p:nvSpPr>
        <p:spPr>
          <a:xfrm>
            <a:off x="468576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9" name="CustomShape 111"/>
          <p:cNvSpPr/>
          <p:nvPr/>
        </p:nvSpPr>
        <p:spPr>
          <a:xfrm>
            <a:off x="49723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0" name="CustomShape 112"/>
          <p:cNvSpPr/>
          <p:nvPr/>
        </p:nvSpPr>
        <p:spPr>
          <a:xfrm>
            <a:off x="52585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1" name="CustomShape 113"/>
          <p:cNvSpPr/>
          <p:nvPr/>
        </p:nvSpPr>
        <p:spPr>
          <a:xfrm>
            <a:off x="55450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2" name="CustomShape 114"/>
          <p:cNvSpPr/>
          <p:nvPr/>
        </p:nvSpPr>
        <p:spPr>
          <a:xfrm>
            <a:off x="58312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3" name="CustomShape 115"/>
          <p:cNvSpPr/>
          <p:nvPr/>
        </p:nvSpPr>
        <p:spPr>
          <a:xfrm>
            <a:off x="61178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4" name="CustomShape 116"/>
          <p:cNvSpPr/>
          <p:nvPr/>
        </p:nvSpPr>
        <p:spPr>
          <a:xfrm>
            <a:off x="640404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35" name="CustomShape 117"/>
          <p:cNvSpPr/>
          <p:nvPr/>
        </p:nvSpPr>
        <p:spPr>
          <a:xfrm>
            <a:off x="669060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36" name="CustomShape 118"/>
          <p:cNvSpPr/>
          <p:nvPr/>
        </p:nvSpPr>
        <p:spPr>
          <a:xfrm>
            <a:off x="468576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7" name="CustomShape 119"/>
          <p:cNvSpPr/>
          <p:nvPr/>
        </p:nvSpPr>
        <p:spPr>
          <a:xfrm>
            <a:off x="49723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8" name="CustomShape 120"/>
          <p:cNvSpPr/>
          <p:nvPr/>
        </p:nvSpPr>
        <p:spPr>
          <a:xfrm>
            <a:off x="52585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9" name="CustomShape 121"/>
          <p:cNvSpPr/>
          <p:nvPr/>
        </p:nvSpPr>
        <p:spPr>
          <a:xfrm>
            <a:off x="55450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40" name="CustomShape 122"/>
          <p:cNvSpPr/>
          <p:nvPr/>
        </p:nvSpPr>
        <p:spPr>
          <a:xfrm>
            <a:off x="58312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41" name="CustomShape 123"/>
          <p:cNvSpPr/>
          <p:nvPr/>
        </p:nvSpPr>
        <p:spPr>
          <a:xfrm>
            <a:off x="61178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42" name="CustomShape 124"/>
          <p:cNvSpPr/>
          <p:nvPr/>
        </p:nvSpPr>
        <p:spPr>
          <a:xfrm>
            <a:off x="640404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43" name="CustomShape 125"/>
          <p:cNvSpPr/>
          <p:nvPr/>
        </p:nvSpPr>
        <p:spPr>
          <a:xfrm>
            <a:off x="669060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44" name="CustomShape 126"/>
          <p:cNvSpPr/>
          <p:nvPr/>
        </p:nvSpPr>
        <p:spPr>
          <a:xfrm>
            <a:off x="46857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5" name="CustomShape 127"/>
          <p:cNvSpPr/>
          <p:nvPr/>
        </p:nvSpPr>
        <p:spPr>
          <a:xfrm>
            <a:off x="49723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6" name="CustomShape 128"/>
          <p:cNvSpPr/>
          <p:nvPr/>
        </p:nvSpPr>
        <p:spPr>
          <a:xfrm>
            <a:off x="52585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7" name="CustomShape 129"/>
          <p:cNvSpPr/>
          <p:nvPr/>
        </p:nvSpPr>
        <p:spPr>
          <a:xfrm>
            <a:off x="55450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8" name="CustomShape 130"/>
          <p:cNvSpPr/>
          <p:nvPr/>
        </p:nvSpPr>
        <p:spPr>
          <a:xfrm>
            <a:off x="58312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9" name="CustomShape 131"/>
          <p:cNvSpPr/>
          <p:nvPr/>
        </p:nvSpPr>
        <p:spPr>
          <a:xfrm>
            <a:off x="61178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50" name="CustomShape 132"/>
          <p:cNvSpPr/>
          <p:nvPr/>
        </p:nvSpPr>
        <p:spPr>
          <a:xfrm>
            <a:off x="64040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51" name="CustomShape 133"/>
          <p:cNvSpPr/>
          <p:nvPr/>
        </p:nvSpPr>
        <p:spPr>
          <a:xfrm>
            <a:off x="669060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52" name="CustomShape 134"/>
          <p:cNvSpPr/>
          <p:nvPr/>
        </p:nvSpPr>
        <p:spPr>
          <a:xfrm>
            <a:off x="6973560" y="4464000"/>
            <a:ext cx="2370600" cy="210744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1853" name="CustomShape 135"/>
          <p:cNvSpPr/>
          <p:nvPr/>
        </p:nvSpPr>
        <p:spPr>
          <a:xfrm>
            <a:off x="70567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4" name="CustomShape 136"/>
          <p:cNvSpPr/>
          <p:nvPr/>
        </p:nvSpPr>
        <p:spPr>
          <a:xfrm>
            <a:off x="73432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5" name="CustomShape 137"/>
          <p:cNvSpPr/>
          <p:nvPr/>
        </p:nvSpPr>
        <p:spPr>
          <a:xfrm>
            <a:off x="76294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6" name="CustomShape 138"/>
          <p:cNvSpPr/>
          <p:nvPr/>
        </p:nvSpPr>
        <p:spPr>
          <a:xfrm>
            <a:off x="79160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7" name="CustomShape 139"/>
          <p:cNvSpPr/>
          <p:nvPr/>
        </p:nvSpPr>
        <p:spPr>
          <a:xfrm>
            <a:off x="82022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8" name="CustomShape 140"/>
          <p:cNvSpPr/>
          <p:nvPr/>
        </p:nvSpPr>
        <p:spPr>
          <a:xfrm>
            <a:off x="848880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9" name="CustomShape 141"/>
          <p:cNvSpPr/>
          <p:nvPr/>
        </p:nvSpPr>
        <p:spPr>
          <a:xfrm>
            <a:off x="87753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0" name="CustomShape 142"/>
          <p:cNvSpPr/>
          <p:nvPr/>
        </p:nvSpPr>
        <p:spPr>
          <a:xfrm>
            <a:off x="90615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1" name="CustomShape 143"/>
          <p:cNvSpPr/>
          <p:nvPr/>
        </p:nvSpPr>
        <p:spPr>
          <a:xfrm>
            <a:off x="70567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2" name="CustomShape 144"/>
          <p:cNvSpPr/>
          <p:nvPr/>
        </p:nvSpPr>
        <p:spPr>
          <a:xfrm>
            <a:off x="73432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3" name="CustomShape 145"/>
          <p:cNvSpPr/>
          <p:nvPr/>
        </p:nvSpPr>
        <p:spPr>
          <a:xfrm>
            <a:off x="76294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4" name="CustomShape 146"/>
          <p:cNvSpPr/>
          <p:nvPr/>
        </p:nvSpPr>
        <p:spPr>
          <a:xfrm>
            <a:off x="79160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5" name="CustomShape 147"/>
          <p:cNvSpPr/>
          <p:nvPr/>
        </p:nvSpPr>
        <p:spPr>
          <a:xfrm>
            <a:off x="82022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6" name="CustomShape 148"/>
          <p:cNvSpPr/>
          <p:nvPr/>
        </p:nvSpPr>
        <p:spPr>
          <a:xfrm>
            <a:off x="84888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7" name="CustomShape 149"/>
          <p:cNvSpPr/>
          <p:nvPr/>
        </p:nvSpPr>
        <p:spPr>
          <a:xfrm>
            <a:off x="87753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8" name="CustomShape 150"/>
          <p:cNvSpPr/>
          <p:nvPr/>
        </p:nvSpPr>
        <p:spPr>
          <a:xfrm>
            <a:off x="90615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9" name="CustomShape 151"/>
          <p:cNvSpPr/>
          <p:nvPr/>
        </p:nvSpPr>
        <p:spPr>
          <a:xfrm>
            <a:off x="70567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0" name="CustomShape 152"/>
          <p:cNvSpPr/>
          <p:nvPr/>
        </p:nvSpPr>
        <p:spPr>
          <a:xfrm>
            <a:off x="73432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1" name="CustomShape 153"/>
          <p:cNvSpPr/>
          <p:nvPr/>
        </p:nvSpPr>
        <p:spPr>
          <a:xfrm>
            <a:off x="76294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2" name="CustomShape 154"/>
          <p:cNvSpPr/>
          <p:nvPr/>
        </p:nvSpPr>
        <p:spPr>
          <a:xfrm>
            <a:off x="79160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3" name="CustomShape 155"/>
          <p:cNvSpPr/>
          <p:nvPr/>
        </p:nvSpPr>
        <p:spPr>
          <a:xfrm>
            <a:off x="82022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4" name="CustomShape 156"/>
          <p:cNvSpPr/>
          <p:nvPr/>
        </p:nvSpPr>
        <p:spPr>
          <a:xfrm>
            <a:off x="84888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5" name="CustomShape 157"/>
          <p:cNvSpPr/>
          <p:nvPr/>
        </p:nvSpPr>
        <p:spPr>
          <a:xfrm>
            <a:off x="87753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6" name="CustomShape 158"/>
          <p:cNvSpPr/>
          <p:nvPr/>
        </p:nvSpPr>
        <p:spPr>
          <a:xfrm>
            <a:off x="90615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7" name="CustomShape 159"/>
          <p:cNvSpPr/>
          <p:nvPr/>
        </p:nvSpPr>
        <p:spPr>
          <a:xfrm>
            <a:off x="70567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8" name="CustomShape 160"/>
          <p:cNvSpPr/>
          <p:nvPr/>
        </p:nvSpPr>
        <p:spPr>
          <a:xfrm>
            <a:off x="73432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9" name="CustomShape 161"/>
          <p:cNvSpPr/>
          <p:nvPr/>
        </p:nvSpPr>
        <p:spPr>
          <a:xfrm>
            <a:off x="76294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0" name="CustomShape 162"/>
          <p:cNvSpPr/>
          <p:nvPr/>
        </p:nvSpPr>
        <p:spPr>
          <a:xfrm>
            <a:off x="79160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1" name="CustomShape 163"/>
          <p:cNvSpPr/>
          <p:nvPr/>
        </p:nvSpPr>
        <p:spPr>
          <a:xfrm>
            <a:off x="82022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2" name="CustomShape 164"/>
          <p:cNvSpPr/>
          <p:nvPr/>
        </p:nvSpPr>
        <p:spPr>
          <a:xfrm>
            <a:off x="84888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3" name="CustomShape 165"/>
          <p:cNvSpPr/>
          <p:nvPr/>
        </p:nvSpPr>
        <p:spPr>
          <a:xfrm>
            <a:off x="87753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4" name="CustomShape 166"/>
          <p:cNvSpPr/>
          <p:nvPr/>
        </p:nvSpPr>
        <p:spPr>
          <a:xfrm>
            <a:off x="90615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5" name="CustomShape 167"/>
          <p:cNvSpPr/>
          <p:nvPr/>
        </p:nvSpPr>
        <p:spPr>
          <a:xfrm>
            <a:off x="70567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6" name="CustomShape 168"/>
          <p:cNvSpPr/>
          <p:nvPr/>
        </p:nvSpPr>
        <p:spPr>
          <a:xfrm>
            <a:off x="73432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7" name="CustomShape 169"/>
          <p:cNvSpPr/>
          <p:nvPr/>
        </p:nvSpPr>
        <p:spPr>
          <a:xfrm>
            <a:off x="76294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8" name="CustomShape 170"/>
          <p:cNvSpPr/>
          <p:nvPr/>
        </p:nvSpPr>
        <p:spPr>
          <a:xfrm>
            <a:off x="79160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9" name="CustomShape 171"/>
          <p:cNvSpPr/>
          <p:nvPr/>
        </p:nvSpPr>
        <p:spPr>
          <a:xfrm>
            <a:off x="82022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0" name="CustomShape 172"/>
          <p:cNvSpPr/>
          <p:nvPr/>
        </p:nvSpPr>
        <p:spPr>
          <a:xfrm>
            <a:off x="84888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1" name="CustomShape 173"/>
          <p:cNvSpPr/>
          <p:nvPr/>
        </p:nvSpPr>
        <p:spPr>
          <a:xfrm>
            <a:off x="87753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2" name="CustomShape 174"/>
          <p:cNvSpPr/>
          <p:nvPr/>
        </p:nvSpPr>
        <p:spPr>
          <a:xfrm>
            <a:off x="90615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3" name="CustomShape 175"/>
          <p:cNvSpPr/>
          <p:nvPr/>
        </p:nvSpPr>
        <p:spPr>
          <a:xfrm>
            <a:off x="70567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4" name="CustomShape 176"/>
          <p:cNvSpPr/>
          <p:nvPr/>
        </p:nvSpPr>
        <p:spPr>
          <a:xfrm>
            <a:off x="73432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5" name="CustomShape 177"/>
          <p:cNvSpPr/>
          <p:nvPr/>
        </p:nvSpPr>
        <p:spPr>
          <a:xfrm>
            <a:off x="76294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6" name="CustomShape 178"/>
          <p:cNvSpPr/>
          <p:nvPr/>
        </p:nvSpPr>
        <p:spPr>
          <a:xfrm>
            <a:off x="79160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7" name="CustomShape 179"/>
          <p:cNvSpPr/>
          <p:nvPr/>
        </p:nvSpPr>
        <p:spPr>
          <a:xfrm>
            <a:off x="82022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8" name="CustomShape 180"/>
          <p:cNvSpPr/>
          <p:nvPr/>
        </p:nvSpPr>
        <p:spPr>
          <a:xfrm>
            <a:off x="848880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9" name="CustomShape 181"/>
          <p:cNvSpPr/>
          <p:nvPr/>
        </p:nvSpPr>
        <p:spPr>
          <a:xfrm>
            <a:off x="877536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900" name="CustomShape 182"/>
          <p:cNvSpPr/>
          <p:nvPr/>
        </p:nvSpPr>
        <p:spPr>
          <a:xfrm>
            <a:off x="906156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901" name="CustomShape 183"/>
          <p:cNvSpPr/>
          <p:nvPr/>
        </p:nvSpPr>
        <p:spPr>
          <a:xfrm>
            <a:off x="70567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2" name="CustomShape 184"/>
          <p:cNvSpPr/>
          <p:nvPr/>
        </p:nvSpPr>
        <p:spPr>
          <a:xfrm>
            <a:off x="73432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3" name="CustomShape 185"/>
          <p:cNvSpPr/>
          <p:nvPr/>
        </p:nvSpPr>
        <p:spPr>
          <a:xfrm>
            <a:off x="76294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4" name="CustomShape 186"/>
          <p:cNvSpPr/>
          <p:nvPr/>
        </p:nvSpPr>
        <p:spPr>
          <a:xfrm>
            <a:off x="79160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5" name="CustomShape 187"/>
          <p:cNvSpPr/>
          <p:nvPr/>
        </p:nvSpPr>
        <p:spPr>
          <a:xfrm>
            <a:off x="82022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6" name="CustomShape 188"/>
          <p:cNvSpPr/>
          <p:nvPr/>
        </p:nvSpPr>
        <p:spPr>
          <a:xfrm>
            <a:off x="848880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7" name="CustomShape 189"/>
          <p:cNvSpPr/>
          <p:nvPr/>
        </p:nvSpPr>
        <p:spPr>
          <a:xfrm>
            <a:off x="877536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908" name="CustomShape 190"/>
          <p:cNvSpPr/>
          <p:nvPr/>
        </p:nvSpPr>
        <p:spPr>
          <a:xfrm>
            <a:off x="906156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909" name="CustomShape 191"/>
          <p:cNvSpPr/>
          <p:nvPr/>
        </p:nvSpPr>
        <p:spPr>
          <a:xfrm>
            <a:off x="70567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0" name="CustomShape 192"/>
          <p:cNvSpPr/>
          <p:nvPr/>
        </p:nvSpPr>
        <p:spPr>
          <a:xfrm>
            <a:off x="73432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1" name="CustomShape 193"/>
          <p:cNvSpPr/>
          <p:nvPr/>
        </p:nvSpPr>
        <p:spPr>
          <a:xfrm>
            <a:off x="76294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2" name="CustomShape 194"/>
          <p:cNvSpPr/>
          <p:nvPr/>
        </p:nvSpPr>
        <p:spPr>
          <a:xfrm>
            <a:off x="79160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3" name="CustomShape 195"/>
          <p:cNvSpPr/>
          <p:nvPr/>
        </p:nvSpPr>
        <p:spPr>
          <a:xfrm>
            <a:off x="82022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4" name="CustomShape 196"/>
          <p:cNvSpPr/>
          <p:nvPr/>
        </p:nvSpPr>
        <p:spPr>
          <a:xfrm>
            <a:off x="848880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5" name="CustomShape 197"/>
          <p:cNvSpPr/>
          <p:nvPr/>
        </p:nvSpPr>
        <p:spPr>
          <a:xfrm>
            <a:off x="87753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6" name="CustomShape 198"/>
          <p:cNvSpPr/>
          <p:nvPr/>
        </p:nvSpPr>
        <p:spPr>
          <a:xfrm>
            <a:off x="90615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201" name="Rectangle 200">
            <a:extLst>
              <a:ext uri="{FF2B5EF4-FFF2-40B4-BE49-F238E27FC236}">
                <a16:creationId xmlns:a16="http://schemas.microsoft.com/office/drawing/2014/main" id="{3E4AEA8D-533C-45FE-BFFB-3E8133B8641B}"/>
              </a:ext>
            </a:extLst>
          </p:cNvPr>
          <p:cNvSpPr/>
          <p:nvPr/>
        </p:nvSpPr>
        <p:spPr>
          <a:xfrm>
            <a:off x="11277600" y="309217"/>
            <a:ext cx="649357" cy="592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3455550797"/>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718" name="Picture 7"/>
          <p:cNvPicPr/>
          <p:nvPr/>
        </p:nvPicPr>
        <p:blipFill>
          <a:blip r:embed="rId3"/>
          <a:stretch/>
        </p:blipFill>
        <p:spPr>
          <a:xfrm>
            <a:off x="6129360" y="1566720"/>
            <a:ext cx="5304960" cy="1802880"/>
          </a:xfrm>
          <a:prstGeom prst="rect">
            <a:avLst/>
          </a:prstGeom>
          <a:ln>
            <a:solidFill>
              <a:schemeClr val="tx1"/>
            </a:solidFill>
          </a:ln>
        </p:spPr>
      </p:pic>
      <p:sp>
        <p:nvSpPr>
          <p:cNvPr id="1719" name="CustomShape 1"/>
          <p:cNvSpPr/>
          <p:nvPr/>
        </p:nvSpPr>
        <p:spPr>
          <a:xfrm>
            <a:off x="479520" y="1566720"/>
            <a:ext cx="5471640" cy="5151600"/>
          </a:xfrm>
          <a:prstGeom prst="rect">
            <a:avLst/>
          </a:prstGeom>
          <a:noFill/>
          <a:ln>
            <a:noFill/>
          </a:ln>
        </p:spPr>
        <p:style>
          <a:lnRef idx="0">
            <a:scrgbClr r="0" g="0" b="0"/>
          </a:lnRef>
          <a:fillRef idx="0">
            <a:scrgbClr r="0" g="0" b="0"/>
          </a:fillRef>
          <a:effectRef idx="0">
            <a:scrgbClr r="0" g="0" b="0"/>
          </a:effectRef>
          <a:fontRef idx="minor"/>
        </p:style>
        <p:txBody>
          <a:bodyPr lIns="72000" tIns="36000" rIns="72000" bIns="36000"/>
          <a:lstStyle/>
          <a:p>
            <a:pPr>
              <a:lnSpc>
                <a:spcPct val="100000"/>
              </a:lnSpc>
              <a:spcBef>
                <a:spcPts val="799"/>
              </a:spcBef>
            </a:pPr>
            <a:r>
              <a:rPr lang="sv-SE" sz="1200" b="0" strike="noStrike" spc="-29" dirty="0" err="1">
                <a:solidFill>
                  <a:srgbClr val="181818"/>
                </a:solidFill>
                <a:uFill>
                  <a:solidFill>
                    <a:srgbClr val="FFFFFF"/>
                  </a:solidFill>
                </a:uFill>
                <a:latin typeface="Ericsson Hilda"/>
              </a:rPr>
              <a:t>Deployment</a:t>
            </a:r>
            <a:endParaRPr lang="sv-SE" sz="1200" b="0" strike="noStrike" spc="-1" dirty="0" err="1">
              <a:solidFill>
                <a:srgbClr val="000000"/>
              </a:solidFill>
              <a:uFill>
                <a:solidFill>
                  <a:srgbClr val="FFFFFF"/>
                </a:solidFill>
              </a:uFill>
              <a:latin typeface="Arial"/>
            </a:endParaRPr>
          </a:p>
          <a:p>
            <a:pPr>
              <a:lnSpc>
                <a:spcPct val="100000"/>
              </a:lnSpc>
              <a:spcBef>
                <a:spcPts val="799"/>
              </a:spcBef>
            </a:pP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r>
              <a:rPr lang="sv-SE" sz="1200" b="0" strike="noStrike" spc="-29" dirty="0">
                <a:solidFill>
                  <a:srgbClr val="181818"/>
                </a:solidFill>
                <a:uFill>
                  <a:solidFill>
                    <a:srgbClr val="FFFFFF"/>
                  </a:solidFill>
                </a:uFill>
                <a:latin typeface="Ericsson Hilda"/>
              </a:rPr>
              <a:t>Relevant information för varje pixel finns I VRAM</a:t>
            </a:r>
            <a:endParaRPr lang="sv-SE" sz="1200" b="0" strike="noStrike" spc="-1" dirty="0">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r>
              <a:rPr lang="sv-SE" sz="1200" b="0" strike="noStrike" spc="-29" dirty="0" err="1">
                <a:solidFill>
                  <a:srgbClr val="181818"/>
                </a:solidFill>
                <a:uFill>
                  <a:solidFill>
                    <a:srgbClr val="FFFFFF"/>
                  </a:solidFill>
                </a:uFill>
                <a:latin typeface="Ericsson Hilda"/>
              </a:rPr>
              <a:t>Addressering</a:t>
            </a:r>
            <a:endParaRPr lang="sv-SE" sz="1200" b="0" strike="noStrike" spc="-1" dirty="0" err="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endParaRPr lang="sv-SE" sz="1200" b="0" strike="noStrike" spc="-1">
              <a:solidFill>
                <a:srgbClr val="000000"/>
              </a:solidFill>
              <a:uFill>
                <a:solidFill>
                  <a:srgbClr val="FFFFFF"/>
                </a:solidFill>
              </a:uFill>
              <a:latin typeface="Arial"/>
            </a:endParaRPr>
          </a:p>
          <a:p>
            <a:pPr marL="180000" indent="-179640">
              <a:lnSpc>
                <a:spcPct val="100000"/>
              </a:lnSpc>
              <a:spcBef>
                <a:spcPts val="799"/>
              </a:spcBef>
              <a:buClr>
                <a:srgbClr val="181818"/>
              </a:buClr>
              <a:buFont typeface="Ericsson Hilda"/>
              <a:buChar char="–"/>
            </a:pPr>
            <a:r>
              <a:rPr lang="sv-SE" sz="1200" b="0" strike="noStrike" spc="-29" dirty="0">
                <a:solidFill>
                  <a:srgbClr val="181818"/>
                </a:solidFill>
                <a:uFill>
                  <a:solidFill>
                    <a:srgbClr val="FFFFFF"/>
                  </a:solidFill>
                </a:uFill>
                <a:latin typeface="Ericsson Hilda"/>
              </a:rPr>
              <a:t>Verkställande arbete </a:t>
            </a:r>
            <a:endParaRPr lang="sv-SE" sz="1200" b="0" strike="noStrike" spc="-1" dirty="0">
              <a:solidFill>
                <a:srgbClr val="000000"/>
              </a:solidFill>
              <a:uFill>
                <a:solidFill>
                  <a:srgbClr val="FFFFFF"/>
                </a:solidFill>
              </a:uFill>
              <a:latin typeface="Arial"/>
            </a:endParaRPr>
          </a:p>
          <a:p>
            <a:pPr>
              <a:lnSpc>
                <a:spcPct val="100000"/>
              </a:lnSpc>
              <a:spcBef>
                <a:spcPts val="799"/>
              </a:spcBef>
            </a:pPr>
            <a:endParaRPr lang="sv-SE" sz="1200" b="0" strike="noStrike" spc="-1">
              <a:solidFill>
                <a:srgbClr val="000000"/>
              </a:solidFill>
              <a:uFill>
                <a:solidFill>
                  <a:srgbClr val="FFFFFF"/>
                </a:solidFill>
              </a:uFill>
              <a:latin typeface="Arial"/>
            </a:endParaRPr>
          </a:p>
        </p:txBody>
      </p:sp>
      <p:sp>
        <p:nvSpPr>
          <p:cNvPr id="1720" name="TextShape 2"/>
          <p:cNvSpPr txBox="1"/>
          <p:nvPr/>
        </p:nvSpPr>
        <p:spPr>
          <a:xfrm>
            <a:off x="479520" y="476280"/>
            <a:ext cx="5471640" cy="716400"/>
          </a:xfrm>
          <a:prstGeom prst="rect">
            <a:avLst/>
          </a:prstGeom>
          <a:noFill/>
          <a:ln w="9360">
            <a:noFill/>
          </a:ln>
        </p:spPr>
        <p:txBody>
          <a:bodyPr lIns="72000" tIns="36000" rIns="73080" bIns="36720">
            <a:normAutofit/>
          </a:bodyPr>
          <a:lstStyle/>
          <a:p>
            <a:pPr>
              <a:lnSpc>
                <a:spcPct val="100000"/>
              </a:lnSpc>
              <a:spcBef>
                <a:spcPts val="300"/>
              </a:spcBef>
            </a:pPr>
            <a:r>
              <a:rPr lang="en-US" sz="4000" b="0" strike="noStrike" spc="-157" dirty="0" err="1">
                <a:solidFill>
                  <a:srgbClr val="181818"/>
                </a:solidFill>
                <a:uFill>
                  <a:solidFill>
                    <a:srgbClr val="FFFFFF"/>
                  </a:solidFill>
                </a:uFill>
                <a:latin typeface="Ericsson Hilda Light"/>
              </a:rPr>
              <a:t>Addressering</a:t>
            </a:r>
            <a:r>
              <a:rPr lang="en-US" sz="4000" b="0" strike="noStrike" spc="-157" dirty="0">
                <a:solidFill>
                  <a:srgbClr val="181818"/>
                </a:solidFill>
                <a:uFill>
                  <a:solidFill>
                    <a:srgbClr val="FFFFFF"/>
                  </a:solidFill>
                </a:uFill>
                <a:latin typeface="Ericsson Hilda Light"/>
              </a:rPr>
              <a:t> av </a:t>
            </a:r>
            <a:r>
              <a:rPr lang="en-US" sz="4000" b="0" strike="noStrike" spc="-157" dirty="0" err="1">
                <a:solidFill>
                  <a:srgbClr val="181818"/>
                </a:solidFill>
                <a:uFill>
                  <a:solidFill>
                    <a:srgbClr val="FFFFFF"/>
                  </a:solidFill>
                </a:uFill>
                <a:latin typeface="Ericsson Hilda Light"/>
              </a:rPr>
              <a:t>pixlar</a:t>
            </a:r>
            <a:endParaRPr lang="en-US" sz="4000" b="0" strike="noStrike" spc="-1" dirty="0" err="1">
              <a:solidFill>
                <a:srgbClr val="181818"/>
              </a:solidFill>
              <a:uFill>
                <a:solidFill>
                  <a:srgbClr val="FFFFFF"/>
                </a:solidFill>
              </a:uFill>
              <a:latin typeface="Ericsson Hilda"/>
            </a:endParaRPr>
          </a:p>
        </p:txBody>
      </p:sp>
      <p:sp>
        <p:nvSpPr>
          <p:cNvPr id="1721" name="CustomShape 3"/>
          <p:cNvSpPr/>
          <p:nvPr/>
        </p:nvSpPr>
        <p:spPr>
          <a:xfrm>
            <a:off x="8286840" y="1109520"/>
            <a:ext cx="914040" cy="914040"/>
          </a:xfrm>
          <a:prstGeom prst="rect">
            <a:avLst/>
          </a:prstGeom>
          <a:noFill/>
          <a:ln w="12600">
            <a:noFill/>
          </a:ln>
        </p:spPr>
        <p:style>
          <a:lnRef idx="0">
            <a:scrgbClr r="0" g="0" b="0"/>
          </a:lnRef>
          <a:fillRef idx="0">
            <a:scrgbClr r="0" g="0" b="0"/>
          </a:fillRef>
          <a:effectRef idx="0">
            <a:scrgbClr r="0" g="0" b="0"/>
          </a:effectRef>
          <a:fontRef idx="minor"/>
        </p:style>
        <p:txBody>
          <a:bodyPr wrap="none" lIns="72000" tIns="36000" rIns="73080" bIns="36720"/>
          <a:lstStyle/>
          <a:p>
            <a:pPr>
              <a:lnSpc>
                <a:spcPct val="100000"/>
              </a:lnSpc>
            </a:pPr>
            <a:r>
              <a:rPr lang="sv-SE" sz="2000" b="0" strike="noStrike" spc="-1" dirty="0">
                <a:solidFill>
                  <a:srgbClr val="181818"/>
                </a:solidFill>
                <a:uFill>
                  <a:solidFill>
                    <a:srgbClr val="FFFFFF"/>
                  </a:solidFill>
                </a:uFill>
                <a:latin typeface="Ericsson Hilda"/>
              </a:rPr>
              <a:t>VRAM</a:t>
            </a:r>
            <a:endParaRPr lang="sv-SE" sz="2000" b="0" strike="noStrike" spc="-1" dirty="0">
              <a:solidFill>
                <a:srgbClr val="000000"/>
              </a:solidFill>
              <a:uFill>
                <a:solidFill>
                  <a:srgbClr val="FFFFFF"/>
                </a:solidFill>
              </a:uFill>
              <a:latin typeface="Arial"/>
            </a:endParaRPr>
          </a:p>
        </p:txBody>
      </p:sp>
      <p:sp>
        <p:nvSpPr>
          <p:cNvPr id="1722" name="CustomShape 4"/>
          <p:cNvSpPr/>
          <p:nvPr/>
        </p:nvSpPr>
        <p:spPr>
          <a:xfrm>
            <a:off x="2232000" y="4464000"/>
            <a:ext cx="2370600" cy="210744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1723" name="CustomShape 5"/>
          <p:cNvSpPr/>
          <p:nvPr/>
        </p:nvSpPr>
        <p:spPr>
          <a:xfrm>
            <a:off x="231480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4" name="CustomShape 6"/>
          <p:cNvSpPr/>
          <p:nvPr/>
        </p:nvSpPr>
        <p:spPr>
          <a:xfrm>
            <a:off x="2559240" y="4497480"/>
            <a:ext cx="234720" cy="21600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5" name="CustomShape 7"/>
          <p:cNvSpPr/>
          <p:nvPr/>
        </p:nvSpPr>
        <p:spPr>
          <a:xfrm>
            <a:off x="28875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6" name="CustomShape 8"/>
          <p:cNvSpPr/>
          <p:nvPr/>
        </p:nvSpPr>
        <p:spPr>
          <a:xfrm>
            <a:off x="31737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7" name="CustomShape 9"/>
          <p:cNvSpPr/>
          <p:nvPr/>
        </p:nvSpPr>
        <p:spPr>
          <a:xfrm>
            <a:off x="34603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8" name="CustomShape 10"/>
          <p:cNvSpPr/>
          <p:nvPr/>
        </p:nvSpPr>
        <p:spPr>
          <a:xfrm>
            <a:off x="37465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29" name="CustomShape 11"/>
          <p:cNvSpPr/>
          <p:nvPr/>
        </p:nvSpPr>
        <p:spPr>
          <a:xfrm>
            <a:off x="40330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0" name="CustomShape 12"/>
          <p:cNvSpPr/>
          <p:nvPr/>
        </p:nvSpPr>
        <p:spPr>
          <a:xfrm>
            <a:off x="43196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1" name="CustomShape 13"/>
          <p:cNvSpPr/>
          <p:nvPr/>
        </p:nvSpPr>
        <p:spPr>
          <a:xfrm>
            <a:off x="23148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2" name="CustomShape 14"/>
          <p:cNvSpPr/>
          <p:nvPr/>
        </p:nvSpPr>
        <p:spPr>
          <a:xfrm>
            <a:off x="26010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3" name="CustomShape 15"/>
          <p:cNvSpPr/>
          <p:nvPr/>
        </p:nvSpPr>
        <p:spPr>
          <a:xfrm>
            <a:off x="28875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4" name="CustomShape 16"/>
          <p:cNvSpPr/>
          <p:nvPr/>
        </p:nvSpPr>
        <p:spPr>
          <a:xfrm>
            <a:off x="31737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5" name="CustomShape 17"/>
          <p:cNvSpPr/>
          <p:nvPr/>
        </p:nvSpPr>
        <p:spPr>
          <a:xfrm>
            <a:off x="34603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6" name="CustomShape 18"/>
          <p:cNvSpPr/>
          <p:nvPr/>
        </p:nvSpPr>
        <p:spPr>
          <a:xfrm>
            <a:off x="37465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7" name="CustomShape 19"/>
          <p:cNvSpPr/>
          <p:nvPr/>
        </p:nvSpPr>
        <p:spPr>
          <a:xfrm>
            <a:off x="40330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8" name="CustomShape 20"/>
          <p:cNvSpPr/>
          <p:nvPr/>
        </p:nvSpPr>
        <p:spPr>
          <a:xfrm>
            <a:off x="43196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39" name="CustomShape 21"/>
          <p:cNvSpPr/>
          <p:nvPr/>
        </p:nvSpPr>
        <p:spPr>
          <a:xfrm>
            <a:off x="23148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0" name="CustomShape 22"/>
          <p:cNvSpPr/>
          <p:nvPr/>
        </p:nvSpPr>
        <p:spPr>
          <a:xfrm>
            <a:off x="26010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1" name="CustomShape 23"/>
          <p:cNvSpPr/>
          <p:nvPr/>
        </p:nvSpPr>
        <p:spPr>
          <a:xfrm>
            <a:off x="28875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2" name="CustomShape 24"/>
          <p:cNvSpPr/>
          <p:nvPr/>
        </p:nvSpPr>
        <p:spPr>
          <a:xfrm>
            <a:off x="31737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3" name="CustomShape 25"/>
          <p:cNvSpPr/>
          <p:nvPr/>
        </p:nvSpPr>
        <p:spPr>
          <a:xfrm>
            <a:off x="34603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4" name="CustomShape 26"/>
          <p:cNvSpPr/>
          <p:nvPr/>
        </p:nvSpPr>
        <p:spPr>
          <a:xfrm>
            <a:off x="37465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5" name="CustomShape 27"/>
          <p:cNvSpPr/>
          <p:nvPr/>
        </p:nvSpPr>
        <p:spPr>
          <a:xfrm>
            <a:off x="40330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6" name="CustomShape 28"/>
          <p:cNvSpPr/>
          <p:nvPr/>
        </p:nvSpPr>
        <p:spPr>
          <a:xfrm>
            <a:off x="43196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7" name="CustomShape 29"/>
          <p:cNvSpPr/>
          <p:nvPr/>
        </p:nvSpPr>
        <p:spPr>
          <a:xfrm>
            <a:off x="23148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8" name="CustomShape 30"/>
          <p:cNvSpPr/>
          <p:nvPr/>
        </p:nvSpPr>
        <p:spPr>
          <a:xfrm>
            <a:off x="26010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49" name="CustomShape 31"/>
          <p:cNvSpPr/>
          <p:nvPr/>
        </p:nvSpPr>
        <p:spPr>
          <a:xfrm>
            <a:off x="28875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0" name="CustomShape 32"/>
          <p:cNvSpPr/>
          <p:nvPr/>
        </p:nvSpPr>
        <p:spPr>
          <a:xfrm>
            <a:off x="31737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1" name="CustomShape 33"/>
          <p:cNvSpPr/>
          <p:nvPr/>
        </p:nvSpPr>
        <p:spPr>
          <a:xfrm>
            <a:off x="34603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2" name="CustomShape 34"/>
          <p:cNvSpPr/>
          <p:nvPr/>
        </p:nvSpPr>
        <p:spPr>
          <a:xfrm>
            <a:off x="37465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3" name="CustomShape 35"/>
          <p:cNvSpPr/>
          <p:nvPr/>
        </p:nvSpPr>
        <p:spPr>
          <a:xfrm>
            <a:off x="40330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4" name="CustomShape 36"/>
          <p:cNvSpPr/>
          <p:nvPr/>
        </p:nvSpPr>
        <p:spPr>
          <a:xfrm>
            <a:off x="43196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5" name="CustomShape 37"/>
          <p:cNvSpPr/>
          <p:nvPr/>
        </p:nvSpPr>
        <p:spPr>
          <a:xfrm>
            <a:off x="23148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6" name="CustomShape 38"/>
          <p:cNvSpPr/>
          <p:nvPr/>
        </p:nvSpPr>
        <p:spPr>
          <a:xfrm>
            <a:off x="26010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57" name="CustomShape 39"/>
          <p:cNvSpPr/>
          <p:nvPr/>
        </p:nvSpPr>
        <p:spPr>
          <a:xfrm>
            <a:off x="2887560" y="5532840"/>
            <a:ext cx="192960" cy="19296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758" name="CustomShape 40"/>
          <p:cNvSpPr/>
          <p:nvPr/>
        </p:nvSpPr>
        <p:spPr>
          <a:xfrm>
            <a:off x="3173760" y="5532840"/>
            <a:ext cx="192960" cy="19296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759" name="CustomShape 41"/>
          <p:cNvSpPr/>
          <p:nvPr/>
        </p:nvSpPr>
        <p:spPr>
          <a:xfrm>
            <a:off x="34603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0" name="CustomShape 42"/>
          <p:cNvSpPr/>
          <p:nvPr/>
        </p:nvSpPr>
        <p:spPr>
          <a:xfrm>
            <a:off x="37465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1" name="CustomShape 43"/>
          <p:cNvSpPr/>
          <p:nvPr/>
        </p:nvSpPr>
        <p:spPr>
          <a:xfrm>
            <a:off x="40330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2" name="CustomShape 44"/>
          <p:cNvSpPr/>
          <p:nvPr/>
        </p:nvSpPr>
        <p:spPr>
          <a:xfrm>
            <a:off x="43196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3" name="CustomShape 45"/>
          <p:cNvSpPr/>
          <p:nvPr/>
        </p:nvSpPr>
        <p:spPr>
          <a:xfrm>
            <a:off x="231480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764" name="CustomShape 46"/>
          <p:cNvSpPr/>
          <p:nvPr/>
        </p:nvSpPr>
        <p:spPr>
          <a:xfrm>
            <a:off x="260100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5" name="CustomShape 47"/>
          <p:cNvSpPr/>
          <p:nvPr/>
        </p:nvSpPr>
        <p:spPr>
          <a:xfrm>
            <a:off x="2887560" y="5785920"/>
            <a:ext cx="192960" cy="19296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766" name="CustomShape 48"/>
          <p:cNvSpPr/>
          <p:nvPr/>
        </p:nvSpPr>
        <p:spPr>
          <a:xfrm>
            <a:off x="3173760" y="5785920"/>
            <a:ext cx="192960" cy="19296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767" name="CustomShape 49"/>
          <p:cNvSpPr/>
          <p:nvPr/>
        </p:nvSpPr>
        <p:spPr>
          <a:xfrm>
            <a:off x="34603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8" name="CustomShape 50"/>
          <p:cNvSpPr/>
          <p:nvPr/>
        </p:nvSpPr>
        <p:spPr>
          <a:xfrm>
            <a:off x="37465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69" name="CustomShape 51"/>
          <p:cNvSpPr/>
          <p:nvPr/>
        </p:nvSpPr>
        <p:spPr>
          <a:xfrm>
            <a:off x="40330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0" name="CustomShape 52"/>
          <p:cNvSpPr/>
          <p:nvPr/>
        </p:nvSpPr>
        <p:spPr>
          <a:xfrm>
            <a:off x="43196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1" name="CustomShape 53"/>
          <p:cNvSpPr/>
          <p:nvPr/>
        </p:nvSpPr>
        <p:spPr>
          <a:xfrm>
            <a:off x="231480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772" name="CustomShape 54"/>
          <p:cNvSpPr/>
          <p:nvPr/>
        </p:nvSpPr>
        <p:spPr>
          <a:xfrm>
            <a:off x="260100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3" name="CustomShape 55"/>
          <p:cNvSpPr/>
          <p:nvPr/>
        </p:nvSpPr>
        <p:spPr>
          <a:xfrm>
            <a:off x="2887560" y="6039000"/>
            <a:ext cx="192960" cy="19296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774" name="CustomShape 56"/>
          <p:cNvSpPr/>
          <p:nvPr/>
        </p:nvSpPr>
        <p:spPr>
          <a:xfrm>
            <a:off x="3173760" y="6039000"/>
            <a:ext cx="192960" cy="192960"/>
          </a:xfrm>
          <a:prstGeom prst="ellipse">
            <a:avLst/>
          </a:prstGeom>
          <a:solidFill>
            <a:schemeClr val="tx1"/>
          </a:solidFill>
          <a:ln w="12600">
            <a:noFill/>
          </a:ln>
        </p:spPr>
        <p:style>
          <a:lnRef idx="0">
            <a:scrgbClr r="0" g="0" b="0"/>
          </a:lnRef>
          <a:fillRef idx="0">
            <a:scrgbClr r="0" g="0" b="0"/>
          </a:fillRef>
          <a:effectRef idx="0">
            <a:scrgbClr r="0" g="0" b="0"/>
          </a:effectRef>
          <a:fontRef idx="minor"/>
        </p:style>
      </p:sp>
      <p:sp>
        <p:nvSpPr>
          <p:cNvPr id="1775" name="CustomShape 57"/>
          <p:cNvSpPr/>
          <p:nvPr/>
        </p:nvSpPr>
        <p:spPr>
          <a:xfrm>
            <a:off x="34603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6" name="CustomShape 58"/>
          <p:cNvSpPr/>
          <p:nvPr/>
        </p:nvSpPr>
        <p:spPr>
          <a:xfrm>
            <a:off x="37465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7" name="CustomShape 59"/>
          <p:cNvSpPr/>
          <p:nvPr/>
        </p:nvSpPr>
        <p:spPr>
          <a:xfrm>
            <a:off x="40330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8" name="CustomShape 60"/>
          <p:cNvSpPr/>
          <p:nvPr/>
        </p:nvSpPr>
        <p:spPr>
          <a:xfrm>
            <a:off x="43196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79" name="CustomShape 61"/>
          <p:cNvSpPr/>
          <p:nvPr/>
        </p:nvSpPr>
        <p:spPr>
          <a:xfrm>
            <a:off x="231480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0" name="CustomShape 62"/>
          <p:cNvSpPr/>
          <p:nvPr/>
        </p:nvSpPr>
        <p:spPr>
          <a:xfrm>
            <a:off x="260100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1" name="CustomShape 63"/>
          <p:cNvSpPr/>
          <p:nvPr/>
        </p:nvSpPr>
        <p:spPr>
          <a:xfrm>
            <a:off x="28875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2" name="CustomShape 64"/>
          <p:cNvSpPr/>
          <p:nvPr/>
        </p:nvSpPr>
        <p:spPr>
          <a:xfrm>
            <a:off x="31737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3" name="CustomShape 65"/>
          <p:cNvSpPr/>
          <p:nvPr/>
        </p:nvSpPr>
        <p:spPr>
          <a:xfrm>
            <a:off x="34603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4" name="CustomShape 66"/>
          <p:cNvSpPr/>
          <p:nvPr/>
        </p:nvSpPr>
        <p:spPr>
          <a:xfrm>
            <a:off x="37465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5" name="CustomShape 67"/>
          <p:cNvSpPr/>
          <p:nvPr/>
        </p:nvSpPr>
        <p:spPr>
          <a:xfrm>
            <a:off x="40330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6" name="CustomShape 68"/>
          <p:cNvSpPr/>
          <p:nvPr/>
        </p:nvSpPr>
        <p:spPr>
          <a:xfrm>
            <a:off x="43196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787" name="CustomShape 69"/>
          <p:cNvSpPr/>
          <p:nvPr/>
        </p:nvSpPr>
        <p:spPr>
          <a:xfrm>
            <a:off x="4602960" y="4464000"/>
            <a:ext cx="2370600" cy="210744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1788" name="CustomShape 70"/>
          <p:cNvSpPr/>
          <p:nvPr/>
        </p:nvSpPr>
        <p:spPr>
          <a:xfrm>
            <a:off x="46857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89" name="CustomShape 71"/>
          <p:cNvSpPr/>
          <p:nvPr/>
        </p:nvSpPr>
        <p:spPr>
          <a:xfrm>
            <a:off x="49723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0" name="CustomShape 72"/>
          <p:cNvSpPr/>
          <p:nvPr/>
        </p:nvSpPr>
        <p:spPr>
          <a:xfrm>
            <a:off x="52585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1" name="CustomShape 73"/>
          <p:cNvSpPr/>
          <p:nvPr/>
        </p:nvSpPr>
        <p:spPr>
          <a:xfrm>
            <a:off x="55450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2" name="CustomShape 74"/>
          <p:cNvSpPr/>
          <p:nvPr/>
        </p:nvSpPr>
        <p:spPr>
          <a:xfrm>
            <a:off x="58312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3" name="CustomShape 75"/>
          <p:cNvSpPr/>
          <p:nvPr/>
        </p:nvSpPr>
        <p:spPr>
          <a:xfrm>
            <a:off x="61178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4" name="CustomShape 76"/>
          <p:cNvSpPr/>
          <p:nvPr/>
        </p:nvSpPr>
        <p:spPr>
          <a:xfrm>
            <a:off x="64040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5" name="CustomShape 77"/>
          <p:cNvSpPr/>
          <p:nvPr/>
        </p:nvSpPr>
        <p:spPr>
          <a:xfrm>
            <a:off x="669060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6" name="CustomShape 78"/>
          <p:cNvSpPr/>
          <p:nvPr/>
        </p:nvSpPr>
        <p:spPr>
          <a:xfrm>
            <a:off x="46857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7" name="CustomShape 79"/>
          <p:cNvSpPr/>
          <p:nvPr/>
        </p:nvSpPr>
        <p:spPr>
          <a:xfrm>
            <a:off x="49723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8" name="CustomShape 80"/>
          <p:cNvSpPr/>
          <p:nvPr/>
        </p:nvSpPr>
        <p:spPr>
          <a:xfrm>
            <a:off x="52585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799" name="CustomShape 81"/>
          <p:cNvSpPr/>
          <p:nvPr/>
        </p:nvSpPr>
        <p:spPr>
          <a:xfrm>
            <a:off x="55450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0" name="CustomShape 82"/>
          <p:cNvSpPr/>
          <p:nvPr/>
        </p:nvSpPr>
        <p:spPr>
          <a:xfrm>
            <a:off x="58312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1" name="CustomShape 83"/>
          <p:cNvSpPr/>
          <p:nvPr/>
        </p:nvSpPr>
        <p:spPr>
          <a:xfrm>
            <a:off x="61178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2" name="CustomShape 84"/>
          <p:cNvSpPr/>
          <p:nvPr/>
        </p:nvSpPr>
        <p:spPr>
          <a:xfrm>
            <a:off x="64040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3" name="CustomShape 85"/>
          <p:cNvSpPr/>
          <p:nvPr/>
        </p:nvSpPr>
        <p:spPr>
          <a:xfrm>
            <a:off x="66906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4" name="CustomShape 86"/>
          <p:cNvSpPr/>
          <p:nvPr/>
        </p:nvSpPr>
        <p:spPr>
          <a:xfrm>
            <a:off x="46857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5" name="CustomShape 87"/>
          <p:cNvSpPr/>
          <p:nvPr/>
        </p:nvSpPr>
        <p:spPr>
          <a:xfrm>
            <a:off x="49723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6" name="CustomShape 88"/>
          <p:cNvSpPr/>
          <p:nvPr/>
        </p:nvSpPr>
        <p:spPr>
          <a:xfrm>
            <a:off x="52585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7" name="CustomShape 89"/>
          <p:cNvSpPr/>
          <p:nvPr/>
        </p:nvSpPr>
        <p:spPr>
          <a:xfrm>
            <a:off x="55450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8" name="CustomShape 90"/>
          <p:cNvSpPr/>
          <p:nvPr/>
        </p:nvSpPr>
        <p:spPr>
          <a:xfrm>
            <a:off x="58312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09" name="CustomShape 91"/>
          <p:cNvSpPr/>
          <p:nvPr/>
        </p:nvSpPr>
        <p:spPr>
          <a:xfrm>
            <a:off x="61178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0" name="CustomShape 92"/>
          <p:cNvSpPr/>
          <p:nvPr/>
        </p:nvSpPr>
        <p:spPr>
          <a:xfrm>
            <a:off x="64040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1" name="CustomShape 93"/>
          <p:cNvSpPr/>
          <p:nvPr/>
        </p:nvSpPr>
        <p:spPr>
          <a:xfrm>
            <a:off x="66906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2" name="CustomShape 94"/>
          <p:cNvSpPr/>
          <p:nvPr/>
        </p:nvSpPr>
        <p:spPr>
          <a:xfrm>
            <a:off x="46857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3" name="CustomShape 95"/>
          <p:cNvSpPr/>
          <p:nvPr/>
        </p:nvSpPr>
        <p:spPr>
          <a:xfrm>
            <a:off x="49723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4" name="CustomShape 96"/>
          <p:cNvSpPr/>
          <p:nvPr/>
        </p:nvSpPr>
        <p:spPr>
          <a:xfrm>
            <a:off x="52585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5" name="CustomShape 97"/>
          <p:cNvSpPr/>
          <p:nvPr/>
        </p:nvSpPr>
        <p:spPr>
          <a:xfrm>
            <a:off x="55450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6" name="CustomShape 98"/>
          <p:cNvSpPr/>
          <p:nvPr/>
        </p:nvSpPr>
        <p:spPr>
          <a:xfrm>
            <a:off x="58312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7" name="CustomShape 99"/>
          <p:cNvSpPr/>
          <p:nvPr/>
        </p:nvSpPr>
        <p:spPr>
          <a:xfrm>
            <a:off x="61178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8" name="CustomShape 100"/>
          <p:cNvSpPr/>
          <p:nvPr/>
        </p:nvSpPr>
        <p:spPr>
          <a:xfrm>
            <a:off x="64040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19" name="CustomShape 101"/>
          <p:cNvSpPr/>
          <p:nvPr/>
        </p:nvSpPr>
        <p:spPr>
          <a:xfrm>
            <a:off x="66906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0" name="CustomShape 102"/>
          <p:cNvSpPr/>
          <p:nvPr/>
        </p:nvSpPr>
        <p:spPr>
          <a:xfrm>
            <a:off x="46857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1" name="CustomShape 103"/>
          <p:cNvSpPr/>
          <p:nvPr/>
        </p:nvSpPr>
        <p:spPr>
          <a:xfrm>
            <a:off x="49723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2" name="CustomShape 104"/>
          <p:cNvSpPr/>
          <p:nvPr/>
        </p:nvSpPr>
        <p:spPr>
          <a:xfrm>
            <a:off x="52585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3" name="CustomShape 105"/>
          <p:cNvSpPr/>
          <p:nvPr/>
        </p:nvSpPr>
        <p:spPr>
          <a:xfrm>
            <a:off x="55450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4" name="CustomShape 106"/>
          <p:cNvSpPr/>
          <p:nvPr/>
        </p:nvSpPr>
        <p:spPr>
          <a:xfrm>
            <a:off x="58312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5" name="CustomShape 107"/>
          <p:cNvSpPr/>
          <p:nvPr/>
        </p:nvSpPr>
        <p:spPr>
          <a:xfrm>
            <a:off x="61178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6" name="CustomShape 108"/>
          <p:cNvSpPr/>
          <p:nvPr/>
        </p:nvSpPr>
        <p:spPr>
          <a:xfrm>
            <a:off x="64040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7" name="CustomShape 109"/>
          <p:cNvSpPr/>
          <p:nvPr/>
        </p:nvSpPr>
        <p:spPr>
          <a:xfrm>
            <a:off x="66906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8" name="CustomShape 110"/>
          <p:cNvSpPr/>
          <p:nvPr/>
        </p:nvSpPr>
        <p:spPr>
          <a:xfrm>
            <a:off x="468576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29" name="CustomShape 111"/>
          <p:cNvSpPr/>
          <p:nvPr/>
        </p:nvSpPr>
        <p:spPr>
          <a:xfrm>
            <a:off x="49723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0" name="CustomShape 112"/>
          <p:cNvSpPr/>
          <p:nvPr/>
        </p:nvSpPr>
        <p:spPr>
          <a:xfrm>
            <a:off x="52585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1" name="CustomShape 113"/>
          <p:cNvSpPr/>
          <p:nvPr/>
        </p:nvSpPr>
        <p:spPr>
          <a:xfrm>
            <a:off x="55450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2" name="CustomShape 114"/>
          <p:cNvSpPr/>
          <p:nvPr/>
        </p:nvSpPr>
        <p:spPr>
          <a:xfrm>
            <a:off x="58312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3" name="CustomShape 115"/>
          <p:cNvSpPr/>
          <p:nvPr/>
        </p:nvSpPr>
        <p:spPr>
          <a:xfrm>
            <a:off x="61178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4" name="CustomShape 116"/>
          <p:cNvSpPr/>
          <p:nvPr/>
        </p:nvSpPr>
        <p:spPr>
          <a:xfrm>
            <a:off x="640404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35" name="CustomShape 117"/>
          <p:cNvSpPr/>
          <p:nvPr/>
        </p:nvSpPr>
        <p:spPr>
          <a:xfrm>
            <a:off x="669060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36" name="CustomShape 118"/>
          <p:cNvSpPr/>
          <p:nvPr/>
        </p:nvSpPr>
        <p:spPr>
          <a:xfrm>
            <a:off x="468576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7" name="CustomShape 119"/>
          <p:cNvSpPr/>
          <p:nvPr/>
        </p:nvSpPr>
        <p:spPr>
          <a:xfrm>
            <a:off x="49723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8" name="CustomShape 120"/>
          <p:cNvSpPr/>
          <p:nvPr/>
        </p:nvSpPr>
        <p:spPr>
          <a:xfrm>
            <a:off x="52585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39" name="CustomShape 121"/>
          <p:cNvSpPr/>
          <p:nvPr/>
        </p:nvSpPr>
        <p:spPr>
          <a:xfrm>
            <a:off x="55450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40" name="CustomShape 122"/>
          <p:cNvSpPr/>
          <p:nvPr/>
        </p:nvSpPr>
        <p:spPr>
          <a:xfrm>
            <a:off x="58312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41" name="CustomShape 123"/>
          <p:cNvSpPr/>
          <p:nvPr/>
        </p:nvSpPr>
        <p:spPr>
          <a:xfrm>
            <a:off x="61178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42" name="CustomShape 124"/>
          <p:cNvSpPr/>
          <p:nvPr/>
        </p:nvSpPr>
        <p:spPr>
          <a:xfrm>
            <a:off x="640404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43" name="CustomShape 125"/>
          <p:cNvSpPr/>
          <p:nvPr/>
        </p:nvSpPr>
        <p:spPr>
          <a:xfrm>
            <a:off x="669060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844" name="CustomShape 126"/>
          <p:cNvSpPr/>
          <p:nvPr/>
        </p:nvSpPr>
        <p:spPr>
          <a:xfrm>
            <a:off x="46857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5" name="CustomShape 127"/>
          <p:cNvSpPr/>
          <p:nvPr/>
        </p:nvSpPr>
        <p:spPr>
          <a:xfrm>
            <a:off x="49723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6" name="CustomShape 128"/>
          <p:cNvSpPr/>
          <p:nvPr/>
        </p:nvSpPr>
        <p:spPr>
          <a:xfrm>
            <a:off x="52585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7" name="CustomShape 129"/>
          <p:cNvSpPr/>
          <p:nvPr/>
        </p:nvSpPr>
        <p:spPr>
          <a:xfrm>
            <a:off x="55450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8" name="CustomShape 130"/>
          <p:cNvSpPr/>
          <p:nvPr/>
        </p:nvSpPr>
        <p:spPr>
          <a:xfrm>
            <a:off x="58312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49" name="CustomShape 131"/>
          <p:cNvSpPr/>
          <p:nvPr/>
        </p:nvSpPr>
        <p:spPr>
          <a:xfrm>
            <a:off x="61178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50" name="CustomShape 132"/>
          <p:cNvSpPr/>
          <p:nvPr/>
        </p:nvSpPr>
        <p:spPr>
          <a:xfrm>
            <a:off x="64040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51" name="CustomShape 133"/>
          <p:cNvSpPr/>
          <p:nvPr/>
        </p:nvSpPr>
        <p:spPr>
          <a:xfrm>
            <a:off x="669060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852" name="CustomShape 134"/>
          <p:cNvSpPr/>
          <p:nvPr/>
        </p:nvSpPr>
        <p:spPr>
          <a:xfrm>
            <a:off x="6973560" y="4464000"/>
            <a:ext cx="2370600" cy="210744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sp>
        <p:nvSpPr>
          <p:cNvPr id="1853" name="CustomShape 135"/>
          <p:cNvSpPr/>
          <p:nvPr/>
        </p:nvSpPr>
        <p:spPr>
          <a:xfrm>
            <a:off x="705672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4" name="CustomShape 136"/>
          <p:cNvSpPr/>
          <p:nvPr/>
        </p:nvSpPr>
        <p:spPr>
          <a:xfrm>
            <a:off x="73432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5" name="CustomShape 137"/>
          <p:cNvSpPr/>
          <p:nvPr/>
        </p:nvSpPr>
        <p:spPr>
          <a:xfrm>
            <a:off x="762948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6" name="CustomShape 138"/>
          <p:cNvSpPr/>
          <p:nvPr/>
        </p:nvSpPr>
        <p:spPr>
          <a:xfrm>
            <a:off x="79160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7" name="CustomShape 139"/>
          <p:cNvSpPr/>
          <p:nvPr/>
        </p:nvSpPr>
        <p:spPr>
          <a:xfrm>
            <a:off x="820224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8" name="CustomShape 140"/>
          <p:cNvSpPr/>
          <p:nvPr/>
        </p:nvSpPr>
        <p:spPr>
          <a:xfrm>
            <a:off x="848880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59" name="CustomShape 141"/>
          <p:cNvSpPr/>
          <p:nvPr/>
        </p:nvSpPr>
        <p:spPr>
          <a:xfrm>
            <a:off x="87753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0" name="CustomShape 142"/>
          <p:cNvSpPr/>
          <p:nvPr/>
        </p:nvSpPr>
        <p:spPr>
          <a:xfrm>
            <a:off x="9061560" y="45205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1" name="CustomShape 143"/>
          <p:cNvSpPr/>
          <p:nvPr/>
        </p:nvSpPr>
        <p:spPr>
          <a:xfrm>
            <a:off x="705672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2" name="CustomShape 144"/>
          <p:cNvSpPr/>
          <p:nvPr/>
        </p:nvSpPr>
        <p:spPr>
          <a:xfrm>
            <a:off x="73432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3" name="CustomShape 145"/>
          <p:cNvSpPr/>
          <p:nvPr/>
        </p:nvSpPr>
        <p:spPr>
          <a:xfrm>
            <a:off x="762948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4" name="CustomShape 146"/>
          <p:cNvSpPr/>
          <p:nvPr/>
        </p:nvSpPr>
        <p:spPr>
          <a:xfrm>
            <a:off x="79160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5" name="CustomShape 147"/>
          <p:cNvSpPr/>
          <p:nvPr/>
        </p:nvSpPr>
        <p:spPr>
          <a:xfrm>
            <a:off x="820224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6" name="CustomShape 148"/>
          <p:cNvSpPr/>
          <p:nvPr/>
        </p:nvSpPr>
        <p:spPr>
          <a:xfrm>
            <a:off x="848880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7" name="CustomShape 149"/>
          <p:cNvSpPr/>
          <p:nvPr/>
        </p:nvSpPr>
        <p:spPr>
          <a:xfrm>
            <a:off x="87753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8" name="CustomShape 150"/>
          <p:cNvSpPr/>
          <p:nvPr/>
        </p:nvSpPr>
        <p:spPr>
          <a:xfrm>
            <a:off x="9061560" y="47736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69" name="CustomShape 151"/>
          <p:cNvSpPr/>
          <p:nvPr/>
        </p:nvSpPr>
        <p:spPr>
          <a:xfrm>
            <a:off x="705672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0" name="CustomShape 152"/>
          <p:cNvSpPr/>
          <p:nvPr/>
        </p:nvSpPr>
        <p:spPr>
          <a:xfrm>
            <a:off x="73432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1" name="CustomShape 153"/>
          <p:cNvSpPr/>
          <p:nvPr/>
        </p:nvSpPr>
        <p:spPr>
          <a:xfrm>
            <a:off x="762948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2" name="CustomShape 154"/>
          <p:cNvSpPr/>
          <p:nvPr/>
        </p:nvSpPr>
        <p:spPr>
          <a:xfrm>
            <a:off x="79160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3" name="CustomShape 155"/>
          <p:cNvSpPr/>
          <p:nvPr/>
        </p:nvSpPr>
        <p:spPr>
          <a:xfrm>
            <a:off x="820224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4" name="CustomShape 156"/>
          <p:cNvSpPr/>
          <p:nvPr/>
        </p:nvSpPr>
        <p:spPr>
          <a:xfrm>
            <a:off x="848880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5" name="CustomShape 157"/>
          <p:cNvSpPr/>
          <p:nvPr/>
        </p:nvSpPr>
        <p:spPr>
          <a:xfrm>
            <a:off x="87753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6" name="CustomShape 158"/>
          <p:cNvSpPr/>
          <p:nvPr/>
        </p:nvSpPr>
        <p:spPr>
          <a:xfrm>
            <a:off x="9061560" y="502668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7" name="CustomShape 159"/>
          <p:cNvSpPr/>
          <p:nvPr/>
        </p:nvSpPr>
        <p:spPr>
          <a:xfrm>
            <a:off x="705672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8" name="CustomShape 160"/>
          <p:cNvSpPr/>
          <p:nvPr/>
        </p:nvSpPr>
        <p:spPr>
          <a:xfrm>
            <a:off x="73432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79" name="CustomShape 161"/>
          <p:cNvSpPr/>
          <p:nvPr/>
        </p:nvSpPr>
        <p:spPr>
          <a:xfrm>
            <a:off x="762948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0" name="CustomShape 162"/>
          <p:cNvSpPr/>
          <p:nvPr/>
        </p:nvSpPr>
        <p:spPr>
          <a:xfrm>
            <a:off x="79160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1" name="CustomShape 163"/>
          <p:cNvSpPr/>
          <p:nvPr/>
        </p:nvSpPr>
        <p:spPr>
          <a:xfrm>
            <a:off x="820224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2" name="CustomShape 164"/>
          <p:cNvSpPr/>
          <p:nvPr/>
        </p:nvSpPr>
        <p:spPr>
          <a:xfrm>
            <a:off x="848880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3" name="CustomShape 165"/>
          <p:cNvSpPr/>
          <p:nvPr/>
        </p:nvSpPr>
        <p:spPr>
          <a:xfrm>
            <a:off x="87753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4" name="CustomShape 166"/>
          <p:cNvSpPr/>
          <p:nvPr/>
        </p:nvSpPr>
        <p:spPr>
          <a:xfrm>
            <a:off x="9061560" y="527976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5" name="CustomShape 167"/>
          <p:cNvSpPr/>
          <p:nvPr/>
        </p:nvSpPr>
        <p:spPr>
          <a:xfrm>
            <a:off x="705672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6" name="CustomShape 168"/>
          <p:cNvSpPr/>
          <p:nvPr/>
        </p:nvSpPr>
        <p:spPr>
          <a:xfrm>
            <a:off x="73432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7" name="CustomShape 169"/>
          <p:cNvSpPr/>
          <p:nvPr/>
        </p:nvSpPr>
        <p:spPr>
          <a:xfrm>
            <a:off x="762948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8" name="CustomShape 170"/>
          <p:cNvSpPr/>
          <p:nvPr/>
        </p:nvSpPr>
        <p:spPr>
          <a:xfrm>
            <a:off x="79160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89" name="CustomShape 171"/>
          <p:cNvSpPr/>
          <p:nvPr/>
        </p:nvSpPr>
        <p:spPr>
          <a:xfrm>
            <a:off x="820224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0" name="CustomShape 172"/>
          <p:cNvSpPr/>
          <p:nvPr/>
        </p:nvSpPr>
        <p:spPr>
          <a:xfrm>
            <a:off x="848880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1" name="CustomShape 173"/>
          <p:cNvSpPr/>
          <p:nvPr/>
        </p:nvSpPr>
        <p:spPr>
          <a:xfrm>
            <a:off x="87753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2" name="CustomShape 174"/>
          <p:cNvSpPr/>
          <p:nvPr/>
        </p:nvSpPr>
        <p:spPr>
          <a:xfrm>
            <a:off x="9061560" y="553284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3" name="CustomShape 175"/>
          <p:cNvSpPr/>
          <p:nvPr/>
        </p:nvSpPr>
        <p:spPr>
          <a:xfrm>
            <a:off x="705672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4" name="CustomShape 176"/>
          <p:cNvSpPr/>
          <p:nvPr/>
        </p:nvSpPr>
        <p:spPr>
          <a:xfrm>
            <a:off x="73432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5" name="CustomShape 177"/>
          <p:cNvSpPr/>
          <p:nvPr/>
        </p:nvSpPr>
        <p:spPr>
          <a:xfrm>
            <a:off x="762948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6" name="CustomShape 178"/>
          <p:cNvSpPr/>
          <p:nvPr/>
        </p:nvSpPr>
        <p:spPr>
          <a:xfrm>
            <a:off x="79160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7" name="CustomShape 179"/>
          <p:cNvSpPr/>
          <p:nvPr/>
        </p:nvSpPr>
        <p:spPr>
          <a:xfrm>
            <a:off x="820224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8" name="CustomShape 180"/>
          <p:cNvSpPr/>
          <p:nvPr/>
        </p:nvSpPr>
        <p:spPr>
          <a:xfrm>
            <a:off x="8488800" y="578592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899" name="CustomShape 181"/>
          <p:cNvSpPr/>
          <p:nvPr/>
        </p:nvSpPr>
        <p:spPr>
          <a:xfrm>
            <a:off x="877536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900" name="CustomShape 182"/>
          <p:cNvSpPr/>
          <p:nvPr/>
        </p:nvSpPr>
        <p:spPr>
          <a:xfrm>
            <a:off x="9061560" y="578592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901" name="CustomShape 183"/>
          <p:cNvSpPr/>
          <p:nvPr/>
        </p:nvSpPr>
        <p:spPr>
          <a:xfrm>
            <a:off x="705672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2" name="CustomShape 184"/>
          <p:cNvSpPr/>
          <p:nvPr/>
        </p:nvSpPr>
        <p:spPr>
          <a:xfrm>
            <a:off x="73432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3" name="CustomShape 185"/>
          <p:cNvSpPr/>
          <p:nvPr/>
        </p:nvSpPr>
        <p:spPr>
          <a:xfrm>
            <a:off x="762948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4" name="CustomShape 186"/>
          <p:cNvSpPr/>
          <p:nvPr/>
        </p:nvSpPr>
        <p:spPr>
          <a:xfrm>
            <a:off x="79160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5" name="CustomShape 187"/>
          <p:cNvSpPr/>
          <p:nvPr/>
        </p:nvSpPr>
        <p:spPr>
          <a:xfrm>
            <a:off x="820224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6" name="CustomShape 188"/>
          <p:cNvSpPr/>
          <p:nvPr/>
        </p:nvSpPr>
        <p:spPr>
          <a:xfrm>
            <a:off x="8488800" y="6039000"/>
            <a:ext cx="192960" cy="192960"/>
          </a:xfrm>
          <a:prstGeom prst="ellipse">
            <a:avLst/>
          </a:prstGeom>
          <a:solidFill>
            <a:schemeClr val="bg2"/>
          </a:solidFill>
          <a:ln w="12600">
            <a:noFill/>
          </a:ln>
        </p:spPr>
        <p:style>
          <a:lnRef idx="0">
            <a:scrgbClr r="0" g="0" b="0"/>
          </a:lnRef>
          <a:fillRef idx="0">
            <a:scrgbClr r="0" g="0" b="0"/>
          </a:fillRef>
          <a:effectRef idx="0">
            <a:scrgbClr r="0" g="0" b="0"/>
          </a:effectRef>
          <a:fontRef idx="minor"/>
        </p:style>
      </p:sp>
      <p:sp>
        <p:nvSpPr>
          <p:cNvPr id="1907" name="CustomShape 189"/>
          <p:cNvSpPr/>
          <p:nvPr/>
        </p:nvSpPr>
        <p:spPr>
          <a:xfrm>
            <a:off x="877536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908" name="CustomShape 190"/>
          <p:cNvSpPr/>
          <p:nvPr/>
        </p:nvSpPr>
        <p:spPr>
          <a:xfrm>
            <a:off x="9061560" y="6039000"/>
            <a:ext cx="192960" cy="192960"/>
          </a:xfrm>
          <a:prstGeom prst="ellipse">
            <a:avLst/>
          </a:prstGeom>
          <a:solidFill>
            <a:schemeClr val="accent5"/>
          </a:solidFill>
          <a:ln w="12600">
            <a:noFill/>
          </a:ln>
        </p:spPr>
        <p:style>
          <a:lnRef idx="0">
            <a:scrgbClr r="0" g="0" b="0"/>
          </a:lnRef>
          <a:fillRef idx="0">
            <a:scrgbClr r="0" g="0" b="0"/>
          </a:fillRef>
          <a:effectRef idx="0">
            <a:scrgbClr r="0" g="0" b="0"/>
          </a:effectRef>
          <a:fontRef idx="minor"/>
        </p:style>
      </p:sp>
      <p:sp>
        <p:nvSpPr>
          <p:cNvPr id="1909" name="CustomShape 191"/>
          <p:cNvSpPr/>
          <p:nvPr/>
        </p:nvSpPr>
        <p:spPr>
          <a:xfrm>
            <a:off x="705672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0" name="CustomShape 192"/>
          <p:cNvSpPr/>
          <p:nvPr/>
        </p:nvSpPr>
        <p:spPr>
          <a:xfrm>
            <a:off x="73432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1" name="CustomShape 193"/>
          <p:cNvSpPr/>
          <p:nvPr/>
        </p:nvSpPr>
        <p:spPr>
          <a:xfrm>
            <a:off x="762948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2" name="CustomShape 194"/>
          <p:cNvSpPr/>
          <p:nvPr/>
        </p:nvSpPr>
        <p:spPr>
          <a:xfrm>
            <a:off x="79160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3" name="CustomShape 195"/>
          <p:cNvSpPr/>
          <p:nvPr/>
        </p:nvSpPr>
        <p:spPr>
          <a:xfrm>
            <a:off x="820224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4" name="CustomShape 196"/>
          <p:cNvSpPr/>
          <p:nvPr/>
        </p:nvSpPr>
        <p:spPr>
          <a:xfrm>
            <a:off x="848880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5" name="CustomShape 197"/>
          <p:cNvSpPr/>
          <p:nvPr/>
        </p:nvSpPr>
        <p:spPr>
          <a:xfrm>
            <a:off x="87753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1916" name="CustomShape 198"/>
          <p:cNvSpPr/>
          <p:nvPr/>
        </p:nvSpPr>
        <p:spPr>
          <a:xfrm>
            <a:off x="9061560" y="6292080"/>
            <a:ext cx="192960" cy="192960"/>
          </a:xfrm>
          <a:prstGeom prst="ellipse">
            <a:avLst/>
          </a:prstGeom>
          <a:solidFill>
            <a:schemeClr val="accent2"/>
          </a:solidFill>
          <a:ln w="12600">
            <a:noFill/>
          </a:ln>
        </p:spPr>
        <p:style>
          <a:lnRef idx="0">
            <a:scrgbClr r="0" g="0" b="0"/>
          </a:lnRef>
          <a:fillRef idx="0">
            <a:scrgbClr r="0" g="0" b="0"/>
          </a:fillRef>
          <a:effectRef idx="0">
            <a:scrgbClr r="0" g="0" b="0"/>
          </a:effectRef>
          <a:fontRef idx="minor"/>
        </p:style>
      </p:sp>
      <p:sp>
        <p:nvSpPr>
          <p:cNvPr id="201" name="Rectangle 200">
            <a:extLst>
              <a:ext uri="{FF2B5EF4-FFF2-40B4-BE49-F238E27FC236}">
                <a16:creationId xmlns:a16="http://schemas.microsoft.com/office/drawing/2014/main" id="{3E4AEA8D-533C-45FE-BFFB-3E8133B8641B}"/>
              </a:ext>
            </a:extLst>
          </p:cNvPr>
          <p:cNvSpPr/>
          <p:nvPr/>
        </p:nvSpPr>
        <p:spPr>
          <a:xfrm>
            <a:off x="11277600" y="309217"/>
            <a:ext cx="649357" cy="592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grpSp>
        <p:nvGrpSpPr>
          <p:cNvPr id="270" name="Group 269">
            <a:extLst>
              <a:ext uri="{FF2B5EF4-FFF2-40B4-BE49-F238E27FC236}">
                <a16:creationId xmlns:a16="http://schemas.microsoft.com/office/drawing/2014/main" id="{4EB4E1C1-7331-74B1-7F46-83B6AE493C84}"/>
              </a:ext>
            </a:extLst>
          </p:cNvPr>
          <p:cNvGrpSpPr/>
          <p:nvPr/>
        </p:nvGrpSpPr>
        <p:grpSpPr>
          <a:xfrm>
            <a:off x="3692041" y="1850760"/>
            <a:ext cx="2370600" cy="2107440"/>
            <a:chOff x="3692041" y="1850760"/>
            <a:chExt cx="2370600" cy="2107440"/>
          </a:xfrm>
        </p:grpSpPr>
        <p:grpSp>
          <p:nvGrpSpPr>
            <p:cNvPr id="271" name="Group 270">
              <a:extLst>
                <a:ext uri="{FF2B5EF4-FFF2-40B4-BE49-F238E27FC236}">
                  <a16:creationId xmlns:a16="http://schemas.microsoft.com/office/drawing/2014/main" id="{E60221FB-0020-51AE-1C05-DF6C0031EB2C}"/>
                </a:ext>
              </a:extLst>
            </p:cNvPr>
            <p:cNvGrpSpPr/>
            <p:nvPr/>
          </p:nvGrpSpPr>
          <p:grpSpPr>
            <a:xfrm>
              <a:off x="3789900" y="1929240"/>
              <a:ext cx="2197800" cy="1987560"/>
              <a:chOff x="2467200" y="4649880"/>
              <a:chExt cx="2197800" cy="1987560"/>
            </a:xfrm>
            <a:solidFill>
              <a:schemeClr val="bg2"/>
            </a:solidFill>
          </p:grpSpPr>
          <p:sp>
            <p:nvSpPr>
              <p:cNvPr id="273" name="CustomShape 5">
                <a:extLst>
                  <a:ext uri="{FF2B5EF4-FFF2-40B4-BE49-F238E27FC236}">
                    <a16:creationId xmlns:a16="http://schemas.microsoft.com/office/drawing/2014/main" id="{5ACBA1CD-B92D-2C4B-3A69-F2A79F481F2C}"/>
                  </a:ext>
                </a:extLst>
              </p:cNvPr>
              <p:cNvSpPr/>
              <p:nvPr/>
            </p:nvSpPr>
            <p:spPr>
              <a:xfrm>
                <a:off x="2467200" y="467292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74" name="CustomShape 6">
                <a:extLst>
                  <a:ext uri="{FF2B5EF4-FFF2-40B4-BE49-F238E27FC236}">
                    <a16:creationId xmlns:a16="http://schemas.microsoft.com/office/drawing/2014/main" id="{6E4F66DD-10EC-3CA4-1DEA-6C3DE63E0C5B}"/>
                  </a:ext>
                </a:extLst>
              </p:cNvPr>
              <p:cNvSpPr/>
              <p:nvPr/>
            </p:nvSpPr>
            <p:spPr>
              <a:xfrm>
                <a:off x="2711640" y="4649880"/>
                <a:ext cx="234720" cy="216000"/>
              </a:xfrm>
              <a:prstGeom prst="ellipse">
                <a:avLst/>
              </a:prstGeom>
              <a:grpFill/>
              <a:ln w="12600">
                <a:noFill/>
              </a:ln>
            </p:spPr>
            <p:style>
              <a:lnRef idx="0">
                <a:scrgbClr r="0" g="0" b="0"/>
              </a:lnRef>
              <a:fillRef idx="0">
                <a:scrgbClr r="0" g="0" b="0"/>
              </a:fillRef>
              <a:effectRef idx="0">
                <a:scrgbClr r="0" g="0" b="0"/>
              </a:effectRef>
              <a:fontRef idx="minor"/>
            </p:style>
          </p:sp>
          <p:sp>
            <p:nvSpPr>
              <p:cNvPr id="275" name="CustomShape 7">
                <a:extLst>
                  <a:ext uri="{FF2B5EF4-FFF2-40B4-BE49-F238E27FC236}">
                    <a16:creationId xmlns:a16="http://schemas.microsoft.com/office/drawing/2014/main" id="{55C3136B-774A-3A55-E4D5-C83786EA4AC8}"/>
                  </a:ext>
                </a:extLst>
              </p:cNvPr>
              <p:cNvSpPr/>
              <p:nvPr/>
            </p:nvSpPr>
            <p:spPr>
              <a:xfrm>
                <a:off x="3039960" y="467292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76" name="CustomShape 8">
                <a:extLst>
                  <a:ext uri="{FF2B5EF4-FFF2-40B4-BE49-F238E27FC236}">
                    <a16:creationId xmlns:a16="http://schemas.microsoft.com/office/drawing/2014/main" id="{FB211FBF-64EB-1AC1-D8ED-B618DB22DFFF}"/>
                  </a:ext>
                </a:extLst>
              </p:cNvPr>
              <p:cNvSpPr/>
              <p:nvPr/>
            </p:nvSpPr>
            <p:spPr>
              <a:xfrm>
                <a:off x="3326160" y="467292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77" name="CustomShape 9">
                <a:extLst>
                  <a:ext uri="{FF2B5EF4-FFF2-40B4-BE49-F238E27FC236}">
                    <a16:creationId xmlns:a16="http://schemas.microsoft.com/office/drawing/2014/main" id="{D31A2ADA-7C81-67D0-2F58-C6A3ACF2E9B5}"/>
                  </a:ext>
                </a:extLst>
              </p:cNvPr>
              <p:cNvSpPr/>
              <p:nvPr/>
            </p:nvSpPr>
            <p:spPr>
              <a:xfrm>
                <a:off x="3612720" y="467292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78" name="CustomShape 10">
                <a:extLst>
                  <a:ext uri="{FF2B5EF4-FFF2-40B4-BE49-F238E27FC236}">
                    <a16:creationId xmlns:a16="http://schemas.microsoft.com/office/drawing/2014/main" id="{89121387-BB42-606C-7FB2-3678C322CE74}"/>
                  </a:ext>
                </a:extLst>
              </p:cNvPr>
              <p:cNvSpPr/>
              <p:nvPr/>
            </p:nvSpPr>
            <p:spPr>
              <a:xfrm>
                <a:off x="3898920" y="467292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79" name="CustomShape 11">
                <a:extLst>
                  <a:ext uri="{FF2B5EF4-FFF2-40B4-BE49-F238E27FC236}">
                    <a16:creationId xmlns:a16="http://schemas.microsoft.com/office/drawing/2014/main" id="{059670E1-9447-01B4-4C99-69F8E3C78B59}"/>
                  </a:ext>
                </a:extLst>
              </p:cNvPr>
              <p:cNvSpPr/>
              <p:nvPr/>
            </p:nvSpPr>
            <p:spPr>
              <a:xfrm>
                <a:off x="4185480" y="467292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80" name="CustomShape 12">
                <a:extLst>
                  <a:ext uri="{FF2B5EF4-FFF2-40B4-BE49-F238E27FC236}">
                    <a16:creationId xmlns:a16="http://schemas.microsoft.com/office/drawing/2014/main" id="{E71F4250-DF49-B5B9-1379-EA180383B341}"/>
                  </a:ext>
                </a:extLst>
              </p:cNvPr>
              <p:cNvSpPr/>
              <p:nvPr/>
            </p:nvSpPr>
            <p:spPr>
              <a:xfrm>
                <a:off x="4472040" y="467292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81" name="CustomShape 13">
                <a:extLst>
                  <a:ext uri="{FF2B5EF4-FFF2-40B4-BE49-F238E27FC236}">
                    <a16:creationId xmlns:a16="http://schemas.microsoft.com/office/drawing/2014/main" id="{56BB0304-D91F-F865-8350-B222DBDB5DE4}"/>
                  </a:ext>
                </a:extLst>
              </p:cNvPr>
              <p:cNvSpPr/>
              <p:nvPr/>
            </p:nvSpPr>
            <p:spPr>
              <a:xfrm>
                <a:off x="2467200" y="492600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82" name="CustomShape 14">
                <a:extLst>
                  <a:ext uri="{FF2B5EF4-FFF2-40B4-BE49-F238E27FC236}">
                    <a16:creationId xmlns:a16="http://schemas.microsoft.com/office/drawing/2014/main" id="{29DF2D7A-8214-21A4-D0E7-167ECB0E6F6D}"/>
                  </a:ext>
                </a:extLst>
              </p:cNvPr>
              <p:cNvSpPr/>
              <p:nvPr/>
            </p:nvSpPr>
            <p:spPr>
              <a:xfrm>
                <a:off x="2753400" y="492600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83" name="CustomShape 15">
                <a:extLst>
                  <a:ext uri="{FF2B5EF4-FFF2-40B4-BE49-F238E27FC236}">
                    <a16:creationId xmlns:a16="http://schemas.microsoft.com/office/drawing/2014/main" id="{B20B0258-4FB3-E53F-5F2E-97092567EA61}"/>
                  </a:ext>
                </a:extLst>
              </p:cNvPr>
              <p:cNvSpPr/>
              <p:nvPr/>
            </p:nvSpPr>
            <p:spPr>
              <a:xfrm>
                <a:off x="3039960" y="492600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84" name="CustomShape 16">
                <a:extLst>
                  <a:ext uri="{FF2B5EF4-FFF2-40B4-BE49-F238E27FC236}">
                    <a16:creationId xmlns:a16="http://schemas.microsoft.com/office/drawing/2014/main" id="{F176F0EE-F403-BDC0-7C8A-1A9C6AC0C974}"/>
                  </a:ext>
                </a:extLst>
              </p:cNvPr>
              <p:cNvSpPr/>
              <p:nvPr/>
            </p:nvSpPr>
            <p:spPr>
              <a:xfrm>
                <a:off x="3326160" y="492600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85" name="CustomShape 17">
                <a:extLst>
                  <a:ext uri="{FF2B5EF4-FFF2-40B4-BE49-F238E27FC236}">
                    <a16:creationId xmlns:a16="http://schemas.microsoft.com/office/drawing/2014/main" id="{02A00863-92E5-6448-DAD1-1BEE6C7E95A2}"/>
                  </a:ext>
                </a:extLst>
              </p:cNvPr>
              <p:cNvSpPr/>
              <p:nvPr/>
            </p:nvSpPr>
            <p:spPr>
              <a:xfrm>
                <a:off x="3612720" y="492600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86" name="CustomShape 18">
                <a:extLst>
                  <a:ext uri="{FF2B5EF4-FFF2-40B4-BE49-F238E27FC236}">
                    <a16:creationId xmlns:a16="http://schemas.microsoft.com/office/drawing/2014/main" id="{B6A65C3E-01FF-6865-0A21-8CBF10C273B9}"/>
                  </a:ext>
                </a:extLst>
              </p:cNvPr>
              <p:cNvSpPr/>
              <p:nvPr/>
            </p:nvSpPr>
            <p:spPr>
              <a:xfrm>
                <a:off x="3898920" y="492600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87" name="CustomShape 19">
                <a:extLst>
                  <a:ext uri="{FF2B5EF4-FFF2-40B4-BE49-F238E27FC236}">
                    <a16:creationId xmlns:a16="http://schemas.microsoft.com/office/drawing/2014/main" id="{074D0634-9905-0D6A-23EE-9086CAD65A14}"/>
                  </a:ext>
                </a:extLst>
              </p:cNvPr>
              <p:cNvSpPr/>
              <p:nvPr/>
            </p:nvSpPr>
            <p:spPr>
              <a:xfrm>
                <a:off x="4185480" y="492600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88" name="CustomShape 20">
                <a:extLst>
                  <a:ext uri="{FF2B5EF4-FFF2-40B4-BE49-F238E27FC236}">
                    <a16:creationId xmlns:a16="http://schemas.microsoft.com/office/drawing/2014/main" id="{B920C023-FEEC-B8F6-D6EE-781F39B35724}"/>
                  </a:ext>
                </a:extLst>
              </p:cNvPr>
              <p:cNvSpPr/>
              <p:nvPr/>
            </p:nvSpPr>
            <p:spPr>
              <a:xfrm>
                <a:off x="4472040" y="492600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89" name="CustomShape 21">
                <a:extLst>
                  <a:ext uri="{FF2B5EF4-FFF2-40B4-BE49-F238E27FC236}">
                    <a16:creationId xmlns:a16="http://schemas.microsoft.com/office/drawing/2014/main" id="{144365A0-BB67-1A3F-49CE-FC230577A6A1}"/>
                  </a:ext>
                </a:extLst>
              </p:cNvPr>
              <p:cNvSpPr/>
              <p:nvPr/>
            </p:nvSpPr>
            <p:spPr>
              <a:xfrm>
                <a:off x="2467200" y="517908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90" name="CustomShape 22">
                <a:extLst>
                  <a:ext uri="{FF2B5EF4-FFF2-40B4-BE49-F238E27FC236}">
                    <a16:creationId xmlns:a16="http://schemas.microsoft.com/office/drawing/2014/main" id="{3AAD11DF-CC7E-F060-6899-D2398EF4AF91}"/>
                  </a:ext>
                </a:extLst>
              </p:cNvPr>
              <p:cNvSpPr/>
              <p:nvPr/>
            </p:nvSpPr>
            <p:spPr>
              <a:xfrm>
                <a:off x="2753400" y="517908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91" name="CustomShape 23">
                <a:extLst>
                  <a:ext uri="{FF2B5EF4-FFF2-40B4-BE49-F238E27FC236}">
                    <a16:creationId xmlns:a16="http://schemas.microsoft.com/office/drawing/2014/main" id="{7C175BA1-9031-9F0B-00DF-E4286A5C767E}"/>
                  </a:ext>
                </a:extLst>
              </p:cNvPr>
              <p:cNvSpPr/>
              <p:nvPr/>
            </p:nvSpPr>
            <p:spPr>
              <a:xfrm>
                <a:off x="3039960" y="517908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92" name="CustomShape 24">
                <a:extLst>
                  <a:ext uri="{FF2B5EF4-FFF2-40B4-BE49-F238E27FC236}">
                    <a16:creationId xmlns:a16="http://schemas.microsoft.com/office/drawing/2014/main" id="{C17D50AB-C6B8-5251-D2DA-5CB39E963F13}"/>
                  </a:ext>
                </a:extLst>
              </p:cNvPr>
              <p:cNvSpPr/>
              <p:nvPr/>
            </p:nvSpPr>
            <p:spPr>
              <a:xfrm>
                <a:off x="3326160" y="517908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93" name="CustomShape 25">
                <a:extLst>
                  <a:ext uri="{FF2B5EF4-FFF2-40B4-BE49-F238E27FC236}">
                    <a16:creationId xmlns:a16="http://schemas.microsoft.com/office/drawing/2014/main" id="{5E1AF264-2E9D-E94E-D0DE-6AF458AFBBA4}"/>
                  </a:ext>
                </a:extLst>
              </p:cNvPr>
              <p:cNvSpPr/>
              <p:nvPr/>
            </p:nvSpPr>
            <p:spPr>
              <a:xfrm>
                <a:off x="3612720" y="517908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94" name="CustomShape 26">
                <a:extLst>
                  <a:ext uri="{FF2B5EF4-FFF2-40B4-BE49-F238E27FC236}">
                    <a16:creationId xmlns:a16="http://schemas.microsoft.com/office/drawing/2014/main" id="{4296A417-9911-B7D7-398E-6EEA5433B3DC}"/>
                  </a:ext>
                </a:extLst>
              </p:cNvPr>
              <p:cNvSpPr/>
              <p:nvPr/>
            </p:nvSpPr>
            <p:spPr>
              <a:xfrm>
                <a:off x="3898920" y="517908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95" name="CustomShape 27">
                <a:extLst>
                  <a:ext uri="{FF2B5EF4-FFF2-40B4-BE49-F238E27FC236}">
                    <a16:creationId xmlns:a16="http://schemas.microsoft.com/office/drawing/2014/main" id="{9B3C4B89-6CBD-3A44-6AAD-A55574346D69}"/>
                  </a:ext>
                </a:extLst>
              </p:cNvPr>
              <p:cNvSpPr/>
              <p:nvPr/>
            </p:nvSpPr>
            <p:spPr>
              <a:xfrm>
                <a:off x="4185480" y="517908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96" name="CustomShape 28">
                <a:extLst>
                  <a:ext uri="{FF2B5EF4-FFF2-40B4-BE49-F238E27FC236}">
                    <a16:creationId xmlns:a16="http://schemas.microsoft.com/office/drawing/2014/main" id="{73B069CB-3FE1-DF99-6704-065CD67E6451}"/>
                  </a:ext>
                </a:extLst>
              </p:cNvPr>
              <p:cNvSpPr/>
              <p:nvPr/>
            </p:nvSpPr>
            <p:spPr>
              <a:xfrm>
                <a:off x="4472040" y="517908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97" name="CustomShape 29">
                <a:extLst>
                  <a:ext uri="{FF2B5EF4-FFF2-40B4-BE49-F238E27FC236}">
                    <a16:creationId xmlns:a16="http://schemas.microsoft.com/office/drawing/2014/main" id="{66C4CB9C-CC59-34EB-F505-5B018EBA1AD1}"/>
                  </a:ext>
                </a:extLst>
              </p:cNvPr>
              <p:cNvSpPr/>
              <p:nvPr/>
            </p:nvSpPr>
            <p:spPr>
              <a:xfrm>
                <a:off x="2467200" y="543216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98" name="CustomShape 30">
                <a:extLst>
                  <a:ext uri="{FF2B5EF4-FFF2-40B4-BE49-F238E27FC236}">
                    <a16:creationId xmlns:a16="http://schemas.microsoft.com/office/drawing/2014/main" id="{C70B818C-2952-B52A-5195-19AFF668981A}"/>
                  </a:ext>
                </a:extLst>
              </p:cNvPr>
              <p:cNvSpPr/>
              <p:nvPr/>
            </p:nvSpPr>
            <p:spPr>
              <a:xfrm>
                <a:off x="2753400" y="543216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299" name="CustomShape 31">
                <a:extLst>
                  <a:ext uri="{FF2B5EF4-FFF2-40B4-BE49-F238E27FC236}">
                    <a16:creationId xmlns:a16="http://schemas.microsoft.com/office/drawing/2014/main" id="{19A3FEC9-D19D-243A-2F9C-0F987E4E403B}"/>
                  </a:ext>
                </a:extLst>
              </p:cNvPr>
              <p:cNvSpPr/>
              <p:nvPr/>
            </p:nvSpPr>
            <p:spPr>
              <a:xfrm>
                <a:off x="3039960" y="543216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00" name="CustomShape 32">
                <a:extLst>
                  <a:ext uri="{FF2B5EF4-FFF2-40B4-BE49-F238E27FC236}">
                    <a16:creationId xmlns:a16="http://schemas.microsoft.com/office/drawing/2014/main" id="{85E1B092-FD10-E576-77C7-4CC632123654}"/>
                  </a:ext>
                </a:extLst>
              </p:cNvPr>
              <p:cNvSpPr/>
              <p:nvPr/>
            </p:nvSpPr>
            <p:spPr>
              <a:xfrm>
                <a:off x="3326160" y="543216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01" name="CustomShape 33">
                <a:extLst>
                  <a:ext uri="{FF2B5EF4-FFF2-40B4-BE49-F238E27FC236}">
                    <a16:creationId xmlns:a16="http://schemas.microsoft.com/office/drawing/2014/main" id="{39AD5A9A-EAAD-FA31-4B2A-118F016E5136}"/>
                  </a:ext>
                </a:extLst>
              </p:cNvPr>
              <p:cNvSpPr/>
              <p:nvPr/>
            </p:nvSpPr>
            <p:spPr>
              <a:xfrm>
                <a:off x="3612720" y="543216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02" name="CustomShape 34">
                <a:extLst>
                  <a:ext uri="{FF2B5EF4-FFF2-40B4-BE49-F238E27FC236}">
                    <a16:creationId xmlns:a16="http://schemas.microsoft.com/office/drawing/2014/main" id="{088A5DB7-A1C3-C6F1-7B13-7D025A9573BE}"/>
                  </a:ext>
                </a:extLst>
              </p:cNvPr>
              <p:cNvSpPr/>
              <p:nvPr/>
            </p:nvSpPr>
            <p:spPr>
              <a:xfrm>
                <a:off x="3898920" y="543216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03" name="CustomShape 35">
                <a:extLst>
                  <a:ext uri="{FF2B5EF4-FFF2-40B4-BE49-F238E27FC236}">
                    <a16:creationId xmlns:a16="http://schemas.microsoft.com/office/drawing/2014/main" id="{9530299D-6B26-56C0-CB7E-7B1B19F0FB83}"/>
                  </a:ext>
                </a:extLst>
              </p:cNvPr>
              <p:cNvSpPr/>
              <p:nvPr/>
            </p:nvSpPr>
            <p:spPr>
              <a:xfrm>
                <a:off x="4185480" y="543216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04" name="CustomShape 36">
                <a:extLst>
                  <a:ext uri="{FF2B5EF4-FFF2-40B4-BE49-F238E27FC236}">
                    <a16:creationId xmlns:a16="http://schemas.microsoft.com/office/drawing/2014/main" id="{2D8EE61A-DFEC-2267-45F3-57C5DA44EEE2}"/>
                  </a:ext>
                </a:extLst>
              </p:cNvPr>
              <p:cNvSpPr/>
              <p:nvPr/>
            </p:nvSpPr>
            <p:spPr>
              <a:xfrm>
                <a:off x="4472040" y="543216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05" name="CustomShape 37">
                <a:extLst>
                  <a:ext uri="{FF2B5EF4-FFF2-40B4-BE49-F238E27FC236}">
                    <a16:creationId xmlns:a16="http://schemas.microsoft.com/office/drawing/2014/main" id="{E661A7C3-B5D7-D5D3-BC40-B71D4BF4CC10}"/>
                  </a:ext>
                </a:extLst>
              </p:cNvPr>
              <p:cNvSpPr/>
              <p:nvPr/>
            </p:nvSpPr>
            <p:spPr>
              <a:xfrm>
                <a:off x="2467200" y="568524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06" name="CustomShape 38">
                <a:extLst>
                  <a:ext uri="{FF2B5EF4-FFF2-40B4-BE49-F238E27FC236}">
                    <a16:creationId xmlns:a16="http://schemas.microsoft.com/office/drawing/2014/main" id="{71AD00B1-5EDC-DDFF-B46E-28D1FF263BDC}"/>
                  </a:ext>
                </a:extLst>
              </p:cNvPr>
              <p:cNvSpPr/>
              <p:nvPr/>
            </p:nvSpPr>
            <p:spPr>
              <a:xfrm>
                <a:off x="2753400" y="568524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07" name="CustomShape 39">
                <a:extLst>
                  <a:ext uri="{FF2B5EF4-FFF2-40B4-BE49-F238E27FC236}">
                    <a16:creationId xmlns:a16="http://schemas.microsoft.com/office/drawing/2014/main" id="{2CAA80EB-B7D3-0330-6C71-74A02EB81E36}"/>
                  </a:ext>
                </a:extLst>
              </p:cNvPr>
              <p:cNvSpPr/>
              <p:nvPr/>
            </p:nvSpPr>
            <p:spPr>
              <a:xfrm>
                <a:off x="3039960" y="568524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08" name="CustomShape 40">
                <a:extLst>
                  <a:ext uri="{FF2B5EF4-FFF2-40B4-BE49-F238E27FC236}">
                    <a16:creationId xmlns:a16="http://schemas.microsoft.com/office/drawing/2014/main" id="{A8B34459-B298-6A68-CF92-D6990846FB52}"/>
                  </a:ext>
                </a:extLst>
              </p:cNvPr>
              <p:cNvSpPr/>
              <p:nvPr/>
            </p:nvSpPr>
            <p:spPr>
              <a:xfrm>
                <a:off x="3326160" y="568524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09" name="CustomShape 41">
                <a:extLst>
                  <a:ext uri="{FF2B5EF4-FFF2-40B4-BE49-F238E27FC236}">
                    <a16:creationId xmlns:a16="http://schemas.microsoft.com/office/drawing/2014/main" id="{4824A6AA-AB26-D5B8-0B78-EE4AA2864548}"/>
                  </a:ext>
                </a:extLst>
              </p:cNvPr>
              <p:cNvSpPr/>
              <p:nvPr/>
            </p:nvSpPr>
            <p:spPr>
              <a:xfrm>
                <a:off x="3612720" y="568524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10" name="CustomShape 42">
                <a:extLst>
                  <a:ext uri="{FF2B5EF4-FFF2-40B4-BE49-F238E27FC236}">
                    <a16:creationId xmlns:a16="http://schemas.microsoft.com/office/drawing/2014/main" id="{ECA7CEA4-7A5C-6649-5FE0-9515196BFBA6}"/>
                  </a:ext>
                </a:extLst>
              </p:cNvPr>
              <p:cNvSpPr/>
              <p:nvPr/>
            </p:nvSpPr>
            <p:spPr>
              <a:xfrm>
                <a:off x="3898920" y="568524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11" name="CustomShape 43">
                <a:extLst>
                  <a:ext uri="{FF2B5EF4-FFF2-40B4-BE49-F238E27FC236}">
                    <a16:creationId xmlns:a16="http://schemas.microsoft.com/office/drawing/2014/main" id="{A30704CD-5157-FF28-7DFB-C465583CA596}"/>
                  </a:ext>
                </a:extLst>
              </p:cNvPr>
              <p:cNvSpPr/>
              <p:nvPr/>
            </p:nvSpPr>
            <p:spPr>
              <a:xfrm>
                <a:off x="4185480" y="568524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12" name="CustomShape 44">
                <a:extLst>
                  <a:ext uri="{FF2B5EF4-FFF2-40B4-BE49-F238E27FC236}">
                    <a16:creationId xmlns:a16="http://schemas.microsoft.com/office/drawing/2014/main" id="{F10F373C-8FC9-0EB4-4CDA-1421E641D9A5}"/>
                  </a:ext>
                </a:extLst>
              </p:cNvPr>
              <p:cNvSpPr/>
              <p:nvPr/>
            </p:nvSpPr>
            <p:spPr>
              <a:xfrm>
                <a:off x="4472040" y="568524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13" name="CustomShape 45">
                <a:extLst>
                  <a:ext uri="{FF2B5EF4-FFF2-40B4-BE49-F238E27FC236}">
                    <a16:creationId xmlns:a16="http://schemas.microsoft.com/office/drawing/2014/main" id="{FA73CB5F-59E9-CB46-52E5-14B02BE58AA5}"/>
                  </a:ext>
                </a:extLst>
              </p:cNvPr>
              <p:cNvSpPr/>
              <p:nvPr/>
            </p:nvSpPr>
            <p:spPr>
              <a:xfrm>
                <a:off x="2467200" y="593832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14" name="CustomShape 46">
                <a:extLst>
                  <a:ext uri="{FF2B5EF4-FFF2-40B4-BE49-F238E27FC236}">
                    <a16:creationId xmlns:a16="http://schemas.microsoft.com/office/drawing/2014/main" id="{24257940-B5EA-D3B5-BB6F-A25A52937AC7}"/>
                  </a:ext>
                </a:extLst>
              </p:cNvPr>
              <p:cNvSpPr/>
              <p:nvPr/>
            </p:nvSpPr>
            <p:spPr>
              <a:xfrm>
                <a:off x="2753400" y="593832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15" name="CustomShape 47">
                <a:extLst>
                  <a:ext uri="{FF2B5EF4-FFF2-40B4-BE49-F238E27FC236}">
                    <a16:creationId xmlns:a16="http://schemas.microsoft.com/office/drawing/2014/main" id="{1EC10EF0-838B-0D74-E102-634965B952B4}"/>
                  </a:ext>
                </a:extLst>
              </p:cNvPr>
              <p:cNvSpPr/>
              <p:nvPr/>
            </p:nvSpPr>
            <p:spPr>
              <a:xfrm>
                <a:off x="3039960" y="593832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16" name="CustomShape 48">
                <a:extLst>
                  <a:ext uri="{FF2B5EF4-FFF2-40B4-BE49-F238E27FC236}">
                    <a16:creationId xmlns:a16="http://schemas.microsoft.com/office/drawing/2014/main" id="{0BD3355E-CE53-0846-B66B-9BCB49634690}"/>
                  </a:ext>
                </a:extLst>
              </p:cNvPr>
              <p:cNvSpPr/>
              <p:nvPr/>
            </p:nvSpPr>
            <p:spPr>
              <a:xfrm>
                <a:off x="3326160" y="593832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17" name="CustomShape 49">
                <a:extLst>
                  <a:ext uri="{FF2B5EF4-FFF2-40B4-BE49-F238E27FC236}">
                    <a16:creationId xmlns:a16="http://schemas.microsoft.com/office/drawing/2014/main" id="{5698F024-2EBE-D258-6140-EAFD665D168F}"/>
                  </a:ext>
                </a:extLst>
              </p:cNvPr>
              <p:cNvSpPr/>
              <p:nvPr/>
            </p:nvSpPr>
            <p:spPr>
              <a:xfrm>
                <a:off x="3612720" y="593832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18" name="CustomShape 50">
                <a:extLst>
                  <a:ext uri="{FF2B5EF4-FFF2-40B4-BE49-F238E27FC236}">
                    <a16:creationId xmlns:a16="http://schemas.microsoft.com/office/drawing/2014/main" id="{40BDDF35-D1A9-6EC3-452C-7C3626FEE24C}"/>
                  </a:ext>
                </a:extLst>
              </p:cNvPr>
              <p:cNvSpPr/>
              <p:nvPr/>
            </p:nvSpPr>
            <p:spPr>
              <a:xfrm>
                <a:off x="3898920" y="593832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19" name="CustomShape 51">
                <a:extLst>
                  <a:ext uri="{FF2B5EF4-FFF2-40B4-BE49-F238E27FC236}">
                    <a16:creationId xmlns:a16="http://schemas.microsoft.com/office/drawing/2014/main" id="{D4562460-0F7A-BC90-E2D9-915D06887CC0}"/>
                  </a:ext>
                </a:extLst>
              </p:cNvPr>
              <p:cNvSpPr/>
              <p:nvPr/>
            </p:nvSpPr>
            <p:spPr>
              <a:xfrm>
                <a:off x="4185480" y="593832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20" name="CustomShape 52">
                <a:extLst>
                  <a:ext uri="{FF2B5EF4-FFF2-40B4-BE49-F238E27FC236}">
                    <a16:creationId xmlns:a16="http://schemas.microsoft.com/office/drawing/2014/main" id="{58E7C59C-BF3E-12EE-F26A-A0CE311A495A}"/>
                  </a:ext>
                </a:extLst>
              </p:cNvPr>
              <p:cNvSpPr/>
              <p:nvPr/>
            </p:nvSpPr>
            <p:spPr>
              <a:xfrm>
                <a:off x="4472040" y="593832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21" name="CustomShape 53">
                <a:extLst>
                  <a:ext uri="{FF2B5EF4-FFF2-40B4-BE49-F238E27FC236}">
                    <a16:creationId xmlns:a16="http://schemas.microsoft.com/office/drawing/2014/main" id="{E37F44C6-154C-8380-0EA3-F32A8740328E}"/>
                  </a:ext>
                </a:extLst>
              </p:cNvPr>
              <p:cNvSpPr/>
              <p:nvPr/>
            </p:nvSpPr>
            <p:spPr>
              <a:xfrm>
                <a:off x="2467200" y="619140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22" name="CustomShape 54">
                <a:extLst>
                  <a:ext uri="{FF2B5EF4-FFF2-40B4-BE49-F238E27FC236}">
                    <a16:creationId xmlns:a16="http://schemas.microsoft.com/office/drawing/2014/main" id="{A54882DB-89E4-F136-7A7D-6C17470157F0}"/>
                  </a:ext>
                </a:extLst>
              </p:cNvPr>
              <p:cNvSpPr/>
              <p:nvPr/>
            </p:nvSpPr>
            <p:spPr>
              <a:xfrm>
                <a:off x="2753400" y="619140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23" name="CustomShape 55">
                <a:extLst>
                  <a:ext uri="{FF2B5EF4-FFF2-40B4-BE49-F238E27FC236}">
                    <a16:creationId xmlns:a16="http://schemas.microsoft.com/office/drawing/2014/main" id="{0A5BFD84-77CE-2CE1-3205-A5B9BC022DA4}"/>
                  </a:ext>
                </a:extLst>
              </p:cNvPr>
              <p:cNvSpPr/>
              <p:nvPr/>
            </p:nvSpPr>
            <p:spPr>
              <a:xfrm>
                <a:off x="3039960" y="619140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24" name="CustomShape 56">
                <a:extLst>
                  <a:ext uri="{FF2B5EF4-FFF2-40B4-BE49-F238E27FC236}">
                    <a16:creationId xmlns:a16="http://schemas.microsoft.com/office/drawing/2014/main" id="{25ED2AF0-1A78-AF67-657A-939BDF17AB8B}"/>
                  </a:ext>
                </a:extLst>
              </p:cNvPr>
              <p:cNvSpPr/>
              <p:nvPr/>
            </p:nvSpPr>
            <p:spPr>
              <a:xfrm>
                <a:off x="3326160" y="619140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25" name="CustomShape 57">
                <a:extLst>
                  <a:ext uri="{FF2B5EF4-FFF2-40B4-BE49-F238E27FC236}">
                    <a16:creationId xmlns:a16="http://schemas.microsoft.com/office/drawing/2014/main" id="{DE315F40-9F26-9F64-D19E-FDCE2FCF0007}"/>
                  </a:ext>
                </a:extLst>
              </p:cNvPr>
              <p:cNvSpPr/>
              <p:nvPr/>
            </p:nvSpPr>
            <p:spPr>
              <a:xfrm>
                <a:off x="3612720" y="619140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26" name="CustomShape 58">
                <a:extLst>
                  <a:ext uri="{FF2B5EF4-FFF2-40B4-BE49-F238E27FC236}">
                    <a16:creationId xmlns:a16="http://schemas.microsoft.com/office/drawing/2014/main" id="{B25144F6-033D-C476-5499-99BA2F71215F}"/>
                  </a:ext>
                </a:extLst>
              </p:cNvPr>
              <p:cNvSpPr/>
              <p:nvPr/>
            </p:nvSpPr>
            <p:spPr>
              <a:xfrm>
                <a:off x="3898920" y="619140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27" name="CustomShape 59">
                <a:extLst>
                  <a:ext uri="{FF2B5EF4-FFF2-40B4-BE49-F238E27FC236}">
                    <a16:creationId xmlns:a16="http://schemas.microsoft.com/office/drawing/2014/main" id="{BE11BC8D-035E-A9F3-E05E-8D99F5CB07DF}"/>
                  </a:ext>
                </a:extLst>
              </p:cNvPr>
              <p:cNvSpPr/>
              <p:nvPr/>
            </p:nvSpPr>
            <p:spPr>
              <a:xfrm>
                <a:off x="4185480" y="619140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28" name="CustomShape 60">
                <a:extLst>
                  <a:ext uri="{FF2B5EF4-FFF2-40B4-BE49-F238E27FC236}">
                    <a16:creationId xmlns:a16="http://schemas.microsoft.com/office/drawing/2014/main" id="{1D41DE6B-F7BC-C553-E879-E5B3E7099950}"/>
                  </a:ext>
                </a:extLst>
              </p:cNvPr>
              <p:cNvSpPr/>
              <p:nvPr/>
            </p:nvSpPr>
            <p:spPr>
              <a:xfrm>
                <a:off x="4472040" y="619140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29" name="CustomShape 61">
                <a:extLst>
                  <a:ext uri="{FF2B5EF4-FFF2-40B4-BE49-F238E27FC236}">
                    <a16:creationId xmlns:a16="http://schemas.microsoft.com/office/drawing/2014/main" id="{E16FB4D0-E292-4842-27AF-220AF075CDDC}"/>
                  </a:ext>
                </a:extLst>
              </p:cNvPr>
              <p:cNvSpPr/>
              <p:nvPr/>
            </p:nvSpPr>
            <p:spPr>
              <a:xfrm>
                <a:off x="2467200" y="644448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30" name="CustomShape 62">
                <a:extLst>
                  <a:ext uri="{FF2B5EF4-FFF2-40B4-BE49-F238E27FC236}">
                    <a16:creationId xmlns:a16="http://schemas.microsoft.com/office/drawing/2014/main" id="{34B3AE6D-FB2A-77FB-69F3-8EB1E4DEEDFA}"/>
                  </a:ext>
                </a:extLst>
              </p:cNvPr>
              <p:cNvSpPr/>
              <p:nvPr/>
            </p:nvSpPr>
            <p:spPr>
              <a:xfrm>
                <a:off x="2753400" y="644448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31" name="CustomShape 63">
                <a:extLst>
                  <a:ext uri="{FF2B5EF4-FFF2-40B4-BE49-F238E27FC236}">
                    <a16:creationId xmlns:a16="http://schemas.microsoft.com/office/drawing/2014/main" id="{A8A5B700-F65E-8279-9E1F-C2EBE83F9BC6}"/>
                  </a:ext>
                </a:extLst>
              </p:cNvPr>
              <p:cNvSpPr/>
              <p:nvPr/>
            </p:nvSpPr>
            <p:spPr>
              <a:xfrm>
                <a:off x="3039960" y="644448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32" name="CustomShape 64">
                <a:extLst>
                  <a:ext uri="{FF2B5EF4-FFF2-40B4-BE49-F238E27FC236}">
                    <a16:creationId xmlns:a16="http://schemas.microsoft.com/office/drawing/2014/main" id="{F221A8CA-6FC9-6A07-4AAC-7A3FABA86DDB}"/>
                  </a:ext>
                </a:extLst>
              </p:cNvPr>
              <p:cNvSpPr/>
              <p:nvPr/>
            </p:nvSpPr>
            <p:spPr>
              <a:xfrm>
                <a:off x="3326160" y="644448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33" name="CustomShape 65">
                <a:extLst>
                  <a:ext uri="{FF2B5EF4-FFF2-40B4-BE49-F238E27FC236}">
                    <a16:creationId xmlns:a16="http://schemas.microsoft.com/office/drawing/2014/main" id="{7244C37F-9F46-DEE3-165D-BD1A93EF1612}"/>
                  </a:ext>
                </a:extLst>
              </p:cNvPr>
              <p:cNvSpPr/>
              <p:nvPr/>
            </p:nvSpPr>
            <p:spPr>
              <a:xfrm>
                <a:off x="3612720" y="644448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34" name="CustomShape 66">
                <a:extLst>
                  <a:ext uri="{FF2B5EF4-FFF2-40B4-BE49-F238E27FC236}">
                    <a16:creationId xmlns:a16="http://schemas.microsoft.com/office/drawing/2014/main" id="{A0E7C039-7C57-A2E7-7974-5ACBB44CA1F3}"/>
                  </a:ext>
                </a:extLst>
              </p:cNvPr>
              <p:cNvSpPr/>
              <p:nvPr/>
            </p:nvSpPr>
            <p:spPr>
              <a:xfrm>
                <a:off x="3898920" y="644448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35" name="CustomShape 67">
                <a:extLst>
                  <a:ext uri="{FF2B5EF4-FFF2-40B4-BE49-F238E27FC236}">
                    <a16:creationId xmlns:a16="http://schemas.microsoft.com/office/drawing/2014/main" id="{C6060E8C-AC12-B18D-E84B-64B1D46DC819}"/>
                  </a:ext>
                </a:extLst>
              </p:cNvPr>
              <p:cNvSpPr/>
              <p:nvPr/>
            </p:nvSpPr>
            <p:spPr>
              <a:xfrm>
                <a:off x="4185480" y="6444480"/>
                <a:ext cx="192960" cy="192960"/>
              </a:xfrm>
              <a:prstGeom prst="ellipse">
                <a:avLst/>
              </a:prstGeom>
              <a:grpFill/>
              <a:ln w="12600">
                <a:noFill/>
              </a:ln>
            </p:spPr>
            <p:style>
              <a:lnRef idx="0">
                <a:scrgbClr r="0" g="0" b="0"/>
              </a:lnRef>
              <a:fillRef idx="0">
                <a:scrgbClr r="0" g="0" b="0"/>
              </a:fillRef>
              <a:effectRef idx="0">
                <a:scrgbClr r="0" g="0" b="0"/>
              </a:effectRef>
              <a:fontRef idx="minor"/>
            </p:style>
          </p:sp>
          <p:sp>
            <p:nvSpPr>
              <p:cNvPr id="336" name="CustomShape 68">
                <a:extLst>
                  <a:ext uri="{FF2B5EF4-FFF2-40B4-BE49-F238E27FC236}">
                    <a16:creationId xmlns:a16="http://schemas.microsoft.com/office/drawing/2014/main" id="{A8D073AB-F81E-7A28-23AE-3BEB722FEEB3}"/>
                  </a:ext>
                </a:extLst>
              </p:cNvPr>
              <p:cNvSpPr/>
              <p:nvPr/>
            </p:nvSpPr>
            <p:spPr>
              <a:xfrm>
                <a:off x="4472040" y="6444480"/>
                <a:ext cx="192960" cy="192960"/>
              </a:xfrm>
              <a:prstGeom prst="ellipse">
                <a:avLst/>
              </a:prstGeom>
              <a:grpFill/>
              <a:ln w="12600">
                <a:noFill/>
              </a:ln>
            </p:spPr>
            <p:style>
              <a:lnRef idx="0">
                <a:scrgbClr r="0" g="0" b="0"/>
              </a:lnRef>
              <a:fillRef idx="0">
                <a:scrgbClr r="0" g="0" b="0"/>
              </a:fillRef>
              <a:effectRef idx="0">
                <a:scrgbClr r="0" g="0" b="0"/>
              </a:effectRef>
              <a:fontRef idx="minor"/>
            </p:style>
          </p:sp>
        </p:grpSp>
        <p:sp>
          <p:nvSpPr>
            <p:cNvPr id="272" name="CustomShape 4">
              <a:extLst>
                <a:ext uri="{FF2B5EF4-FFF2-40B4-BE49-F238E27FC236}">
                  <a16:creationId xmlns:a16="http://schemas.microsoft.com/office/drawing/2014/main" id="{B5AFAA2B-C385-6305-FD49-A18E7FA198E3}"/>
                </a:ext>
              </a:extLst>
            </p:cNvPr>
            <p:cNvSpPr/>
            <p:nvPr/>
          </p:nvSpPr>
          <p:spPr>
            <a:xfrm>
              <a:off x="3692041" y="1850760"/>
              <a:ext cx="2370600" cy="2107440"/>
            </a:xfrm>
            <a:prstGeom prst="rect">
              <a:avLst/>
            </a:prstGeom>
            <a:noFill/>
            <a:ln w="28440">
              <a:solidFill>
                <a:schemeClr val="tx1"/>
              </a:solidFill>
              <a:round/>
            </a:ln>
          </p:spPr>
          <p:style>
            <a:lnRef idx="0">
              <a:scrgbClr r="0" g="0" b="0"/>
            </a:lnRef>
            <a:fillRef idx="0">
              <a:scrgbClr r="0" g="0" b="0"/>
            </a:fillRef>
            <a:effectRef idx="0">
              <a:scrgbClr r="0" g="0" b="0"/>
            </a:effectRef>
            <a:fontRef idx="minor"/>
          </p:style>
        </p:sp>
      </p:grpSp>
    </p:spTree>
    <p:extLst>
      <p:ext uri="{BB962C8B-B14F-4D97-AF65-F5344CB8AC3E}">
        <p14:creationId xmlns:p14="http://schemas.microsoft.com/office/powerpoint/2010/main" val="1821985377"/>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5" name="TextShape 1"/>
          <p:cNvSpPr txBox="1"/>
          <p:nvPr/>
        </p:nvSpPr>
        <p:spPr>
          <a:xfrm>
            <a:off x="479520" y="476280"/>
            <a:ext cx="8353080" cy="3457080"/>
          </a:xfrm>
          <a:prstGeom prst="rect">
            <a:avLst/>
          </a:prstGeom>
          <a:noFill/>
          <a:ln w="9360">
            <a:noFill/>
          </a:ln>
        </p:spPr>
        <p:txBody>
          <a:bodyPr lIns="72000" tIns="36000" rIns="73080" bIns="36720"/>
          <a:lstStyle/>
          <a:p>
            <a:pPr>
              <a:lnSpc>
                <a:spcPct val="100000"/>
              </a:lnSpc>
              <a:spcBef>
                <a:spcPts val="300"/>
              </a:spcBef>
            </a:pPr>
            <a:r>
              <a:rPr lang="en-US" sz="6000" b="0" strike="noStrike" spc="-157" err="1">
                <a:solidFill>
                  <a:srgbClr val="FFFFFF"/>
                </a:solidFill>
                <a:uFill>
                  <a:solidFill>
                    <a:srgbClr val="FFFFFF"/>
                  </a:solidFill>
                </a:uFill>
                <a:latin typeface="Ericsson Hilda Light"/>
              </a:rPr>
              <a:t>Bakgrund</a:t>
            </a:r>
            <a:endParaRPr lang="en-US" sz="6000" b="0" strike="noStrike" spc="-1">
              <a:solidFill>
                <a:srgbClr val="181818"/>
              </a:solidFill>
              <a:uFill>
                <a:solidFill>
                  <a:srgbClr val="FFFFFF"/>
                </a:solidFill>
              </a:uFill>
              <a:latin typeface="Ericsson Hilda"/>
            </a:endParaRPr>
          </a:p>
        </p:txBody>
      </p:sp>
      <p:sp>
        <p:nvSpPr>
          <p:cNvPr id="516" name="TextShape 2"/>
          <p:cNvSpPr txBox="1"/>
          <p:nvPr/>
        </p:nvSpPr>
        <p:spPr>
          <a:xfrm>
            <a:off x="479520" y="4149720"/>
            <a:ext cx="5471640" cy="2087280"/>
          </a:xfrm>
          <a:prstGeom prst="rect">
            <a:avLst/>
          </a:prstGeom>
          <a:noFill/>
          <a:ln w="9360">
            <a:noFill/>
          </a:ln>
        </p:spPr>
        <p:txBody>
          <a:bodyPr lIns="72000" tIns="36000" rIns="0" bIns="36000" anchor="ctr"/>
          <a:lstStyle/>
          <a:p>
            <a:pPr algn="ctr"/>
            <a:endParaRPr lang="sv-SE" sz="3200" b="0" strike="noStrike" spc="-1">
              <a:solidFill>
                <a:srgbClr val="000000"/>
              </a:solidFill>
              <a:uFill>
                <a:solidFill>
                  <a:srgbClr val="FFFFFF"/>
                </a:solidFill>
              </a:uFill>
              <a:latin typeface="Arial"/>
            </a:endParaRPr>
          </a:p>
        </p:txBody>
      </p:sp>
      <p:sp>
        <p:nvSpPr>
          <p:cNvPr id="4" name="Rectangle 3">
            <a:extLst>
              <a:ext uri="{FF2B5EF4-FFF2-40B4-BE49-F238E27FC236}">
                <a16:creationId xmlns:a16="http://schemas.microsoft.com/office/drawing/2014/main" id="{160F4235-0FEB-4653-BBF4-F67850535673}"/>
              </a:ext>
            </a:extLst>
          </p:cNvPr>
          <p:cNvSpPr/>
          <p:nvPr/>
        </p:nvSpPr>
        <p:spPr>
          <a:xfrm>
            <a:off x="11277600" y="309217"/>
            <a:ext cx="649357" cy="6493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CD5F1B3-5630-47D9-9B41-7A042CE85B51}"/>
              </a:ext>
            </a:extLst>
          </p:cNvPr>
          <p:cNvSpPr/>
          <p:nvPr/>
        </p:nvSpPr>
        <p:spPr>
          <a:xfrm>
            <a:off x="7626285" y="4049491"/>
            <a:ext cx="3117915" cy="786034"/>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SE"/>
          </a:p>
        </p:txBody>
      </p:sp>
      <p:graphicFrame>
        <p:nvGraphicFramePr>
          <p:cNvPr id="20" name="Object 19" hidden="1">
            <a:extLst>
              <a:ext uri="{FF2B5EF4-FFF2-40B4-BE49-F238E27FC236}">
                <a16:creationId xmlns:a16="http://schemas.microsoft.com/office/drawing/2014/main" id="{91611D9F-B132-44D8-9182-8E139FCAB2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0" name="Object 19" hidden="1">
                        <a:extLst>
                          <a:ext uri="{FF2B5EF4-FFF2-40B4-BE49-F238E27FC236}">
                            <a16:creationId xmlns:a16="http://schemas.microsoft.com/office/drawing/2014/main" id="{91611D9F-B132-44D8-9182-8E139FCAB2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100A7CA2-5CEA-4E98-9E53-7F446E6C2990}"/>
              </a:ext>
            </a:extLst>
          </p:cNvPr>
          <p:cNvSpPr/>
          <p:nvPr>
            <p:custDataLst>
              <p:tags r:id="rId2"/>
            </p:custDataLst>
          </p:nvPr>
        </p:nvSpPr>
        <p:spPr bwMode="auto">
          <a:xfrm>
            <a:off x="0" y="0"/>
            <a:ext cx="158750" cy="15875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fontAlgn="base">
              <a:spcBef>
                <a:spcPct val="50000"/>
              </a:spcBef>
              <a:spcAft>
                <a:spcPct val="0"/>
              </a:spcAft>
            </a:pPr>
            <a:endParaRPr kumimoji="0" lang="en-US" sz="4200" b="1" u="none" strike="noStrike" cap="none" normalizeH="0" err="1">
              <a:ln>
                <a:noFill/>
              </a:ln>
              <a:solidFill>
                <a:schemeClr val="bg1"/>
              </a:solidFill>
              <a:effectLst/>
              <a:latin typeface="Ericsson Hilda Light" panose="00000400000000000000" pitchFamily="2" charset="0"/>
              <a:ea typeface="+mj-ea"/>
              <a:cs typeface="+mj-cs"/>
              <a:sym typeface="Ericsson Hilda Light" panose="00000400000000000000" pitchFamily="2" charset="0"/>
            </a:endParaRPr>
          </a:p>
        </p:txBody>
      </p:sp>
      <p:sp>
        <p:nvSpPr>
          <p:cNvPr id="3" name="Title 2">
            <a:extLst>
              <a:ext uri="{FF2B5EF4-FFF2-40B4-BE49-F238E27FC236}">
                <a16:creationId xmlns:a16="http://schemas.microsoft.com/office/drawing/2014/main" id="{31A21F6C-9B0C-4695-AB92-18DF90C31306}"/>
              </a:ext>
            </a:extLst>
          </p:cNvPr>
          <p:cNvSpPr>
            <a:spLocks noGrp="1"/>
          </p:cNvSpPr>
          <p:nvPr>
            <p:ph type="title"/>
          </p:nvPr>
        </p:nvSpPr>
        <p:spPr>
          <a:xfrm>
            <a:off x="479520" y="476280"/>
            <a:ext cx="8353080" cy="738316"/>
          </a:xfrm>
        </p:spPr>
        <p:txBody>
          <a:bodyPr/>
          <a:lstStyle/>
          <a:p>
            <a:pPr>
              <a:lnSpc>
                <a:spcPct val="100000"/>
              </a:lnSpc>
            </a:pPr>
            <a:r>
              <a:rPr lang="sv-SE" sz="4400" b="0" strike="noStrike" spc="-1">
                <a:solidFill>
                  <a:srgbClr val="181818"/>
                </a:solidFill>
                <a:uFill>
                  <a:solidFill>
                    <a:srgbClr val="FFFFFF"/>
                  </a:solidFill>
                </a:uFill>
                <a:latin typeface="Ericsson Hilda"/>
              </a:rPr>
              <a:t>Utredning av förslag</a:t>
            </a:r>
            <a:endParaRPr lang="sv-SE" sz="4400" b="0" strike="noStrike" spc="-1">
              <a:solidFill>
                <a:srgbClr val="000000"/>
              </a:solidFill>
              <a:uFill>
                <a:solidFill>
                  <a:srgbClr val="FFFFFF"/>
                </a:solidFill>
              </a:uFill>
              <a:latin typeface="Arial"/>
            </a:endParaRPr>
          </a:p>
        </p:txBody>
      </p:sp>
      <p:sp>
        <p:nvSpPr>
          <p:cNvPr id="5" name="TextBox 4">
            <a:extLst>
              <a:ext uri="{FF2B5EF4-FFF2-40B4-BE49-F238E27FC236}">
                <a16:creationId xmlns:a16="http://schemas.microsoft.com/office/drawing/2014/main" id="{B44510C5-883B-4C3C-A349-A70D813AB333}"/>
              </a:ext>
            </a:extLst>
          </p:cNvPr>
          <p:cNvSpPr txBox="1"/>
          <p:nvPr/>
        </p:nvSpPr>
        <p:spPr>
          <a:xfrm>
            <a:off x="7626285" y="5256903"/>
            <a:ext cx="3048887" cy="548640"/>
          </a:xfrm>
          <a:prstGeom prst="rect">
            <a:avLst/>
          </a:prstGeom>
        </p:spPr>
        <p:txBody>
          <a:bodyPr vert="horz" wrap="square" lIns="72000" tIns="36000" rIns="0" bIns="36000" rtlCol="0" anchor="ctr">
            <a:noAutofit/>
          </a:bodyPr>
          <a:lstStyle/>
          <a:p>
            <a:pPr marL="0" lvl="0" indent="0">
              <a:spcBef>
                <a:spcPts val="100"/>
              </a:spcBef>
              <a:buNone/>
            </a:pPr>
            <a:r>
              <a:rPr lang="en-US" b="1" err="1">
                <a:solidFill>
                  <a:srgbClr val="181818"/>
                </a:solidFill>
              </a:rPr>
              <a:t>Temperaturavkännare</a:t>
            </a:r>
            <a:br>
              <a:rPr lang="en-US" b="1">
                <a:solidFill>
                  <a:srgbClr val="181818"/>
                </a:solidFill>
              </a:rPr>
            </a:br>
            <a:r>
              <a:rPr lang="sv-SE" sz="1400">
                <a:solidFill>
                  <a:srgbClr val="181818"/>
                </a:solidFill>
              </a:rPr>
              <a:t>känna av temperaturen på exemepelvis en kaffekopp.</a:t>
            </a:r>
            <a:endParaRPr lang="en-US" sz="1400">
              <a:solidFill>
                <a:srgbClr val="181818"/>
              </a:solidFill>
            </a:endParaRPr>
          </a:p>
        </p:txBody>
      </p:sp>
      <p:sp>
        <p:nvSpPr>
          <p:cNvPr id="14" name="TextBox 13">
            <a:extLst>
              <a:ext uri="{FF2B5EF4-FFF2-40B4-BE49-F238E27FC236}">
                <a16:creationId xmlns:a16="http://schemas.microsoft.com/office/drawing/2014/main" id="{B879B74E-7175-4F6E-977B-C032CA2CCA8D}"/>
              </a:ext>
            </a:extLst>
          </p:cNvPr>
          <p:cNvSpPr txBox="1"/>
          <p:nvPr/>
        </p:nvSpPr>
        <p:spPr>
          <a:xfrm>
            <a:off x="7626285" y="4147350"/>
            <a:ext cx="3238939" cy="548640"/>
          </a:xfrm>
          <a:prstGeom prst="rect">
            <a:avLst/>
          </a:prstGeom>
        </p:spPr>
        <p:txBody>
          <a:bodyPr vert="horz" wrap="square" lIns="72000" tIns="36000" rIns="0" bIns="36000" rtlCol="0" anchor="ctr">
            <a:noAutofit/>
          </a:bodyPr>
          <a:lstStyle/>
          <a:p>
            <a:pPr marL="0" lvl="0" indent="0">
              <a:spcBef>
                <a:spcPts val="100"/>
              </a:spcBef>
              <a:buNone/>
            </a:pPr>
            <a:r>
              <a:rPr lang="en-US" b="1" dirty="0">
                <a:solidFill>
                  <a:schemeClr val="bg1"/>
                </a:solidFill>
              </a:rPr>
              <a:t>Google Chrome </a:t>
            </a:r>
            <a:r>
              <a:rPr lang="en-US" b="1" dirty="0" err="1">
                <a:solidFill>
                  <a:schemeClr val="bg1"/>
                </a:solidFill>
              </a:rPr>
              <a:t>spel</a:t>
            </a:r>
            <a:br>
              <a:rPr lang="en-US" b="1" dirty="0">
                <a:solidFill>
                  <a:schemeClr val="bg1"/>
                </a:solidFill>
              </a:rPr>
            </a:br>
            <a:r>
              <a:rPr lang="sv-SE" sz="1400" dirty="0">
                <a:solidFill>
                  <a:schemeClr val="bg1"/>
                </a:solidFill>
              </a:rPr>
              <a:t>Spel där du ska hoppa eller ducka för att överleva</a:t>
            </a:r>
            <a:endParaRPr lang="en-US" sz="1400" dirty="0">
              <a:solidFill>
                <a:schemeClr val="bg1"/>
              </a:solidFill>
            </a:endParaRPr>
          </a:p>
        </p:txBody>
      </p:sp>
      <p:sp>
        <p:nvSpPr>
          <p:cNvPr id="16" name="TextBox 15">
            <a:extLst>
              <a:ext uri="{FF2B5EF4-FFF2-40B4-BE49-F238E27FC236}">
                <a16:creationId xmlns:a16="http://schemas.microsoft.com/office/drawing/2014/main" id="{2B4C7D23-844E-4200-9E91-1F40B538E330}"/>
              </a:ext>
            </a:extLst>
          </p:cNvPr>
          <p:cNvSpPr txBox="1"/>
          <p:nvPr/>
        </p:nvSpPr>
        <p:spPr>
          <a:xfrm>
            <a:off x="7626285" y="3037796"/>
            <a:ext cx="3163635" cy="548640"/>
          </a:xfrm>
          <a:prstGeom prst="rect">
            <a:avLst/>
          </a:prstGeom>
        </p:spPr>
        <p:txBody>
          <a:bodyPr vert="horz" wrap="square" lIns="72000" tIns="36000" rIns="0" bIns="36000" rtlCol="0" anchor="ctr">
            <a:noAutofit/>
          </a:bodyPr>
          <a:lstStyle/>
          <a:p>
            <a:pPr marL="0" lvl="0" indent="0">
              <a:spcBef>
                <a:spcPts val="100"/>
              </a:spcBef>
              <a:buNone/>
            </a:pPr>
            <a:r>
              <a:rPr lang="en-US" b="1" err="1">
                <a:solidFill>
                  <a:srgbClr val="181818"/>
                </a:solidFill>
              </a:rPr>
              <a:t>Ansiktsigenkänning</a:t>
            </a:r>
            <a:endParaRPr lang="en-US" b="1">
              <a:solidFill>
                <a:srgbClr val="181818"/>
              </a:solidFill>
            </a:endParaRPr>
          </a:p>
        </p:txBody>
      </p:sp>
      <p:sp>
        <p:nvSpPr>
          <p:cNvPr id="17" name="TextBox 16">
            <a:extLst>
              <a:ext uri="{FF2B5EF4-FFF2-40B4-BE49-F238E27FC236}">
                <a16:creationId xmlns:a16="http://schemas.microsoft.com/office/drawing/2014/main" id="{A91D31C5-1A6E-410A-965F-90DAF66C7CED}"/>
              </a:ext>
            </a:extLst>
          </p:cNvPr>
          <p:cNvSpPr txBox="1"/>
          <p:nvPr/>
        </p:nvSpPr>
        <p:spPr>
          <a:xfrm>
            <a:off x="7626285" y="1852826"/>
            <a:ext cx="3636971" cy="548640"/>
          </a:xfrm>
          <a:prstGeom prst="rect">
            <a:avLst/>
          </a:prstGeom>
        </p:spPr>
        <p:txBody>
          <a:bodyPr vert="horz" wrap="square" lIns="72000" tIns="36000" rIns="0" bIns="36000" rtlCol="0" anchor="ctr">
            <a:noAutofit/>
          </a:bodyPr>
          <a:lstStyle/>
          <a:p>
            <a:pPr marL="0" lvl="0" indent="0">
              <a:spcBef>
                <a:spcPts val="100"/>
              </a:spcBef>
              <a:buNone/>
            </a:pPr>
            <a:r>
              <a:rPr lang="en-US" b="1" err="1">
                <a:solidFill>
                  <a:srgbClr val="181818"/>
                </a:solidFill>
              </a:rPr>
              <a:t>Elektrisk</a:t>
            </a:r>
            <a:r>
              <a:rPr lang="en-US" b="1">
                <a:solidFill>
                  <a:srgbClr val="181818"/>
                </a:solidFill>
              </a:rPr>
              <a:t> </a:t>
            </a:r>
            <a:r>
              <a:rPr lang="en-US" b="1" err="1">
                <a:solidFill>
                  <a:srgbClr val="181818"/>
                </a:solidFill>
              </a:rPr>
              <a:t>rullgardin</a:t>
            </a:r>
            <a:br>
              <a:rPr lang="en-US" b="1">
                <a:solidFill>
                  <a:srgbClr val="181818"/>
                </a:solidFill>
              </a:rPr>
            </a:br>
            <a:r>
              <a:rPr lang="sv-SE" sz="1400">
                <a:solidFill>
                  <a:srgbClr val="181818"/>
                </a:solidFill>
              </a:rPr>
              <a:t>Automatisk öppning och stängning av gardiner med hjälp av Arduino och en IR sensor</a:t>
            </a:r>
            <a:endParaRPr lang="en-US" sz="1400">
              <a:solidFill>
                <a:srgbClr val="181818"/>
              </a:solidFill>
            </a:endParaRPr>
          </a:p>
        </p:txBody>
      </p:sp>
      <p:sp>
        <p:nvSpPr>
          <p:cNvPr id="18" name="TextBox 17">
            <a:extLst>
              <a:ext uri="{FF2B5EF4-FFF2-40B4-BE49-F238E27FC236}">
                <a16:creationId xmlns:a16="http://schemas.microsoft.com/office/drawing/2014/main" id="{F9B4F7AC-7FDF-42C6-9FC5-1C0851B671E5}"/>
              </a:ext>
            </a:extLst>
          </p:cNvPr>
          <p:cNvSpPr txBox="1"/>
          <p:nvPr/>
        </p:nvSpPr>
        <p:spPr>
          <a:xfrm>
            <a:off x="1516828" y="5256903"/>
            <a:ext cx="2970332" cy="548640"/>
          </a:xfrm>
          <a:prstGeom prst="rect">
            <a:avLst/>
          </a:prstGeom>
        </p:spPr>
        <p:txBody>
          <a:bodyPr vert="horz" wrap="square" lIns="72000" tIns="36000" rIns="0" bIns="36000" rtlCol="0" anchor="ctr">
            <a:noAutofit/>
          </a:bodyPr>
          <a:lstStyle/>
          <a:p>
            <a:pPr marL="0" lvl="0" indent="0" algn="r">
              <a:spcBef>
                <a:spcPts val="100"/>
              </a:spcBef>
              <a:buNone/>
            </a:pPr>
            <a:r>
              <a:rPr lang="en-US" b="1">
                <a:solidFill>
                  <a:srgbClr val="181818"/>
                </a:solidFill>
              </a:rPr>
              <a:t>3-i-rad</a:t>
            </a:r>
            <a:br>
              <a:rPr lang="en-US" b="1">
                <a:solidFill>
                  <a:srgbClr val="181818"/>
                </a:solidFill>
              </a:rPr>
            </a:br>
            <a:r>
              <a:rPr lang="en-US" sz="1400">
                <a:solidFill>
                  <a:srgbClr val="181818"/>
                </a:solidFill>
              </a:rPr>
              <a:t> </a:t>
            </a:r>
            <a:r>
              <a:rPr lang="sv-SE" sz="1400">
                <a:solidFill>
                  <a:srgbClr val="181818"/>
                </a:solidFill>
              </a:rPr>
              <a:t>konstruera ett 3-i-rad spel med hjälp av DAVID-kortet. </a:t>
            </a:r>
            <a:endParaRPr lang="en-US" sz="1400">
              <a:solidFill>
                <a:srgbClr val="181818"/>
              </a:solidFill>
            </a:endParaRPr>
          </a:p>
        </p:txBody>
      </p:sp>
      <p:sp>
        <p:nvSpPr>
          <p:cNvPr id="21" name="TextBox 20">
            <a:extLst>
              <a:ext uri="{FF2B5EF4-FFF2-40B4-BE49-F238E27FC236}">
                <a16:creationId xmlns:a16="http://schemas.microsoft.com/office/drawing/2014/main" id="{1FCC0068-190F-4EC9-8F0C-873B8537F161}"/>
              </a:ext>
            </a:extLst>
          </p:cNvPr>
          <p:cNvSpPr txBox="1"/>
          <p:nvPr/>
        </p:nvSpPr>
        <p:spPr>
          <a:xfrm>
            <a:off x="2579238" y="3500851"/>
            <a:ext cx="1907921" cy="548640"/>
          </a:xfrm>
          <a:prstGeom prst="rect">
            <a:avLst/>
          </a:prstGeom>
        </p:spPr>
        <p:txBody>
          <a:bodyPr vert="horz" wrap="square" lIns="72000" tIns="36000" rIns="0" bIns="36000" rtlCol="0" anchor="ctr">
            <a:noAutofit/>
          </a:bodyPr>
          <a:lstStyle/>
          <a:p>
            <a:pPr marL="0" lvl="0" indent="0" algn="r">
              <a:spcBef>
                <a:spcPts val="100"/>
              </a:spcBef>
              <a:buNone/>
            </a:pPr>
            <a:r>
              <a:rPr lang="en-US" b="1" err="1">
                <a:solidFill>
                  <a:srgbClr val="181818"/>
                </a:solidFill>
              </a:rPr>
              <a:t>Elektrisk</a:t>
            </a:r>
            <a:r>
              <a:rPr lang="en-US" b="1">
                <a:solidFill>
                  <a:srgbClr val="181818"/>
                </a:solidFill>
              </a:rPr>
              <a:t> </a:t>
            </a:r>
            <a:r>
              <a:rPr lang="en-US" b="1" err="1">
                <a:solidFill>
                  <a:srgbClr val="181818"/>
                </a:solidFill>
              </a:rPr>
              <a:t>tärning</a:t>
            </a:r>
            <a:br>
              <a:rPr lang="en-US" b="1">
                <a:solidFill>
                  <a:srgbClr val="181818"/>
                </a:solidFill>
              </a:rPr>
            </a:br>
            <a:r>
              <a:rPr lang="en-US" sz="1400">
                <a:solidFill>
                  <a:srgbClr val="181818"/>
                </a:solidFill>
              </a:rPr>
              <a:t> </a:t>
            </a:r>
          </a:p>
        </p:txBody>
      </p:sp>
      <p:sp>
        <p:nvSpPr>
          <p:cNvPr id="22" name="TextBox 21">
            <a:extLst>
              <a:ext uri="{FF2B5EF4-FFF2-40B4-BE49-F238E27FC236}">
                <a16:creationId xmlns:a16="http://schemas.microsoft.com/office/drawing/2014/main" id="{3A6BA24F-F4FC-41A6-990D-F75847652687}"/>
              </a:ext>
            </a:extLst>
          </p:cNvPr>
          <p:cNvSpPr txBox="1"/>
          <p:nvPr/>
        </p:nvSpPr>
        <p:spPr>
          <a:xfrm>
            <a:off x="788276" y="2695305"/>
            <a:ext cx="3698884" cy="548640"/>
          </a:xfrm>
          <a:prstGeom prst="rect">
            <a:avLst/>
          </a:prstGeom>
        </p:spPr>
        <p:txBody>
          <a:bodyPr vert="horz" wrap="square" lIns="72000" tIns="36000" rIns="0" bIns="36000" rtlCol="0" anchor="ctr">
            <a:noAutofit/>
          </a:bodyPr>
          <a:lstStyle/>
          <a:p>
            <a:pPr marL="0" lvl="0" indent="0" algn="r">
              <a:spcBef>
                <a:spcPts val="100"/>
              </a:spcBef>
              <a:buNone/>
            </a:pPr>
            <a:r>
              <a:rPr lang="en-US" b="1" dirty="0">
                <a:solidFill>
                  <a:srgbClr val="181818"/>
                </a:solidFill>
              </a:rPr>
              <a:t>Formel-1 </a:t>
            </a:r>
            <a:r>
              <a:rPr lang="en-US" b="1" dirty="0" err="1">
                <a:solidFill>
                  <a:srgbClr val="181818"/>
                </a:solidFill>
              </a:rPr>
              <a:t>ratt</a:t>
            </a:r>
            <a:br>
              <a:rPr lang="en-US" b="1" dirty="0">
                <a:solidFill>
                  <a:srgbClr val="181818"/>
                </a:solidFill>
              </a:rPr>
            </a:br>
            <a:r>
              <a:rPr lang="en-US" sz="1400" dirty="0">
                <a:solidFill>
                  <a:srgbClr val="181818"/>
                </a:solidFill>
              </a:rPr>
              <a:t> </a:t>
            </a:r>
            <a:r>
              <a:rPr lang="sv-SE" sz="1400" dirty="0">
                <a:solidFill>
                  <a:srgbClr val="181818"/>
                </a:solidFill>
              </a:rPr>
              <a:t>F1 ratt som kan kopplas till färdiga system till dator/konsoll.</a:t>
            </a:r>
            <a:endParaRPr lang="en-US" sz="1400" dirty="0">
              <a:solidFill>
                <a:srgbClr val="181818"/>
              </a:solidFill>
            </a:endParaRPr>
          </a:p>
        </p:txBody>
      </p:sp>
      <p:sp>
        <p:nvSpPr>
          <p:cNvPr id="23" name="TextBox 22">
            <a:extLst>
              <a:ext uri="{FF2B5EF4-FFF2-40B4-BE49-F238E27FC236}">
                <a16:creationId xmlns:a16="http://schemas.microsoft.com/office/drawing/2014/main" id="{7F4AEC53-CFD0-440F-9BAC-C5F387A50088}"/>
              </a:ext>
            </a:extLst>
          </p:cNvPr>
          <p:cNvSpPr txBox="1"/>
          <p:nvPr/>
        </p:nvSpPr>
        <p:spPr>
          <a:xfrm>
            <a:off x="163961" y="1852826"/>
            <a:ext cx="4323199" cy="548640"/>
          </a:xfrm>
          <a:prstGeom prst="rect">
            <a:avLst/>
          </a:prstGeom>
        </p:spPr>
        <p:txBody>
          <a:bodyPr vert="horz" wrap="square" lIns="72000" tIns="36000" rIns="0" bIns="36000" rtlCol="0" anchor="ctr">
            <a:noAutofit/>
          </a:bodyPr>
          <a:lstStyle/>
          <a:p>
            <a:pPr marL="0" marR="0" indent="0" algn="r" defTabSz="914400" rtl="0" eaLnBrk="1" fontAlgn="base" latinLnBrk="0" hangingPunct="1">
              <a:lnSpc>
                <a:spcPct val="100000"/>
              </a:lnSpc>
              <a:spcBef>
                <a:spcPts val="100"/>
              </a:spcBef>
              <a:spcAft>
                <a:spcPct val="0"/>
              </a:spcAft>
              <a:buClrTx/>
              <a:buSzTx/>
              <a:buNone/>
              <a:tabLst/>
            </a:pPr>
            <a:r>
              <a:rPr lang="en-US" b="1" kern="1000" dirty="0">
                <a:solidFill>
                  <a:srgbClr val="181818"/>
                </a:solidFill>
                <a:latin typeface="+mn-lt"/>
                <a:ea typeface="+mn-ea"/>
                <a:cs typeface="+mn-cs"/>
              </a:rPr>
              <a:t>Schack</a:t>
            </a:r>
            <a:br>
              <a:rPr lang="en-US" b="1" kern="1000" dirty="0">
                <a:solidFill>
                  <a:srgbClr val="181818"/>
                </a:solidFill>
                <a:latin typeface="+mn-lt"/>
                <a:ea typeface="+mn-ea"/>
                <a:cs typeface="+mn-cs"/>
              </a:rPr>
            </a:br>
            <a:r>
              <a:rPr lang="en-US" sz="1400" kern="1000" dirty="0">
                <a:solidFill>
                  <a:srgbClr val="181818"/>
                </a:solidFill>
                <a:latin typeface="+mn-lt"/>
                <a:ea typeface="+mn-ea"/>
                <a:cs typeface="+mn-cs"/>
              </a:rPr>
              <a:t> </a:t>
            </a:r>
            <a:r>
              <a:rPr lang="sv-SE" sz="1400" kern="1000" dirty="0">
                <a:solidFill>
                  <a:srgbClr val="181818"/>
                </a:solidFill>
                <a:latin typeface="+mn-lt"/>
                <a:ea typeface="+mn-ea"/>
                <a:cs typeface="+mn-cs"/>
              </a:rPr>
              <a:t>Schack-spel som kan spelas på en stor LCD-display.</a:t>
            </a:r>
            <a:endParaRPr lang="en-US" sz="1400" kern="1000" dirty="0">
              <a:solidFill>
                <a:srgbClr val="181818"/>
              </a:solidFill>
              <a:latin typeface="+mn-lt"/>
              <a:ea typeface="+mn-ea"/>
              <a:cs typeface="+mn-cs"/>
            </a:endParaRPr>
          </a:p>
        </p:txBody>
      </p:sp>
      <p:sp>
        <p:nvSpPr>
          <p:cNvPr id="26" name="TextBox 25">
            <a:extLst>
              <a:ext uri="{FF2B5EF4-FFF2-40B4-BE49-F238E27FC236}">
                <a16:creationId xmlns:a16="http://schemas.microsoft.com/office/drawing/2014/main" id="{F690973C-5A3E-42AF-A17A-7B0535BB6F26}"/>
              </a:ext>
            </a:extLst>
          </p:cNvPr>
          <p:cNvSpPr txBox="1"/>
          <p:nvPr/>
        </p:nvSpPr>
        <p:spPr>
          <a:xfrm>
            <a:off x="1226372" y="4440154"/>
            <a:ext cx="3260788" cy="548640"/>
          </a:xfrm>
          <a:prstGeom prst="rect">
            <a:avLst/>
          </a:prstGeom>
        </p:spPr>
        <p:txBody>
          <a:bodyPr vert="horz" wrap="square" lIns="72000" tIns="36000" rIns="0" bIns="36000" rtlCol="0" anchor="ctr">
            <a:noAutofit/>
          </a:bodyPr>
          <a:lstStyle/>
          <a:p>
            <a:pPr marL="0" lvl="0" indent="0" algn="r">
              <a:spcBef>
                <a:spcPts val="100"/>
              </a:spcBef>
              <a:buNone/>
            </a:pPr>
            <a:r>
              <a:rPr lang="en-US" b="1">
                <a:solidFill>
                  <a:srgbClr val="181818"/>
                </a:solidFill>
              </a:rPr>
              <a:t>IR </a:t>
            </a:r>
            <a:r>
              <a:rPr lang="en-US" b="1" err="1">
                <a:solidFill>
                  <a:srgbClr val="181818"/>
                </a:solidFill>
              </a:rPr>
              <a:t>Fjärrkontroll</a:t>
            </a:r>
            <a:br>
              <a:rPr lang="en-US" b="1">
                <a:solidFill>
                  <a:srgbClr val="181818"/>
                </a:solidFill>
              </a:rPr>
            </a:br>
            <a:r>
              <a:rPr lang="en-US" sz="1400">
                <a:solidFill>
                  <a:srgbClr val="181818"/>
                </a:solidFill>
              </a:rPr>
              <a:t> </a:t>
            </a:r>
          </a:p>
        </p:txBody>
      </p:sp>
      <p:cxnSp>
        <p:nvCxnSpPr>
          <p:cNvPr id="30" name="Connector: Elbow 29">
            <a:extLst>
              <a:ext uri="{FF2B5EF4-FFF2-40B4-BE49-F238E27FC236}">
                <a16:creationId xmlns:a16="http://schemas.microsoft.com/office/drawing/2014/main" id="{95D4AEAC-589F-4122-8A76-544A06CDC38C}"/>
              </a:ext>
            </a:extLst>
          </p:cNvPr>
          <p:cNvCxnSpPr>
            <a:cxnSpLocks/>
          </p:cNvCxnSpPr>
          <p:nvPr/>
        </p:nvCxnSpPr>
        <p:spPr bwMode="auto">
          <a:xfrm flipH="1" flipV="1">
            <a:off x="4628563" y="2253007"/>
            <a:ext cx="1208319" cy="1272125"/>
          </a:xfrm>
          <a:prstGeom prst="straightConnector1">
            <a:avLst/>
          </a:prstGeom>
          <a:solidFill>
            <a:schemeClr val="accent1"/>
          </a:solidFill>
          <a:ln w="12700" cap="flat" cmpd="sng" algn="ctr">
            <a:solidFill>
              <a:schemeClr val="tx1"/>
            </a:solidFill>
            <a:prstDash val="solid"/>
            <a:round/>
            <a:headEnd type="none" w="med" len="med"/>
            <a:tailEnd type="oval"/>
          </a:ln>
          <a:effectLst/>
        </p:spPr>
      </p:cxnSp>
      <p:cxnSp>
        <p:nvCxnSpPr>
          <p:cNvPr id="41" name="Connector: Elbow 40">
            <a:extLst>
              <a:ext uri="{FF2B5EF4-FFF2-40B4-BE49-F238E27FC236}">
                <a16:creationId xmlns:a16="http://schemas.microsoft.com/office/drawing/2014/main" id="{C92A0887-DE97-4DEA-81EA-F6DDA5408D67}"/>
              </a:ext>
            </a:extLst>
          </p:cNvPr>
          <p:cNvCxnSpPr>
            <a:cxnSpLocks/>
          </p:cNvCxnSpPr>
          <p:nvPr/>
        </p:nvCxnSpPr>
        <p:spPr bwMode="auto">
          <a:xfrm flipH="1" flipV="1">
            <a:off x="4628566" y="3054289"/>
            <a:ext cx="906739" cy="700372"/>
          </a:xfrm>
          <a:prstGeom prst="straightConnector1">
            <a:avLst/>
          </a:prstGeom>
          <a:solidFill>
            <a:schemeClr val="accent1"/>
          </a:solidFill>
          <a:ln w="12700" cap="flat" cmpd="sng" algn="ctr">
            <a:solidFill>
              <a:schemeClr val="tx1"/>
            </a:solidFill>
            <a:prstDash val="solid"/>
            <a:round/>
            <a:headEnd type="none" w="med" len="med"/>
            <a:tailEnd type="oval"/>
          </a:ln>
          <a:effectLst/>
        </p:spPr>
      </p:cxnSp>
      <p:cxnSp>
        <p:nvCxnSpPr>
          <p:cNvPr id="43" name="Connector: Elbow 42">
            <a:extLst>
              <a:ext uri="{FF2B5EF4-FFF2-40B4-BE49-F238E27FC236}">
                <a16:creationId xmlns:a16="http://schemas.microsoft.com/office/drawing/2014/main" id="{1A2B585C-8785-4BC8-85B6-91420078FD42}"/>
              </a:ext>
            </a:extLst>
          </p:cNvPr>
          <p:cNvCxnSpPr>
            <a:cxnSpLocks/>
          </p:cNvCxnSpPr>
          <p:nvPr/>
        </p:nvCxnSpPr>
        <p:spPr bwMode="auto">
          <a:xfrm flipV="1">
            <a:off x="6664751" y="3375531"/>
            <a:ext cx="895936" cy="461178"/>
          </a:xfrm>
          <a:prstGeom prst="straightConnector1">
            <a:avLst/>
          </a:prstGeom>
          <a:solidFill>
            <a:schemeClr val="accent1"/>
          </a:solidFill>
          <a:ln w="12700" cap="flat" cmpd="sng" algn="ctr">
            <a:solidFill>
              <a:schemeClr val="tx1"/>
            </a:solidFill>
            <a:prstDash val="solid"/>
            <a:round/>
            <a:headEnd type="none" w="med" len="med"/>
            <a:tailEnd type="oval"/>
          </a:ln>
          <a:effectLst/>
        </p:spPr>
      </p:cxnSp>
      <p:cxnSp>
        <p:nvCxnSpPr>
          <p:cNvPr id="44" name="Connector: Elbow 43">
            <a:extLst>
              <a:ext uri="{FF2B5EF4-FFF2-40B4-BE49-F238E27FC236}">
                <a16:creationId xmlns:a16="http://schemas.microsoft.com/office/drawing/2014/main" id="{90C2235B-6F80-4F11-91EA-ECBAE1F2AD9F}"/>
              </a:ext>
            </a:extLst>
          </p:cNvPr>
          <p:cNvCxnSpPr>
            <a:cxnSpLocks/>
          </p:cNvCxnSpPr>
          <p:nvPr/>
        </p:nvCxnSpPr>
        <p:spPr bwMode="auto">
          <a:xfrm flipV="1">
            <a:off x="6429080" y="2253008"/>
            <a:ext cx="1131219" cy="1319751"/>
          </a:xfrm>
          <a:prstGeom prst="straightConnector1">
            <a:avLst/>
          </a:prstGeom>
          <a:solidFill>
            <a:schemeClr val="accent1"/>
          </a:solidFill>
          <a:ln w="12700" cap="flat" cmpd="sng" algn="ctr">
            <a:solidFill>
              <a:schemeClr val="tx1"/>
            </a:solidFill>
            <a:prstDash val="solid"/>
            <a:round/>
            <a:headEnd type="none" w="med" len="med"/>
            <a:tailEnd type="oval"/>
          </a:ln>
          <a:effectLst/>
        </p:spPr>
      </p:cxnSp>
      <p:cxnSp>
        <p:nvCxnSpPr>
          <p:cNvPr id="46" name="Connector: Elbow 45">
            <a:extLst>
              <a:ext uri="{FF2B5EF4-FFF2-40B4-BE49-F238E27FC236}">
                <a16:creationId xmlns:a16="http://schemas.microsoft.com/office/drawing/2014/main" id="{3B4EADDA-ECF5-4BEB-BC97-D4A92E777C29}"/>
              </a:ext>
            </a:extLst>
          </p:cNvPr>
          <p:cNvCxnSpPr>
            <a:cxnSpLocks/>
          </p:cNvCxnSpPr>
          <p:nvPr/>
        </p:nvCxnSpPr>
        <p:spPr bwMode="auto">
          <a:xfrm flipH="1">
            <a:off x="4628564" y="4705341"/>
            <a:ext cx="1046372" cy="897713"/>
          </a:xfrm>
          <a:prstGeom prst="straightConnector1">
            <a:avLst/>
          </a:prstGeom>
          <a:solidFill>
            <a:schemeClr val="accent1"/>
          </a:solidFill>
          <a:ln w="12700" cap="flat" cmpd="sng" algn="ctr">
            <a:solidFill>
              <a:schemeClr val="tx1"/>
            </a:solidFill>
            <a:prstDash val="solid"/>
            <a:round/>
            <a:headEnd type="none" w="med" len="med"/>
            <a:tailEnd type="oval"/>
          </a:ln>
          <a:effectLst/>
        </p:spPr>
      </p:cxnSp>
      <p:cxnSp>
        <p:nvCxnSpPr>
          <p:cNvPr id="47" name="Connector: Elbow 46">
            <a:extLst>
              <a:ext uri="{FF2B5EF4-FFF2-40B4-BE49-F238E27FC236}">
                <a16:creationId xmlns:a16="http://schemas.microsoft.com/office/drawing/2014/main" id="{775C2F69-66ED-45C4-9544-3F1D9B640112}"/>
              </a:ext>
            </a:extLst>
          </p:cNvPr>
          <p:cNvCxnSpPr>
            <a:cxnSpLocks/>
          </p:cNvCxnSpPr>
          <p:nvPr/>
        </p:nvCxnSpPr>
        <p:spPr bwMode="auto">
          <a:xfrm>
            <a:off x="6476214" y="4675695"/>
            <a:ext cx="1084085" cy="927359"/>
          </a:xfrm>
          <a:prstGeom prst="straightConnector1">
            <a:avLst/>
          </a:prstGeom>
          <a:solidFill>
            <a:schemeClr val="accent1"/>
          </a:solidFill>
          <a:ln w="12700" cap="flat" cmpd="sng" algn="ctr">
            <a:solidFill>
              <a:schemeClr val="tx1"/>
            </a:solidFill>
            <a:prstDash val="solid"/>
            <a:round/>
            <a:headEnd type="none" w="med" len="med"/>
            <a:tailEnd type="oval"/>
          </a:ln>
          <a:effectLst/>
        </p:spPr>
      </p:cxnSp>
      <p:cxnSp>
        <p:nvCxnSpPr>
          <p:cNvPr id="51" name="Straight Connector 50">
            <a:extLst>
              <a:ext uri="{FF2B5EF4-FFF2-40B4-BE49-F238E27FC236}">
                <a16:creationId xmlns:a16="http://schemas.microsoft.com/office/drawing/2014/main" id="{1FD70682-28A8-4248-9572-1DF7E7DBC0C4}"/>
              </a:ext>
            </a:extLst>
          </p:cNvPr>
          <p:cNvCxnSpPr>
            <a:cxnSpLocks/>
          </p:cNvCxnSpPr>
          <p:nvPr/>
        </p:nvCxnSpPr>
        <p:spPr bwMode="auto">
          <a:xfrm flipH="1" flipV="1">
            <a:off x="6730738" y="4279769"/>
            <a:ext cx="829558" cy="195889"/>
          </a:xfrm>
          <a:prstGeom prst="line">
            <a:avLst/>
          </a:prstGeom>
          <a:solidFill>
            <a:schemeClr val="accent1"/>
          </a:solidFill>
          <a:ln w="12700" cap="flat" cmpd="sng" algn="ctr">
            <a:solidFill>
              <a:schemeClr val="tx1"/>
            </a:solidFill>
            <a:prstDash val="solid"/>
            <a:round/>
            <a:headEnd type="oval" w="med" len="med"/>
            <a:tailEnd type="none"/>
          </a:ln>
          <a:effectLst/>
        </p:spPr>
      </p:cxnSp>
      <p:grpSp>
        <p:nvGrpSpPr>
          <p:cNvPr id="2" name="Group 1">
            <a:extLst>
              <a:ext uri="{FF2B5EF4-FFF2-40B4-BE49-F238E27FC236}">
                <a16:creationId xmlns:a16="http://schemas.microsoft.com/office/drawing/2014/main" id="{E55C5BDF-72B4-4C4A-8048-776DEB9CF0AE}"/>
              </a:ext>
            </a:extLst>
          </p:cNvPr>
          <p:cNvGrpSpPr/>
          <p:nvPr/>
        </p:nvGrpSpPr>
        <p:grpSpPr>
          <a:xfrm>
            <a:off x="5410200" y="3463925"/>
            <a:ext cx="1371600" cy="1371600"/>
            <a:chOff x="3855482" y="3463925"/>
            <a:chExt cx="1371600" cy="1371600"/>
          </a:xfrm>
        </p:grpSpPr>
        <p:sp>
          <p:nvSpPr>
            <p:cNvPr id="4" name="Oval 3">
              <a:extLst>
                <a:ext uri="{FF2B5EF4-FFF2-40B4-BE49-F238E27FC236}">
                  <a16:creationId xmlns:a16="http://schemas.microsoft.com/office/drawing/2014/main" id="{1822B14F-87E7-4C5D-A492-B22C4CFA35D7}"/>
                </a:ext>
              </a:extLst>
            </p:cNvPr>
            <p:cNvSpPr/>
            <p:nvPr/>
          </p:nvSpPr>
          <p:spPr bwMode="auto">
            <a:xfrm>
              <a:off x="3855482" y="3463925"/>
              <a:ext cx="1371600" cy="1371600"/>
            </a:xfrm>
            <a:prstGeom prst="ellipse">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none" lIns="0" tIns="36000" rIns="0" bIns="182880" numCol="1" spcCol="0" rtlCol="0" fromWordArt="0" anchor="b" anchorCtr="0" forceAA="0" compatLnSpc="1">
              <a:prstTxWarp prst="textNoShape">
                <a:avLst/>
              </a:prstTxWarp>
              <a:noAutofit/>
            </a:bodyPr>
            <a:lstStyle/>
            <a:p>
              <a:pPr marL="0" indent="0" algn="ctr">
                <a:spcBef>
                  <a:spcPts val="800"/>
                </a:spcBef>
                <a:buNone/>
              </a:pPr>
              <a:r>
                <a:rPr lang="en-US" sz="2000" b="1" err="1">
                  <a:solidFill>
                    <a:schemeClr val="bg1"/>
                  </a:solidFill>
                </a:rPr>
                <a:t>Projekt</a:t>
              </a:r>
              <a:endParaRPr lang="en-US" sz="2000" b="1">
                <a:solidFill>
                  <a:schemeClr val="bg1"/>
                </a:solidFill>
                <a:latin typeface="+mn-lt"/>
              </a:endParaRPr>
            </a:p>
          </p:txBody>
        </p:sp>
        <p:pic>
          <p:nvPicPr>
            <p:cNvPr id="11" name="Picture Placeholder 77">
              <a:extLst>
                <a:ext uri="{FF2B5EF4-FFF2-40B4-BE49-F238E27FC236}">
                  <a16:creationId xmlns:a16="http://schemas.microsoft.com/office/drawing/2014/main" id="{C43F16AE-59B8-4B32-97E9-A0092941866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110" b="110"/>
            <a:stretch>
              <a:fillRect/>
            </a:stretch>
          </p:blipFill>
          <p:spPr>
            <a:xfrm>
              <a:off x="4335542" y="3711836"/>
              <a:ext cx="411480" cy="411480"/>
            </a:xfrm>
            <a:prstGeom prst="rect">
              <a:avLst/>
            </a:prstGeom>
          </p:spPr>
        </p:pic>
      </p:grpSp>
      <p:cxnSp>
        <p:nvCxnSpPr>
          <p:cNvPr id="52" name="Straight Connector 51">
            <a:extLst>
              <a:ext uri="{FF2B5EF4-FFF2-40B4-BE49-F238E27FC236}">
                <a16:creationId xmlns:a16="http://schemas.microsoft.com/office/drawing/2014/main" id="{73AE0404-01E9-47E9-BE83-08C2AE1533FF}"/>
              </a:ext>
            </a:extLst>
          </p:cNvPr>
          <p:cNvCxnSpPr>
            <a:cxnSpLocks/>
          </p:cNvCxnSpPr>
          <p:nvPr/>
        </p:nvCxnSpPr>
        <p:spPr bwMode="auto">
          <a:xfrm flipH="1">
            <a:off x="4619136" y="4392891"/>
            <a:ext cx="838984" cy="346719"/>
          </a:xfrm>
          <a:prstGeom prst="line">
            <a:avLst/>
          </a:prstGeom>
          <a:solidFill>
            <a:schemeClr val="accent1"/>
          </a:solidFill>
          <a:ln w="12700" cap="flat" cmpd="sng" algn="ctr">
            <a:solidFill>
              <a:schemeClr val="tx1"/>
            </a:solidFill>
            <a:prstDash val="solid"/>
            <a:round/>
            <a:headEnd type="none" w="med" len="med"/>
            <a:tailEnd type="oval"/>
          </a:ln>
          <a:effectLst/>
        </p:spPr>
      </p:cxnSp>
      <p:cxnSp>
        <p:nvCxnSpPr>
          <p:cNvPr id="54" name="Straight Connector 53">
            <a:extLst>
              <a:ext uri="{FF2B5EF4-FFF2-40B4-BE49-F238E27FC236}">
                <a16:creationId xmlns:a16="http://schemas.microsoft.com/office/drawing/2014/main" id="{1EEF3487-C450-4906-8999-D19BFE7FAD0A}"/>
              </a:ext>
            </a:extLst>
          </p:cNvPr>
          <p:cNvCxnSpPr>
            <a:cxnSpLocks/>
          </p:cNvCxnSpPr>
          <p:nvPr/>
        </p:nvCxnSpPr>
        <p:spPr bwMode="auto">
          <a:xfrm flipH="1" flipV="1">
            <a:off x="4619136" y="3829213"/>
            <a:ext cx="801276" cy="205459"/>
          </a:xfrm>
          <a:prstGeom prst="line">
            <a:avLst/>
          </a:prstGeom>
          <a:solidFill>
            <a:schemeClr val="accent1"/>
          </a:solidFill>
          <a:ln w="12700" cap="flat" cmpd="sng" algn="ctr">
            <a:solidFill>
              <a:schemeClr val="tx1"/>
            </a:solidFill>
            <a:prstDash val="solid"/>
            <a:round/>
            <a:headEnd type="none" w="med" len="med"/>
            <a:tailEnd type="oval"/>
          </a:ln>
          <a:effectLst/>
        </p:spPr>
      </p:cxnSp>
      <p:sp>
        <p:nvSpPr>
          <p:cNvPr id="28" name="Rectangle 27">
            <a:extLst>
              <a:ext uri="{FF2B5EF4-FFF2-40B4-BE49-F238E27FC236}">
                <a16:creationId xmlns:a16="http://schemas.microsoft.com/office/drawing/2014/main" id="{23469941-D698-41A5-85BD-28819351A0DB}"/>
              </a:ext>
            </a:extLst>
          </p:cNvPr>
          <p:cNvSpPr/>
          <p:nvPr/>
        </p:nvSpPr>
        <p:spPr>
          <a:xfrm>
            <a:off x="11277600" y="309217"/>
            <a:ext cx="649357" cy="6493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3958965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22"/>
                                        </p:tgtEl>
                                      </p:cBhvr>
                                    </p:animEffect>
                                    <p:set>
                                      <p:cBhvr>
                                        <p:cTn id="7" dur="1" fill="hold">
                                          <p:stCondLst>
                                            <p:cond delay="499"/>
                                          </p:stCondLst>
                                        </p:cTn>
                                        <p:tgtEl>
                                          <p:spTgt spid="22"/>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3"/>
                                        </p:tgtEl>
                                      </p:cBhvr>
                                    </p:animEffect>
                                    <p:set>
                                      <p:cBhvr>
                                        <p:cTn id="10" dur="1" fill="hold">
                                          <p:stCondLst>
                                            <p:cond delay="499"/>
                                          </p:stCondLst>
                                        </p:cTn>
                                        <p:tgtEl>
                                          <p:spTgt spid="23"/>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21"/>
                                        </p:tgtEl>
                                      </p:cBhvr>
                                    </p:animEffect>
                                    <p:set>
                                      <p:cBhvr>
                                        <p:cTn id="13" dur="1" fill="hold">
                                          <p:stCondLst>
                                            <p:cond delay="499"/>
                                          </p:stCondLst>
                                        </p:cTn>
                                        <p:tgtEl>
                                          <p:spTgt spid="21"/>
                                        </p:tgtEl>
                                        <p:attrNameLst>
                                          <p:attrName>style.visibility</p:attrName>
                                        </p:attrNameLst>
                                      </p:cBhvr>
                                      <p:to>
                                        <p:strVal val="hidden"/>
                                      </p:to>
                                    </p:set>
                                  </p:childTnLst>
                                </p:cTn>
                              </p:par>
                              <p:par>
                                <p:cTn id="14" presetID="10" presetClass="exit" presetSubtype="0" fill="hold" grpId="0" nodeType="withEffect">
                                  <p:stCondLst>
                                    <p:cond delay="0"/>
                                  </p:stCondLst>
                                  <p:childTnLst>
                                    <p:animEffect transition="out" filter="fade">
                                      <p:cBhvr>
                                        <p:cTn id="15" dur="500"/>
                                        <p:tgtEl>
                                          <p:spTgt spid="26"/>
                                        </p:tgtEl>
                                      </p:cBhvr>
                                    </p:animEffect>
                                    <p:set>
                                      <p:cBhvr>
                                        <p:cTn id="16" dur="1" fill="hold">
                                          <p:stCondLst>
                                            <p:cond delay="499"/>
                                          </p:stCondLst>
                                        </p:cTn>
                                        <p:tgtEl>
                                          <p:spTgt spid="26"/>
                                        </p:tgtEl>
                                        <p:attrNameLst>
                                          <p:attrName>style.visibility</p:attrName>
                                        </p:attrNameLst>
                                      </p:cBhvr>
                                      <p:to>
                                        <p:strVal val="hidden"/>
                                      </p:to>
                                    </p:set>
                                  </p:childTnLst>
                                </p:cTn>
                              </p:par>
                              <p:par>
                                <p:cTn id="17" presetID="10" presetClass="exit" presetSubtype="0" fill="hold" grpId="0" nodeType="withEffect">
                                  <p:stCondLst>
                                    <p:cond delay="0"/>
                                  </p:stCondLst>
                                  <p:childTnLst>
                                    <p:animEffect transition="out" filter="fade">
                                      <p:cBhvr>
                                        <p:cTn id="18" dur="500"/>
                                        <p:tgtEl>
                                          <p:spTgt spid="18"/>
                                        </p:tgtEl>
                                      </p:cBhvr>
                                    </p:animEffect>
                                    <p:set>
                                      <p:cBhvr>
                                        <p:cTn id="19" dur="1" fill="hold">
                                          <p:stCondLst>
                                            <p:cond delay="499"/>
                                          </p:stCondLst>
                                        </p:cTn>
                                        <p:tgtEl>
                                          <p:spTgt spid="18"/>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16"/>
                                        </p:tgtEl>
                                      </p:cBhvr>
                                    </p:animEffect>
                                    <p:set>
                                      <p:cBhvr>
                                        <p:cTn id="22" dur="1" fill="hold">
                                          <p:stCondLst>
                                            <p:cond delay="499"/>
                                          </p:stCondLst>
                                        </p:cTn>
                                        <p:tgtEl>
                                          <p:spTgt spid="16"/>
                                        </p:tgtEl>
                                        <p:attrNameLst>
                                          <p:attrName>style.visibility</p:attrName>
                                        </p:attrNameLst>
                                      </p:cBhvr>
                                      <p:to>
                                        <p:strVal val="hidden"/>
                                      </p:to>
                                    </p:set>
                                  </p:childTnLst>
                                </p:cTn>
                              </p:par>
                              <p:par>
                                <p:cTn id="23" presetID="10" presetClass="exit" presetSubtype="0" fill="hold" grpId="0" nodeType="withEffect">
                                  <p:stCondLst>
                                    <p:cond delay="0"/>
                                  </p:stCondLst>
                                  <p:childTnLst>
                                    <p:animEffect transition="out" filter="fade">
                                      <p:cBhvr>
                                        <p:cTn id="24" dur="500"/>
                                        <p:tgtEl>
                                          <p:spTgt spid="17"/>
                                        </p:tgtEl>
                                      </p:cBhvr>
                                    </p:animEffect>
                                    <p:set>
                                      <p:cBhvr>
                                        <p:cTn id="25" dur="1" fill="hold">
                                          <p:stCondLst>
                                            <p:cond delay="499"/>
                                          </p:stCondLst>
                                        </p:cTn>
                                        <p:tgtEl>
                                          <p:spTgt spid="17"/>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5"/>
                                        </p:tgtEl>
                                      </p:cBhvr>
                                    </p:animEffect>
                                    <p:set>
                                      <p:cBhvr>
                                        <p:cTn id="28" dur="1" fill="hold">
                                          <p:stCondLst>
                                            <p:cond delay="499"/>
                                          </p:stCondLst>
                                        </p:cTn>
                                        <p:tgtEl>
                                          <p:spTgt spid="5"/>
                                        </p:tgtEl>
                                        <p:attrNameLst>
                                          <p:attrName>style.visibility</p:attrName>
                                        </p:attrNameLst>
                                      </p:cBhvr>
                                      <p:to>
                                        <p:strVal val="hidden"/>
                                      </p:to>
                                    </p:set>
                                  </p:childTnLst>
                                </p:cTn>
                              </p:par>
                              <p:par>
                                <p:cTn id="29" presetID="10" presetClass="exit" presetSubtype="0" fill="hold" nodeType="withEffect">
                                  <p:stCondLst>
                                    <p:cond delay="0"/>
                                  </p:stCondLst>
                                  <p:childTnLst>
                                    <p:animEffect transition="out" filter="fade">
                                      <p:cBhvr>
                                        <p:cTn id="30" dur="500"/>
                                        <p:tgtEl>
                                          <p:spTgt spid="52"/>
                                        </p:tgtEl>
                                      </p:cBhvr>
                                    </p:animEffect>
                                    <p:set>
                                      <p:cBhvr>
                                        <p:cTn id="31" dur="1" fill="hold">
                                          <p:stCondLst>
                                            <p:cond delay="499"/>
                                          </p:stCondLst>
                                        </p:cTn>
                                        <p:tgtEl>
                                          <p:spTgt spid="52"/>
                                        </p:tgtEl>
                                        <p:attrNameLst>
                                          <p:attrName>style.visibility</p:attrName>
                                        </p:attrNameLst>
                                      </p:cBhvr>
                                      <p:to>
                                        <p:strVal val="hidden"/>
                                      </p:to>
                                    </p:set>
                                  </p:childTnLst>
                                </p:cTn>
                              </p:par>
                              <p:par>
                                <p:cTn id="32" presetID="10" presetClass="exit" presetSubtype="0" fill="hold" nodeType="withEffect">
                                  <p:stCondLst>
                                    <p:cond delay="0"/>
                                  </p:stCondLst>
                                  <p:childTnLst>
                                    <p:animEffect transition="out" filter="fade">
                                      <p:cBhvr>
                                        <p:cTn id="33" dur="500"/>
                                        <p:tgtEl>
                                          <p:spTgt spid="54"/>
                                        </p:tgtEl>
                                      </p:cBhvr>
                                    </p:animEffect>
                                    <p:set>
                                      <p:cBhvr>
                                        <p:cTn id="34" dur="1" fill="hold">
                                          <p:stCondLst>
                                            <p:cond delay="499"/>
                                          </p:stCondLst>
                                        </p:cTn>
                                        <p:tgtEl>
                                          <p:spTgt spid="54"/>
                                        </p:tgtEl>
                                        <p:attrNameLst>
                                          <p:attrName>style.visibility</p:attrName>
                                        </p:attrNameLst>
                                      </p:cBhvr>
                                      <p:to>
                                        <p:strVal val="hidden"/>
                                      </p:to>
                                    </p:set>
                                  </p:childTnLst>
                                </p:cTn>
                              </p:par>
                              <p:par>
                                <p:cTn id="35" presetID="10" presetClass="exit" presetSubtype="0" fill="hold" nodeType="withEffect">
                                  <p:stCondLst>
                                    <p:cond delay="0"/>
                                  </p:stCondLst>
                                  <p:childTnLst>
                                    <p:animEffect transition="out" filter="fade">
                                      <p:cBhvr>
                                        <p:cTn id="36" dur="500"/>
                                        <p:tgtEl>
                                          <p:spTgt spid="41"/>
                                        </p:tgtEl>
                                      </p:cBhvr>
                                    </p:animEffect>
                                    <p:set>
                                      <p:cBhvr>
                                        <p:cTn id="37" dur="1" fill="hold">
                                          <p:stCondLst>
                                            <p:cond delay="499"/>
                                          </p:stCondLst>
                                        </p:cTn>
                                        <p:tgtEl>
                                          <p:spTgt spid="41"/>
                                        </p:tgtEl>
                                        <p:attrNameLst>
                                          <p:attrName>style.visibility</p:attrName>
                                        </p:attrNameLst>
                                      </p:cBhvr>
                                      <p:to>
                                        <p:strVal val="hidden"/>
                                      </p:to>
                                    </p:set>
                                  </p:childTnLst>
                                </p:cTn>
                              </p:par>
                              <p:par>
                                <p:cTn id="38" presetID="10" presetClass="exit" presetSubtype="0" fill="hold" nodeType="withEffect">
                                  <p:stCondLst>
                                    <p:cond delay="0"/>
                                  </p:stCondLst>
                                  <p:childTnLst>
                                    <p:animEffect transition="out" filter="fade">
                                      <p:cBhvr>
                                        <p:cTn id="39" dur="500"/>
                                        <p:tgtEl>
                                          <p:spTgt spid="30"/>
                                        </p:tgtEl>
                                      </p:cBhvr>
                                    </p:animEffect>
                                    <p:set>
                                      <p:cBhvr>
                                        <p:cTn id="40" dur="1" fill="hold">
                                          <p:stCondLst>
                                            <p:cond delay="499"/>
                                          </p:stCondLst>
                                        </p:cTn>
                                        <p:tgtEl>
                                          <p:spTgt spid="30"/>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500"/>
                                        <p:tgtEl>
                                          <p:spTgt spid="46"/>
                                        </p:tgtEl>
                                      </p:cBhvr>
                                    </p:animEffect>
                                    <p:set>
                                      <p:cBhvr>
                                        <p:cTn id="43" dur="1" fill="hold">
                                          <p:stCondLst>
                                            <p:cond delay="499"/>
                                          </p:stCondLst>
                                        </p:cTn>
                                        <p:tgtEl>
                                          <p:spTgt spid="46"/>
                                        </p:tgtEl>
                                        <p:attrNameLst>
                                          <p:attrName>style.visibility</p:attrName>
                                        </p:attrNameLst>
                                      </p:cBhvr>
                                      <p:to>
                                        <p:strVal val="hidden"/>
                                      </p:to>
                                    </p:set>
                                  </p:childTnLst>
                                </p:cTn>
                              </p:par>
                              <p:par>
                                <p:cTn id="44" presetID="10" presetClass="exit" presetSubtype="0" fill="hold" nodeType="withEffect">
                                  <p:stCondLst>
                                    <p:cond delay="0"/>
                                  </p:stCondLst>
                                  <p:childTnLst>
                                    <p:animEffect transition="out" filter="fade">
                                      <p:cBhvr>
                                        <p:cTn id="45" dur="500"/>
                                        <p:tgtEl>
                                          <p:spTgt spid="44"/>
                                        </p:tgtEl>
                                      </p:cBhvr>
                                    </p:animEffect>
                                    <p:set>
                                      <p:cBhvr>
                                        <p:cTn id="46" dur="1" fill="hold">
                                          <p:stCondLst>
                                            <p:cond delay="499"/>
                                          </p:stCondLst>
                                        </p:cTn>
                                        <p:tgtEl>
                                          <p:spTgt spid="44"/>
                                        </p:tgtEl>
                                        <p:attrNameLst>
                                          <p:attrName>style.visibility</p:attrName>
                                        </p:attrNameLst>
                                      </p:cBhvr>
                                      <p:to>
                                        <p:strVal val="hidden"/>
                                      </p:to>
                                    </p:set>
                                  </p:childTnLst>
                                </p:cTn>
                              </p:par>
                              <p:par>
                                <p:cTn id="47" presetID="10" presetClass="exit" presetSubtype="0" fill="hold" nodeType="withEffect">
                                  <p:stCondLst>
                                    <p:cond delay="0"/>
                                  </p:stCondLst>
                                  <p:childTnLst>
                                    <p:animEffect transition="out" filter="fade">
                                      <p:cBhvr>
                                        <p:cTn id="48" dur="500"/>
                                        <p:tgtEl>
                                          <p:spTgt spid="43"/>
                                        </p:tgtEl>
                                      </p:cBhvr>
                                    </p:animEffect>
                                    <p:set>
                                      <p:cBhvr>
                                        <p:cTn id="49" dur="1" fill="hold">
                                          <p:stCondLst>
                                            <p:cond delay="499"/>
                                          </p:stCondLst>
                                        </p:cTn>
                                        <p:tgtEl>
                                          <p:spTgt spid="43"/>
                                        </p:tgtEl>
                                        <p:attrNameLst>
                                          <p:attrName>style.visibility</p:attrName>
                                        </p:attrNameLst>
                                      </p:cBhvr>
                                      <p:to>
                                        <p:strVal val="hidden"/>
                                      </p:to>
                                    </p:set>
                                  </p:childTnLst>
                                </p:cTn>
                              </p:par>
                              <p:par>
                                <p:cTn id="50" presetID="10" presetClass="exit" presetSubtype="0" fill="hold" nodeType="withEffect">
                                  <p:stCondLst>
                                    <p:cond delay="0"/>
                                  </p:stCondLst>
                                  <p:childTnLst>
                                    <p:animEffect transition="out" filter="fade">
                                      <p:cBhvr>
                                        <p:cTn id="51" dur="500"/>
                                        <p:tgtEl>
                                          <p:spTgt spid="47"/>
                                        </p:tgtEl>
                                      </p:cBhvr>
                                    </p:animEffect>
                                    <p:set>
                                      <p:cBhvr>
                                        <p:cTn id="52" dur="1" fill="hold">
                                          <p:stCondLst>
                                            <p:cond delay="499"/>
                                          </p:stCondLst>
                                        </p:cTn>
                                        <p:tgtEl>
                                          <p:spTgt spid="47"/>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7"/>
                                        </p:tgtEl>
                                        <p:attrNameLst>
                                          <p:attrName>style.visibility</p:attrName>
                                        </p:attrNameLst>
                                      </p:cBhvr>
                                      <p:to>
                                        <p:strVal val="visible"/>
                                      </p:to>
                                    </p:set>
                                    <p:animEffect transition="in" filter="fade">
                                      <p:cBhvr>
                                        <p:cTn id="57" dur="500"/>
                                        <p:tgtEl>
                                          <p:spTgt spid="7"/>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4"/>
                                        </p:tgtEl>
                                        <p:attrNameLst>
                                          <p:attrName>style.visibility</p:attrName>
                                        </p:attrNameLst>
                                      </p:cBhvr>
                                      <p:to>
                                        <p:strVal val="visible"/>
                                      </p:to>
                                    </p:set>
                                    <p:animEffect transition="in" filter="fade">
                                      <p:cBhvr>
                                        <p:cTn id="6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5" grpId="0"/>
      <p:bldP spid="14" grpId="0"/>
      <p:bldP spid="16" grpId="0"/>
      <p:bldP spid="17" grpId="0"/>
      <p:bldP spid="18" grpId="0"/>
      <p:bldP spid="21" grpId="0"/>
      <p:bldP spid="22" grpId="0"/>
      <p:bldP spid="23" grpId="0"/>
      <p:bldP spid="2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0" name="TextShape 1"/>
          <p:cNvSpPr txBox="1"/>
          <p:nvPr/>
        </p:nvSpPr>
        <p:spPr>
          <a:xfrm>
            <a:off x="479520" y="476280"/>
            <a:ext cx="8353080" cy="3457080"/>
          </a:xfrm>
          <a:prstGeom prst="rect">
            <a:avLst/>
          </a:prstGeom>
          <a:noFill/>
          <a:ln w="9360">
            <a:noFill/>
          </a:ln>
        </p:spPr>
        <p:txBody>
          <a:bodyPr lIns="72000" tIns="36000" rIns="73080" bIns="36720" anchor="t"/>
          <a:lstStyle/>
          <a:p>
            <a:pPr>
              <a:spcBef>
                <a:spcPts val="300"/>
              </a:spcBef>
            </a:pPr>
            <a:r>
              <a:rPr lang="en-US" sz="6000" spc="-157" err="1">
                <a:solidFill>
                  <a:srgbClr val="FFFFFF"/>
                </a:solidFill>
                <a:uFill>
                  <a:solidFill>
                    <a:srgbClr val="FFFFFF"/>
                  </a:solidFill>
                </a:uFill>
                <a:latin typeface="Ericsson Hilda Light"/>
              </a:rPr>
              <a:t>Spelet</a:t>
            </a:r>
            <a:r>
              <a:rPr lang="en-US" sz="6000" spc="-157">
                <a:solidFill>
                  <a:srgbClr val="FFFFFF"/>
                </a:solidFill>
                <a:uFill>
                  <a:solidFill>
                    <a:srgbClr val="FFFFFF"/>
                  </a:solidFill>
                </a:uFill>
                <a:latin typeface="Ericsson Hilda Light"/>
              </a:rPr>
              <a:t> </a:t>
            </a:r>
          </a:p>
          <a:p>
            <a:pPr>
              <a:spcBef>
                <a:spcPts val="300"/>
              </a:spcBef>
            </a:pPr>
            <a:endParaRPr lang="en-US" sz="6000" spc="-157">
              <a:solidFill>
                <a:srgbClr val="FFFFFF"/>
              </a:solidFill>
              <a:uFill>
                <a:solidFill>
                  <a:srgbClr val="FFFFFF"/>
                </a:solidFill>
              </a:uFill>
              <a:latin typeface="Ericsson Hilda Light"/>
            </a:endParaRPr>
          </a:p>
          <a:p>
            <a:pPr>
              <a:lnSpc>
                <a:spcPct val="100000"/>
              </a:lnSpc>
              <a:spcBef>
                <a:spcPts val="300"/>
              </a:spcBef>
            </a:pPr>
            <a:endParaRPr lang="en-US" sz="6000" b="0" strike="noStrike" spc="-157">
              <a:solidFill>
                <a:srgbClr val="FFFFFF"/>
              </a:solidFill>
              <a:uFill>
                <a:solidFill>
                  <a:srgbClr val="FFFFFF"/>
                </a:solidFill>
              </a:uFill>
              <a:latin typeface="Ericsson Hilda Light"/>
            </a:endParaRPr>
          </a:p>
        </p:txBody>
      </p:sp>
      <p:sp>
        <p:nvSpPr>
          <p:cNvPr id="1701" name="TextShape 2"/>
          <p:cNvSpPr txBox="1"/>
          <p:nvPr/>
        </p:nvSpPr>
        <p:spPr>
          <a:xfrm>
            <a:off x="479520" y="4149720"/>
            <a:ext cx="5471640" cy="2087280"/>
          </a:xfrm>
          <a:prstGeom prst="rect">
            <a:avLst/>
          </a:prstGeom>
          <a:noFill/>
          <a:ln w="9360">
            <a:noFill/>
          </a:ln>
        </p:spPr>
        <p:txBody>
          <a:bodyPr lIns="72000" tIns="36000" rIns="0" bIns="36000" anchor="ctr"/>
          <a:lstStyle/>
          <a:p>
            <a:pPr algn="ctr"/>
            <a:endParaRPr lang="sv-SE" sz="3200" b="0" strike="noStrike" spc="-1">
              <a:solidFill>
                <a:srgbClr val="000000"/>
              </a:solidFill>
              <a:uFill>
                <a:solidFill>
                  <a:srgbClr val="FFFFFF"/>
                </a:solidFill>
              </a:uFill>
              <a:latin typeface="Arial"/>
            </a:endParaRPr>
          </a:p>
        </p:txBody>
      </p:sp>
      <p:sp>
        <p:nvSpPr>
          <p:cNvPr id="4" name="Rectangle 3">
            <a:extLst>
              <a:ext uri="{FF2B5EF4-FFF2-40B4-BE49-F238E27FC236}">
                <a16:creationId xmlns:a16="http://schemas.microsoft.com/office/drawing/2014/main" id="{C07068C8-72DD-461D-A5D3-B78A2682029C}"/>
              </a:ext>
            </a:extLst>
          </p:cNvPr>
          <p:cNvSpPr/>
          <p:nvPr/>
        </p:nvSpPr>
        <p:spPr>
          <a:xfrm>
            <a:off x="11277600" y="309217"/>
            <a:ext cx="649357" cy="6493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375039560"/>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814F4CE-19E2-4405-B1D5-7680A7340C08}"/>
              </a:ext>
            </a:extLst>
          </p:cNvPr>
          <p:cNvPicPr>
            <a:picLocks noChangeAspect="1"/>
          </p:cNvPicPr>
          <p:nvPr/>
        </p:nvPicPr>
        <p:blipFill>
          <a:blip r:embed="rId3"/>
          <a:stretch>
            <a:fillRect/>
          </a:stretch>
        </p:blipFill>
        <p:spPr>
          <a:xfrm>
            <a:off x="2136231" y="2149866"/>
            <a:ext cx="7595647" cy="2274805"/>
          </a:xfrm>
          <a:prstGeom prst="rect">
            <a:avLst/>
          </a:prstGeom>
        </p:spPr>
      </p:pic>
      <p:sp>
        <p:nvSpPr>
          <p:cNvPr id="719" name="CustomShape 196"/>
          <p:cNvSpPr/>
          <p:nvPr/>
        </p:nvSpPr>
        <p:spPr>
          <a:xfrm>
            <a:off x="495720" y="328680"/>
            <a:ext cx="3186720" cy="534240"/>
          </a:xfrm>
          <a:prstGeom prst="rect">
            <a:avLst/>
          </a:prstGeom>
          <a:noFill/>
          <a:ln w="12600">
            <a:noFill/>
          </a:ln>
        </p:spPr>
        <p:style>
          <a:lnRef idx="0">
            <a:scrgbClr r="0" g="0" b="0"/>
          </a:lnRef>
          <a:fillRef idx="0">
            <a:scrgbClr r="0" g="0" b="0"/>
          </a:fillRef>
          <a:effectRef idx="0">
            <a:scrgbClr r="0" g="0" b="0"/>
          </a:effectRef>
          <a:fontRef idx="minor"/>
        </p:style>
        <p:txBody>
          <a:bodyPr lIns="72000" tIns="36000" rIns="73080" bIns="36720"/>
          <a:lstStyle/>
          <a:p>
            <a:pPr>
              <a:lnSpc>
                <a:spcPct val="100000"/>
              </a:lnSpc>
            </a:pPr>
            <a:r>
              <a:rPr lang="sv-SE" sz="4000" b="0" strike="noStrike" spc="-1">
                <a:solidFill>
                  <a:srgbClr val="181818"/>
                </a:solidFill>
                <a:uFill>
                  <a:solidFill>
                    <a:srgbClr val="FFFFFF"/>
                  </a:solidFill>
                </a:uFill>
                <a:latin typeface="Ericsson Hilda"/>
              </a:rPr>
              <a:t>Spelmekanik</a:t>
            </a:r>
            <a:endParaRPr lang="sv-SE" sz="4000" b="0" strike="noStrike" spc="-1">
              <a:solidFill>
                <a:srgbClr val="000000"/>
              </a:solidFill>
              <a:uFill>
                <a:solidFill>
                  <a:srgbClr val="FFFFFF"/>
                </a:solidFill>
              </a:uFill>
              <a:latin typeface="Arial"/>
            </a:endParaRPr>
          </a:p>
        </p:txBody>
      </p:sp>
      <p:sp>
        <p:nvSpPr>
          <p:cNvPr id="1110" name="Rectangle 1109">
            <a:extLst>
              <a:ext uri="{FF2B5EF4-FFF2-40B4-BE49-F238E27FC236}">
                <a16:creationId xmlns:a16="http://schemas.microsoft.com/office/drawing/2014/main" id="{74D20775-402D-4802-A3BA-22E3763FD413}"/>
              </a:ext>
            </a:extLst>
          </p:cNvPr>
          <p:cNvSpPr/>
          <p:nvPr/>
        </p:nvSpPr>
        <p:spPr>
          <a:xfrm>
            <a:off x="11277600" y="309217"/>
            <a:ext cx="649357" cy="506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3" name="TextBox 2">
            <a:extLst>
              <a:ext uri="{FF2B5EF4-FFF2-40B4-BE49-F238E27FC236}">
                <a16:creationId xmlns:a16="http://schemas.microsoft.com/office/drawing/2014/main" id="{9B78DEC8-96DA-4CBB-B8BE-C2FDAFC73852}"/>
              </a:ext>
            </a:extLst>
          </p:cNvPr>
          <p:cNvSpPr txBox="1"/>
          <p:nvPr/>
        </p:nvSpPr>
        <p:spPr>
          <a:xfrm>
            <a:off x="7693740" y="6416040"/>
            <a:ext cx="4087800" cy="261610"/>
          </a:xfrm>
          <a:prstGeom prst="rect">
            <a:avLst/>
          </a:prstGeom>
          <a:noFill/>
        </p:spPr>
        <p:txBody>
          <a:bodyPr wrap="square" rtlCol="0">
            <a:spAutoFit/>
          </a:bodyPr>
          <a:lstStyle/>
          <a:p>
            <a:pPr algn="r"/>
            <a:r>
              <a:rPr lang="en-US" sz="1100">
                <a:latin typeface="Ericsson Hilda" panose="00000500000000000000" pitchFamily="2" charset="0"/>
              </a:rPr>
              <a:t>Illustration av </a:t>
            </a:r>
            <a:r>
              <a:rPr lang="en-US" sz="1100" err="1">
                <a:latin typeface="Ericsson Hilda" panose="00000500000000000000" pitchFamily="2" charset="0"/>
              </a:rPr>
              <a:t>spelmekanik</a:t>
            </a:r>
            <a:endParaRPr lang="en-SE" sz="1100">
              <a:latin typeface="Ericsson Hilda" panose="00000500000000000000" pitchFamily="2" charset="0"/>
            </a:endParaRPr>
          </a:p>
        </p:txBody>
      </p:sp>
      <p:grpSp>
        <p:nvGrpSpPr>
          <p:cNvPr id="2" name="Group 1">
            <a:extLst>
              <a:ext uri="{FF2B5EF4-FFF2-40B4-BE49-F238E27FC236}">
                <a16:creationId xmlns:a16="http://schemas.microsoft.com/office/drawing/2014/main" id="{B7CC2013-ED0C-41AB-8B3E-14B810F2010E}"/>
              </a:ext>
            </a:extLst>
          </p:cNvPr>
          <p:cNvGrpSpPr/>
          <p:nvPr/>
        </p:nvGrpSpPr>
        <p:grpSpPr>
          <a:xfrm>
            <a:off x="9903050" y="3536344"/>
            <a:ext cx="982980" cy="888327"/>
            <a:chOff x="6710760" y="2398941"/>
            <a:chExt cx="982980" cy="888327"/>
          </a:xfrm>
        </p:grpSpPr>
        <p:sp>
          <p:nvSpPr>
            <p:cNvPr id="1896" name="Rectangle 1895">
              <a:extLst>
                <a:ext uri="{FF2B5EF4-FFF2-40B4-BE49-F238E27FC236}">
                  <a16:creationId xmlns:a16="http://schemas.microsoft.com/office/drawing/2014/main" id="{4A5937D3-B3B5-486F-AAE3-578961016B35}"/>
                </a:ext>
              </a:extLst>
            </p:cNvPr>
            <p:cNvSpPr/>
            <p:nvPr/>
          </p:nvSpPr>
          <p:spPr>
            <a:xfrm>
              <a:off x="6710760" y="2708148"/>
              <a:ext cx="418680" cy="5791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Ericsson Hilda" panose="00000500000000000000" pitchFamily="2" charset="0"/>
                </a:rPr>
                <a:t>0</a:t>
              </a:r>
              <a:endParaRPr lang="en-SE">
                <a:solidFill>
                  <a:schemeClr val="tx1"/>
                </a:solidFill>
                <a:latin typeface="Ericsson Hilda" panose="00000500000000000000" pitchFamily="2" charset="0"/>
              </a:endParaRPr>
            </a:p>
          </p:txBody>
        </p:sp>
        <p:sp>
          <p:nvSpPr>
            <p:cNvPr id="1897" name="TextBox 1896">
              <a:extLst>
                <a:ext uri="{FF2B5EF4-FFF2-40B4-BE49-F238E27FC236}">
                  <a16:creationId xmlns:a16="http://schemas.microsoft.com/office/drawing/2014/main" id="{671D742B-2FFD-4344-9250-71A059C11927}"/>
                </a:ext>
              </a:extLst>
            </p:cNvPr>
            <p:cNvSpPr txBox="1"/>
            <p:nvPr/>
          </p:nvSpPr>
          <p:spPr>
            <a:xfrm>
              <a:off x="6710760" y="2398941"/>
              <a:ext cx="982980" cy="276999"/>
            </a:xfrm>
            <a:prstGeom prst="rect">
              <a:avLst/>
            </a:prstGeom>
            <a:noFill/>
          </p:spPr>
          <p:txBody>
            <a:bodyPr wrap="square" rtlCol="0">
              <a:spAutoFit/>
            </a:bodyPr>
            <a:lstStyle/>
            <a:p>
              <a:r>
                <a:rPr lang="en-US" sz="1200" dirty="0" err="1">
                  <a:latin typeface="Ericsson Hilda" panose="00000500000000000000" pitchFamily="2" charset="0"/>
                </a:rPr>
                <a:t>Poängtavla</a:t>
              </a:r>
              <a:endParaRPr lang="en-SE" sz="1200" dirty="0">
                <a:latin typeface="Ericsson Hilda" panose="00000500000000000000" pitchFamily="2" charset="0"/>
              </a:endParaRPr>
            </a:p>
          </p:txBody>
        </p:sp>
        <p:sp>
          <p:nvSpPr>
            <p:cNvPr id="1898" name="Rectangle 1897">
              <a:extLst>
                <a:ext uri="{FF2B5EF4-FFF2-40B4-BE49-F238E27FC236}">
                  <a16:creationId xmlns:a16="http://schemas.microsoft.com/office/drawing/2014/main" id="{9965CFE3-F405-4532-A9AD-DBF78C38C08F}"/>
                </a:ext>
              </a:extLst>
            </p:cNvPr>
            <p:cNvSpPr/>
            <p:nvPr/>
          </p:nvSpPr>
          <p:spPr>
            <a:xfrm>
              <a:off x="7201086" y="2708148"/>
              <a:ext cx="418680" cy="5791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Ericsson Hilda" panose="00000500000000000000" pitchFamily="2" charset="0"/>
                </a:rPr>
                <a:t>2</a:t>
              </a:r>
              <a:endParaRPr lang="en-SE" dirty="0">
                <a:solidFill>
                  <a:schemeClr val="tx1"/>
                </a:solidFill>
                <a:latin typeface="Ericsson Hilda" panose="00000500000000000000" pitchFamily="2" charset="0"/>
              </a:endParaRPr>
            </a:p>
          </p:txBody>
        </p:sp>
      </p:grpSp>
    </p:spTree>
    <p:extLst>
      <p:ext uri="{BB962C8B-B14F-4D97-AF65-F5344CB8AC3E}">
        <p14:creationId xmlns:p14="http://schemas.microsoft.com/office/powerpoint/2010/main" val="33269629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Gwk4IxJ5SgK8QxE.QcXPQ"/>
</p:tagLst>
</file>

<file path=ppt/tags/tag3.xml><?xml version="1.0" encoding="utf-8"?>
<p:tagLst xmlns:a="http://schemas.openxmlformats.org/drawingml/2006/main" xmlns:r="http://schemas.openxmlformats.org/officeDocument/2006/relationships" xmlns:p="http://schemas.openxmlformats.org/presentationml/2006/main">
  <p:tag name="TEMPLAFYSLIDEID" val="637098398337537354"/>
</p:tagLst>
</file>

<file path=ppt/tags/tag4.xml><?xml version="1.0" encoding="utf-8"?>
<p:tagLst xmlns:a="http://schemas.openxmlformats.org/drawingml/2006/main" xmlns:r="http://schemas.openxmlformats.org/officeDocument/2006/relationships" xmlns:p="http://schemas.openxmlformats.org/presentationml/2006/main">
  <p:tag name="TEMPLAFYSLIDEID" val="637098398337537354"/>
</p:tagLst>
</file>

<file path=ppt/tags/tag5.xml><?xml version="1.0" encoding="utf-8"?>
<p:tagLst xmlns:a="http://schemas.openxmlformats.org/drawingml/2006/main" xmlns:r="http://schemas.openxmlformats.org/officeDocument/2006/relationships" xmlns:p="http://schemas.openxmlformats.org/presentationml/2006/main">
  <p:tag name="TEMPLAFYSLIDEID" val="637098398337537354"/>
</p:tagLst>
</file>

<file path=ppt/tags/tag6.xml><?xml version="1.0" encoding="utf-8"?>
<p:tagLst xmlns:a="http://schemas.openxmlformats.org/drawingml/2006/main" xmlns:r="http://schemas.openxmlformats.org/officeDocument/2006/relationships" xmlns:p="http://schemas.openxmlformats.org/presentationml/2006/main">
  <p:tag name="TEMPLAFYSLIDEID" val="637098398336276908"/>
</p:tagLst>
</file>

<file path=ppt/theme/theme1.xml><?xml version="1.0" encoding="utf-8"?>
<a:theme xmlns:a="http://schemas.openxmlformats.org/drawingml/2006/main" name="Office Theme">
  <a:themeElements>
    <a:clrScheme name="Ericsson">
      <a:dk1>
        <a:srgbClr val="181818"/>
      </a:dk1>
      <a:lt1>
        <a:srgbClr val="FFFFFF"/>
      </a:lt1>
      <a:dk2>
        <a:srgbClr val="181818"/>
      </a:dk2>
      <a:lt2>
        <a:srgbClr val="E0E0E0"/>
      </a:lt2>
      <a:accent1>
        <a:srgbClr val="0082F0"/>
      </a:accent1>
      <a:accent2>
        <a:srgbClr val="0FC373"/>
      </a:accent2>
      <a:accent3>
        <a:srgbClr val="AF78D2"/>
      </a:accent3>
      <a:accent4>
        <a:srgbClr val="FAD22D"/>
      </a:accent4>
      <a:accent5>
        <a:srgbClr val="FF8C0A"/>
      </a:accent5>
      <a:accent6>
        <a:srgbClr val="FF3232"/>
      </a:accent6>
      <a:hlink>
        <a:srgbClr val="0082F0"/>
      </a:hlink>
      <a:folHlink>
        <a:srgbClr val="040969"/>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Ericsson">
      <a:dk1>
        <a:srgbClr val="181818"/>
      </a:dk1>
      <a:lt1>
        <a:srgbClr val="FFFFFF"/>
      </a:lt1>
      <a:dk2>
        <a:srgbClr val="181818"/>
      </a:dk2>
      <a:lt2>
        <a:srgbClr val="E0E0E0"/>
      </a:lt2>
      <a:accent1>
        <a:srgbClr val="0082F0"/>
      </a:accent1>
      <a:accent2>
        <a:srgbClr val="0FC373"/>
      </a:accent2>
      <a:accent3>
        <a:srgbClr val="AF78D2"/>
      </a:accent3>
      <a:accent4>
        <a:srgbClr val="FAD22D"/>
      </a:accent4>
      <a:accent5>
        <a:srgbClr val="FF8C0A"/>
      </a:accent5>
      <a:accent6>
        <a:srgbClr val="FF3232"/>
      </a:accent6>
      <a:hlink>
        <a:srgbClr val="0082F0"/>
      </a:hlink>
      <a:folHlink>
        <a:srgbClr val="040969"/>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Ericsson">
      <a:dk1>
        <a:srgbClr val="181818"/>
      </a:dk1>
      <a:lt1>
        <a:srgbClr val="FFFFFF"/>
      </a:lt1>
      <a:dk2>
        <a:srgbClr val="181818"/>
      </a:dk2>
      <a:lt2>
        <a:srgbClr val="E0E0E0"/>
      </a:lt2>
      <a:accent1>
        <a:srgbClr val="0082F0"/>
      </a:accent1>
      <a:accent2>
        <a:srgbClr val="0FC373"/>
      </a:accent2>
      <a:accent3>
        <a:srgbClr val="AF78D2"/>
      </a:accent3>
      <a:accent4>
        <a:srgbClr val="FAD22D"/>
      </a:accent4>
      <a:accent5>
        <a:srgbClr val="FF8C0A"/>
      </a:accent5>
      <a:accent6>
        <a:srgbClr val="FF3232"/>
      </a:accent6>
      <a:hlink>
        <a:srgbClr val="0082F0"/>
      </a:hlink>
      <a:folHlink>
        <a:srgbClr val="040969"/>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Ericsson">
      <a:dk1>
        <a:srgbClr val="181818"/>
      </a:dk1>
      <a:lt1>
        <a:srgbClr val="FFFFFF"/>
      </a:lt1>
      <a:dk2>
        <a:srgbClr val="181818"/>
      </a:dk2>
      <a:lt2>
        <a:srgbClr val="E0E0E0"/>
      </a:lt2>
      <a:accent1>
        <a:srgbClr val="0082F0"/>
      </a:accent1>
      <a:accent2>
        <a:srgbClr val="0FC373"/>
      </a:accent2>
      <a:accent3>
        <a:srgbClr val="AF78D2"/>
      </a:accent3>
      <a:accent4>
        <a:srgbClr val="FAD22D"/>
      </a:accent4>
      <a:accent5>
        <a:srgbClr val="FF8C0A"/>
      </a:accent5>
      <a:accent6>
        <a:srgbClr val="FF3232"/>
      </a:accent6>
      <a:hlink>
        <a:srgbClr val="0082F0"/>
      </a:hlink>
      <a:folHlink>
        <a:srgbClr val="040969"/>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Ericsson">
      <a:dk1>
        <a:srgbClr val="181818"/>
      </a:dk1>
      <a:lt1>
        <a:srgbClr val="FFFFFF"/>
      </a:lt1>
      <a:dk2>
        <a:srgbClr val="181818"/>
      </a:dk2>
      <a:lt2>
        <a:srgbClr val="E0E0E0"/>
      </a:lt2>
      <a:accent1>
        <a:srgbClr val="0082F0"/>
      </a:accent1>
      <a:accent2>
        <a:srgbClr val="0FC373"/>
      </a:accent2>
      <a:accent3>
        <a:srgbClr val="AF78D2"/>
      </a:accent3>
      <a:accent4>
        <a:srgbClr val="FAD22D"/>
      </a:accent4>
      <a:accent5>
        <a:srgbClr val="FF8C0A"/>
      </a:accent5>
      <a:accent6>
        <a:srgbClr val="FF3232"/>
      </a:accent6>
      <a:hlink>
        <a:srgbClr val="0082F0"/>
      </a:hlink>
      <a:folHlink>
        <a:srgbClr val="040969"/>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item1.xml><?xml version="1.0" encoding="utf-8"?>
<TemplafySlideFormConfiguration><![CDATA[{"formFields":[],"formDataEntries":[]}]]></TemplafySlideFormConfiguration>
</file>

<file path=customXml/item2.xml><?xml version="1.0" encoding="utf-8"?>
<TemplafySlideTemplateConfiguration><![CDATA[{"documentContentValidatorConfiguration":{"enableDocumentContentValidator":false,"documentContentValidatorVersion":0},"elementsMetadata":[],"slideId":"637241970688455004","enableDocumentContentUpdater":true,"version":"1.9"}]]></TemplafySlideTemplateConfiguration>
</file>

<file path=customXml/item3.xml><?xml version="1.0" encoding="utf-8"?>
<TemplafySlideFormConfiguration><![CDATA[{"formFields":[],"formDataEntries":[]}]]></TemplafySlideFormConfiguration>
</file>

<file path=customXml/item4.xml><?xml version="1.0" encoding="utf-8"?>
<TemplafySlideTemplateConfiguration><![CDATA[{"documentContentValidatorConfiguration":{"enableDocumentContentValidator":false,"documentContentValidatorVersion":0},"elementsMetadata":[],"slideId":"637241970688455004","enableDocumentContentUpdater":true,"version":"1.9"}]]></TemplafySlideTemplateConfiguration>
</file>

<file path=customXml/item5.xml><?xml version="1.0" encoding="utf-8"?>
<TemplafySlideFormConfiguration><![CDATA[{"formFields":[],"formDataEntries":[]}]]></TemplafySlideFormConfiguration>
</file>

<file path=customXml/item6.xml><?xml version="1.0" encoding="utf-8"?>
<TemplafySlideTemplateConfiguration><![CDATA[{"documentContentValidatorConfiguration":{"enableDocumentContentValidator":false,"documentContentValidatorVersion":0},"elementsMetadata":[],"slideId":"637241970688455004","enableDocumentContentUpdater":true,"version":"1.9"}]]></TemplafySlideTemplateConfiguration>
</file>

<file path=customXml/item7.xml><?xml version="1.0" encoding="utf-8"?>
<TemplafySlideFormConfiguration><![CDATA[{"formFields":[],"formDataEntries":[]}]]></TemplafySlideFormConfiguration>
</file>

<file path=customXml/item8.xml><?xml version="1.0" encoding="utf-8"?>
<TemplafySlideTemplateConfiguration><![CDATA[{"documentContentValidatorConfiguration":{"enableDocumentContentValidator":false,"documentContentValidatorVersion":0},"elementsMetadata":[],"slideId":"637241970673142492","enableDocumentContentUpdater":true,"version":"1.9"}]]></TemplafySlideTemplateConfiguration>
</file>

<file path=customXml/itemProps1.xml><?xml version="1.0" encoding="utf-8"?>
<ds:datastoreItem xmlns:ds="http://schemas.openxmlformats.org/officeDocument/2006/customXml" ds:itemID="{0E6C434E-0AD4-4A6F-94E0-C42E39F54BEC}">
  <ds:schemaRefs/>
</ds:datastoreItem>
</file>

<file path=customXml/itemProps2.xml><?xml version="1.0" encoding="utf-8"?>
<ds:datastoreItem xmlns:ds="http://schemas.openxmlformats.org/officeDocument/2006/customXml" ds:itemID="{5135F270-93F2-47F5-B6E8-1E8375244090}">
  <ds:schemaRefs/>
</ds:datastoreItem>
</file>

<file path=customXml/itemProps3.xml><?xml version="1.0" encoding="utf-8"?>
<ds:datastoreItem xmlns:ds="http://schemas.openxmlformats.org/officeDocument/2006/customXml" ds:itemID="{C5D2D957-7BBD-46F4-B8EE-11716465B48C}">
  <ds:schemaRefs/>
</ds:datastoreItem>
</file>

<file path=customXml/itemProps4.xml><?xml version="1.0" encoding="utf-8"?>
<ds:datastoreItem xmlns:ds="http://schemas.openxmlformats.org/officeDocument/2006/customXml" ds:itemID="{8768078D-FCA1-45A8-B493-BFF64CC01811}">
  <ds:schemaRefs/>
</ds:datastoreItem>
</file>

<file path=customXml/itemProps5.xml><?xml version="1.0" encoding="utf-8"?>
<ds:datastoreItem xmlns:ds="http://schemas.openxmlformats.org/officeDocument/2006/customXml" ds:itemID="{46B9FD12-6797-4F03-BA0E-58A58021C9C5}">
  <ds:schemaRefs/>
</ds:datastoreItem>
</file>

<file path=customXml/itemProps6.xml><?xml version="1.0" encoding="utf-8"?>
<ds:datastoreItem xmlns:ds="http://schemas.openxmlformats.org/officeDocument/2006/customXml" ds:itemID="{2EF530F8-0873-44FA-B646-BEFDDD656048}">
  <ds:schemaRefs/>
</ds:datastoreItem>
</file>

<file path=customXml/itemProps7.xml><?xml version="1.0" encoding="utf-8"?>
<ds:datastoreItem xmlns:ds="http://schemas.openxmlformats.org/officeDocument/2006/customXml" ds:itemID="{3C79AE28-DBAA-4556-B959-05145CCA5809}">
  <ds:schemaRefs/>
</ds:datastoreItem>
</file>

<file path=customXml/itemProps8.xml><?xml version="1.0" encoding="utf-8"?>
<ds:datastoreItem xmlns:ds="http://schemas.openxmlformats.org/officeDocument/2006/customXml" ds:itemID="{5C82D301-31E9-4C50-A8D0-2D090C281449}">
  <ds:schemaRefs/>
</ds:datastoreItem>
</file>

<file path=docProps/app.xml><?xml version="1.0" encoding="utf-8"?>
<Properties xmlns="http://schemas.openxmlformats.org/officeDocument/2006/extended-properties" xmlns:vt="http://schemas.openxmlformats.org/officeDocument/2006/docPropsVTypes">
  <Template>PresentationTemplate2017</Template>
  <TotalTime>11940</TotalTime>
  <Words>2337</Words>
  <Application>Microsoft Office PowerPoint</Application>
  <PresentationFormat>Widescreen</PresentationFormat>
  <Paragraphs>809</Paragraphs>
  <Slides>55</Slides>
  <Notes>38</Notes>
  <HiddenSlides>21</HiddenSlides>
  <MMClips>1</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55</vt:i4>
      </vt:variant>
    </vt:vector>
  </HeadingPairs>
  <TitlesOfParts>
    <vt:vector size="67" baseType="lpstr">
      <vt:lpstr>Arial</vt:lpstr>
      <vt:lpstr>Ericsson Hilda</vt:lpstr>
      <vt:lpstr>Ericsson Hilda Light</vt:lpstr>
      <vt:lpstr>Symbol</vt:lpstr>
      <vt:lpstr>Times New Roman</vt:lpstr>
      <vt:lpstr>Wingdings</vt:lpstr>
      <vt:lpstr>Office Theme</vt:lpstr>
      <vt:lpstr>Office Theme</vt:lpstr>
      <vt:lpstr>Office Theme</vt:lpstr>
      <vt:lpstr>Office Theme</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Utredning av försla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ommunikationsprotokoll: SPI</vt:lpstr>
      <vt:lpstr>Kommunikationsprotokoll: TWI</vt:lpstr>
      <vt:lpstr>Kommunikationsprotokoll: TWI</vt:lpstr>
      <vt:lpstr>PowerPoint Presentation</vt:lpstr>
      <vt:lpstr>PowerPoint Presentation</vt:lpstr>
      <vt:lpstr>PowerPoint Presentation</vt:lpstr>
      <vt:lpstr>PowerPoint Presentation</vt:lpstr>
      <vt:lpstr>PowerPoint Presentation</vt:lpstr>
      <vt:lpstr>PowerPoint Presentation</vt:lpstr>
      <vt:lpstr>Slutdiskussion</vt:lpstr>
      <vt:lpstr>Slutdiskussion</vt:lpstr>
      <vt:lpstr>Slutdiskussion</vt:lpstr>
      <vt:lpstr>PowerPoint Presentation</vt:lpstr>
      <vt:lpstr>PowerPoint Presentation</vt:lpstr>
      <vt:lpstr>PowerPoint Presentation</vt:lpstr>
      <vt:lpstr>PowerPoint Presentation</vt:lpstr>
      <vt:lpstr>[Roadmap]</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igned slide pack for Ericsson presentations</dc:title>
  <dc:subject/>
  <dc:creator>Kjell-Åke Rydén</dc:creator>
  <dc:description/>
  <cp:lastModifiedBy>Kebba Jeng</cp:lastModifiedBy>
  <cp:revision>14</cp:revision>
  <cp:lastPrinted>2020-08-24T13:24:02Z</cp:lastPrinted>
  <dcterms:created xsi:type="dcterms:W3CDTF">2019-06-28T06:53:29Z</dcterms:created>
  <dcterms:modified xsi:type="dcterms:W3CDTF">2022-05-29T11:05:28Z</dcterms:modified>
  <dc:language>sv-SE</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ppVersion">
    <vt:lpwstr>16.0000</vt:lpwstr>
  </property>
  <property fmtid="{D5CDD505-2E9C-101B-9397-08002B2CF9AE}" pid="3" name="BCategory">
    <vt:lpwstr> </vt:lpwstr>
  </property>
  <property fmtid="{D5CDD505-2E9C-101B-9397-08002B2CF9AE}" pid="4" name="BSubject">
    <vt:lpwstr> </vt:lpwstr>
  </property>
  <property fmtid="{D5CDD505-2E9C-101B-9397-08002B2CF9AE}" pid="5" name="DocType">
    <vt:lpwstr> </vt:lpwstr>
  </property>
  <property fmtid="{D5CDD505-2E9C-101B-9397-08002B2CF9AE}" pid="6" name="DocumentType">
    <vt:lpwstr>Presentation2011</vt:lpwstr>
  </property>
  <property fmtid="{D5CDD505-2E9C-101B-9397-08002B2CF9AE}" pid="7" name="DocumentType2">
    <vt:lpwstr>Presentation2011</vt:lpwstr>
  </property>
  <property fmtid="{D5CDD505-2E9C-101B-9397-08002B2CF9AE}" pid="8" name="EmbeddedFonts">
    <vt:bool>false</vt:bool>
  </property>
  <property fmtid="{D5CDD505-2E9C-101B-9397-08002B2CF9AE}" pid="9" name="ExtConf">
    <vt:lpwstr> </vt:lpwstr>
  </property>
  <property fmtid="{D5CDD505-2E9C-101B-9397-08002B2CF9AE}" pid="10" name="FooterType">
    <vt:lpwstr>PresTemp</vt:lpwstr>
  </property>
  <property fmtid="{D5CDD505-2E9C-101B-9397-08002B2CF9AE}" pid="11" name="HiddenSlides">
    <vt:i4>0</vt:i4>
  </property>
  <property fmtid="{D5CDD505-2E9C-101B-9397-08002B2CF9AE}" pid="12" name="HyperlinksChanged">
    <vt:bool>false</vt:bool>
  </property>
  <property fmtid="{D5CDD505-2E9C-101B-9397-08002B2CF9AE}" pid="13" name="Keyword">
    <vt:lpwstr> </vt:lpwstr>
  </property>
  <property fmtid="{D5CDD505-2E9C-101B-9397-08002B2CF9AE}" pid="14" name="LeftFooterField">
    <vt:lpwstr> </vt:lpwstr>
  </property>
  <property fmtid="{D5CDD505-2E9C-101B-9397-08002B2CF9AE}" pid="15" name="LinksUpToDate">
    <vt:bool>false</vt:bool>
  </property>
  <property fmtid="{D5CDD505-2E9C-101B-9397-08002B2CF9AE}" pid="16" name="MMClips">
    <vt:i4>0</vt:i4>
  </property>
  <property fmtid="{D5CDD505-2E9C-101B-9397-08002B2CF9AE}" pid="17" name="MiddleFooterField">
    <vt:lpwstr> </vt:lpwstr>
  </property>
  <property fmtid="{D5CDD505-2E9C-101B-9397-08002B2CF9AE}" pid="18" name="Notes">
    <vt:i4>13</vt:i4>
  </property>
  <property fmtid="{D5CDD505-2E9C-101B-9397-08002B2CF9AE}" pid="19" name="PackageNo">
    <vt:lpwstr>LXA 119 603</vt:lpwstr>
  </property>
  <property fmtid="{D5CDD505-2E9C-101B-9397-08002B2CF9AE}" pid="20" name="PackageVersion">
    <vt:lpwstr>R6B</vt:lpwstr>
  </property>
  <property fmtid="{D5CDD505-2E9C-101B-9397-08002B2CF9AE}" pid="21" name="Pages">
    <vt:bool>true</vt:bool>
  </property>
  <property fmtid="{D5CDD505-2E9C-101B-9397-08002B2CF9AE}" pid="22" name="PresentationFormat">
    <vt:lpwstr>Widescreen</vt:lpwstr>
  </property>
  <property fmtid="{D5CDD505-2E9C-101B-9397-08002B2CF9AE}" pid="23" name="RightFooterField">
    <vt:lpwstr> </vt:lpwstr>
  </property>
  <property fmtid="{D5CDD505-2E9C-101B-9397-08002B2CF9AE}" pid="24" name="RightFooterField2">
    <vt:lpwstr> </vt:lpwstr>
  </property>
  <property fmtid="{D5CDD505-2E9C-101B-9397-08002B2CF9AE}" pid="25" name="ScaleCrop">
    <vt:bool>false</vt:bool>
  </property>
  <property fmtid="{D5CDD505-2E9C-101B-9397-08002B2CF9AE}" pid="26" name="SecurityClass">
    <vt:lpwstr>Ericsson Internal</vt:lpwstr>
  </property>
  <property fmtid="{D5CDD505-2E9C-101B-9397-08002B2CF9AE}" pid="27" name="ShareDoc">
    <vt:bool>false</vt:bool>
  </property>
  <property fmtid="{D5CDD505-2E9C-101B-9397-08002B2CF9AE}" pid="28" name="Slides">
    <vt:i4>34</vt:i4>
  </property>
  <property fmtid="{D5CDD505-2E9C-101B-9397-08002B2CF9AE}" pid="29" name="TemplateName">
    <vt:lpwstr>CXC 173 2731/1</vt:lpwstr>
  </property>
  <property fmtid="{D5CDD505-2E9C-101B-9397-08002B2CF9AE}" pid="30" name="TemplateName2">
    <vt:lpwstr>CXC 173 2731/1</vt:lpwstr>
  </property>
  <property fmtid="{D5CDD505-2E9C-101B-9397-08002B2CF9AE}" pid="31" name="TemplateVersion">
    <vt:lpwstr>R2A</vt:lpwstr>
  </property>
  <property fmtid="{D5CDD505-2E9C-101B-9397-08002B2CF9AE}" pid="32" name="TemplateVersion2">
    <vt:lpwstr>R2A</vt:lpwstr>
  </property>
  <property fmtid="{D5CDD505-2E9C-101B-9397-08002B2CF9AE}" pid="33" name="TotalNumb">
    <vt:bool>false</vt:bool>
  </property>
  <property fmtid="{D5CDD505-2E9C-101B-9397-08002B2CF9AE}" pid="34" name="UsedFont">
    <vt:lpwstr>Ericsson Capital TT</vt:lpwstr>
  </property>
  <property fmtid="{D5CDD505-2E9C-101B-9397-08002B2CF9AE}" pid="35" name="White">
    <vt:bool>true</vt:bool>
  </property>
  <property fmtid="{D5CDD505-2E9C-101B-9397-08002B2CF9AE}" pid="36" name="chkAppr">
    <vt:bool>true</vt:bool>
  </property>
  <property fmtid="{D5CDD505-2E9C-101B-9397-08002B2CF9AE}" pid="37" name="chkConf">
    <vt:bool>true</vt:bool>
  </property>
  <property fmtid="{D5CDD505-2E9C-101B-9397-08002B2CF9AE}" pid="38" name="chkDate">
    <vt:bool>true</vt:bool>
  </property>
  <property fmtid="{D5CDD505-2E9C-101B-9397-08002B2CF9AE}" pid="39" name="chkDocNo">
    <vt:bool>true</vt:bool>
  </property>
  <property fmtid="{D5CDD505-2E9C-101B-9397-08002B2CF9AE}" pid="40" name="chkExtConf">
    <vt:bool>false</vt:bool>
  </property>
  <property fmtid="{D5CDD505-2E9C-101B-9397-08002B2CF9AE}" pid="41" name="chkMetaData">
    <vt:bool>false</vt:bool>
  </property>
  <property fmtid="{D5CDD505-2E9C-101B-9397-08002B2CF9AE}" pid="42" name="chkOnlyTitle">
    <vt:bool>false</vt:bool>
  </property>
  <property fmtid="{D5CDD505-2E9C-101B-9397-08002B2CF9AE}" pid="43" name="chkPrep">
    <vt:bool>true</vt:bool>
  </property>
  <property fmtid="{D5CDD505-2E9C-101B-9397-08002B2CF9AE}" pid="44" name="chkRev">
    <vt:bool>true</vt:bool>
  </property>
  <property fmtid="{D5CDD505-2E9C-101B-9397-08002B2CF9AE}" pid="45" name="chkShowAll">
    <vt:bool>false</vt:bool>
  </property>
  <property fmtid="{D5CDD505-2E9C-101B-9397-08002B2CF9AE}" pid="46" name="chkTaglines">
    <vt:bool>true</vt:bool>
  </property>
  <property fmtid="{D5CDD505-2E9C-101B-9397-08002B2CF9AE}" pid="47" name="chkTitle">
    <vt:bool>false</vt:bool>
  </property>
  <property fmtid="{D5CDD505-2E9C-101B-9397-08002B2CF9AE}" pid="48" name="optEnterText1">
    <vt:bool>false</vt:bool>
  </property>
  <property fmtid="{D5CDD505-2E9C-101B-9397-08002B2CF9AE}" pid="49" name="optEnterText2">
    <vt:bool>false</vt:bool>
  </property>
  <property fmtid="{D5CDD505-2E9C-101B-9397-08002B2CF9AE}" pid="50" name="optEnterText3">
    <vt:bool>false</vt:bool>
  </property>
  <property fmtid="{D5CDD505-2E9C-101B-9397-08002B2CF9AE}" pid="51" name="optEnterText4">
    <vt:bool>false</vt:bool>
  </property>
  <property fmtid="{D5CDD505-2E9C-101B-9397-08002B2CF9AE}" pid="52" name="optFooterCVLConfLabel">
    <vt:bool>true</vt:bool>
  </property>
  <property fmtid="{D5CDD505-2E9C-101B-9397-08002B2CF9AE}" pid="53" name="optFooterCVLCopyright">
    <vt:bool>false</vt:bool>
  </property>
  <property fmtid="{D5CDD505-2E9C-101B-9397-08002B2CF9AE}" pid="54" name="optFooterCVLDate">
    <vt:bool>true</vt:bool>
  </property>
  <property fmtid="{D5CDD505-2E9C-101B-9397-08002B2CF9AE}" pid="55" name="optFooterCVLDocNo">
    <vt:bool>true</vt:bool>
  </property>
  <property fmtid="{D5CDD505-2E9C-101B-9397-08002B2CF9AE}" pid="56" name="optFooterCVLPrep">
    <vt:bool>false</vt:bool>
  </property>
  <property fmtid="{D5CDD505-2E9C-101B-9397-08002B2CF9AE}" pid="57" name="optFooterCVLTitle">
    <vt:bool>true</vt:bool>
  </property>
  <property fmtid="{D5CDD505-2E9C-101B-9397-08002B2CF9AE}" pid="58" name="optUseConfClass">
    <vt:bool>true</vt:bool>
  </property>
  <property fmtid="{D5CDD505-2E9C-101B-9397-08002B2CF9AE}" pid="59" name="optUseConfLabel">
    <vt:bool>false</vt:bool>
  </property>
  <property fmtid="{D5CDD505-2E9C-101B-9397-08002B2CF9AE}" pid="60" name="txtConfLabel">
    <vt:lpwstr>Ericsson Internal</vt:lpwstr>
  </property>
  <property fmtid="{D5CDD505-2E9C-101B-9397-08002B2CF9AE}" pid="61" name="x">
    <vt:lpwstr>0</vt:lpwstr>
  </property>
</Properties>
</file>